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drawings/drawing1.xml" ContentType="application/vnd.openxmlformats-officedocument.drawingml.chartshapes+xml"/>
  <Override PartName="/ppt/charts/chart1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sldIdLst>
    <p:sldId id="300" r:id="rId2"/>
    <p:sldId id="276" r:id="rId3"/>
    <p:sldId id="259" r:id="rId4"/>
    <p:sldId id="275" r:id="rId5"/>
    <p:sldId id="277" r:id="rId6"/>
    <p:sldId id="278" r:id="rId7"/>
    <p:sldId id="280" r:id="rId8"/>
    <p:sldId id="282" r:id="rId9"/>
    <p:sldId id="281" r:id="rId10"/>
    <p:sldId id="284" r:id="rId11"/>
    <p:sldId id="283" r:id="rId12"/>
    <p:sldId id="302" r:id="rId13"/>
    <p:sldId id="285" r:id="rId14"/>
    <p:sldId id="301" r:id="rId15"/>
    <p:sldId id="292" r:id="rId16"/>
    <p:sldId id="293" r:id="rId17"/>
    <p:sldId id="294" r:id="rId18"/>
    <p:sldId id="295" r:id="rId19"/>
    <p:sldId id="299" r:id="rId20"/>
    <p:sldId id="291" r:id="rId21"/>
    <p:sldId id="286" r:id="rId22"/>
    <p:sldId id="290" r:id="rId23"/>
    <p:sldId id="289" r:id="rId24"/>
    <p:sldId id="260" r:id="rId25"/>
  </p:sldIdLst>
  <p:sldSz cx="9144000" cy="5143500" type="screen16x9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A01E"/>
    <a:srgbClr val="DCDC1E"/>
    <a:srgbClr val="A0C873"/>
    <a:srgbClr val="DC7D32"/>
    <a:srgbClr val="F0F050"/>
    <a:srgbClr val="00643C"/>
    <a:srgbClr val="D2DCAA"/>
    <a:srgbClr val="64A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>
        <p:scale>
          <a:sx n="80" d="100"/>
          <a:sy n="80" d="100"/>
        </p:scale>
        <p:origin x="-990" y="-30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986400\Desktop\PRESENTACI&#211;N%20MARCOS\Industrias%202017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986400\Desktop\PRESENTACI&#211;N%20MARCOS\Industrias%202017.xlsx" TargetMode="Externa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986400\Desktop\PRESENTACI&#211;N%20MARCOS\Industrias%202017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986400\Desktop\PRESENTACI&#211;N%20MARCOS\Industrias%202017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29151\AppData\Local\Temp\notes0A895E\Magazine%20Luiza_GWP_Converted_Policies.xlsx" TargetMode="External"/><Relationship Id="rId1" Type="http://schemas.openxmlformats.org/officeDocument/2006/relationships/themeOverride" Target="../theme/themeOverride1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\\LIML015FP01P\ArchivosComunes\9.%20PE%20Marketing\2018\ESTUDIO%20INDUSTRIAS\ESTUDIO%20INDUSTRIAS\INFO\RETAIL\RETAIL-%20CR&#201;DITOS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763990267639901E-2"/>
          <c:y val="5.5E-2"/>
          <c:w val="0.95133819951338205"/>
          <c:h val="0.75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Est</c:v>
                </c:pt>
              </c:strCache>
            </c:strRef>
          </c:tx>
          <c:spPr>
            <a:solidFill>
              <a:schemeClr val="accent1"/>
            </a:solidFill>
            <a:ln w="11126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643C"/>
              </a:solidFill>
              <a:ln w="11126">
                <a:solidFill>
                  <a:schemeClr val="tx1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rgbClr val="64A05A"/>
              </a:solidFill>
              <a:ln w="11126">
                <a:solidFill>
                  <a:schemeClr val="tx1"/>
                </a:solidFill>
                <a:prstDash val="solid"/>
              </a:ln>
            </c:spPr>
          </c:dPt>
          <c:dPt>
            <c:idx val="2"/>
            <c:invertIfNegative val="0"/>
            <c:bubble3D val="0"/>
            <c:spPr>
              <a:solidFill>
                <a:srgbClr val="A0C873"/>
              </a:solidFill>
              <a:ln w="11126">
                <a:solidFill>
                  <a:schemeClr val="tx1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D2DCAA"/>
              </a:solidFill>
              <a:ln w="11126">
                <a:solidFill>
                  <a:schemeClr val="tx1"/>
                </a:solidFill>
                <a:prstDash val="solid"/>
              </a:ln>
            </c:spPr>
          </c:dPt>
          <c:dPt>
            <c:idx val="4"/>
            <c:invertIfNegative val="0"/>
            <c:bubble3D val="0"/>
            <c:spPr>
              <a:solidFill>
                <a:srgbClr val="A0C873"/>
              </a:solidFill>
              <a:ln w="11126">
                <a:solidFill>
                  <a:schemeClr val="tx1"/>
                </a:solidFill>
                <a:prstDash val="solid"/>
              </a:ln>
            </c:spPr>
          </c:dPt>
          <c:dLbls>
            <c:spPr>
              <a:noFill/>
              <a:ln w="22252">
                <a:noFill/>
              </a:ln>
            </c:spPr>
            <c:txPr>
              <a:bodyPr/>
              <a:lstStyle/>
              <a:p>
                <a:pPr>
                  <a:defRPr sz="788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53.2</c:v>
                </c:pt>
                <c:pt idx="4">
                  <c:v>67.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0"/>
        <c:axId val="79661312"/>
        <c:axId val="80063488"/>
      </c:barChart>
      <c:catAx>
        <c:axId val="79661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782">
            <a:solidFill>
              <a:schemeClr val="accent3"/>
            </a:solidFill>
            <a:prstDash val="solid"/>
          </a:ln>
        </c:spPr>
        <c:txPr>
          <a:bodyPr rot="0" vert="horz"/>
          <a:lstStyle/>
          <a:p>
            <a:pPr>
              <a:defRPr sz="78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s-ES"/>
          </a:p>
        </c:txPr>
        <c:crossAx val="800634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800634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9661312"/>
        <c:crosses val="autoZero"/>
        <c:crossBetween val="between"/>
      </c:valAx>
      <c:spPr>
        <a:noFill/>
        <a:ln w="2225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8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E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ustrias 2017.xlsx]Hoja2!Tabla dinámica1</c:name>
    <c:fmtId val="-1"/>
  </c:pivotSource>
  <c:chart>
    <c:autoTitleDeleted val="1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  <c:dLbl>
          <c:idx val="0"/>
          <c:numFmt formatCode="#,##0" sourceLinked="0"/>
          <c:spPr/>
          <c:txPr>
            <a:bodyPr/>
            <a:lstStyle/>
            <a:p>
              <a:pPr>
                <a:defRPr/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  <c:pivotFmt>
        <c:idx val="6"/>
        <c:marker>
          <c:symbol val="none"/>
        </c:marker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  <c:pivotFmt>
        <c:idx val="9"/>
        <c:marker>
          <c:symbol val="none"/>
        </c:marker>
        <c:dLbl>
          <c:idx val="0"/>
          <c:numFmt formatCode="#,##0" sourceLinked="0"/>
          <c:spPr/>
          <c:txPr>
            <a:bodyPr/>
            <a:lstStyle/>
            <a:p>
              <a:pPr>
                <a:defRPr/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0"/>
        <c:marker>
          <c:symbol val="none"/>
        </c:marker>
        <c:dLbl>
          <c:idx val="0"/>
          <c:numFmt formatCode="#,##0" sourceLinked="0"/>
          <c:spPr/>
          <c:txPr>
            <a:bodyPr/>
            <a:lstStyle/>
            <a:p>
              <a:pPr>
                <a:defRPr/>
              </a:pPr>
              <a:endParaRPr lang="es-ES"/>
            </a:p>
          </c:txPr>
          <c:showLegendKey val="0"/>
          <c:showVal val="1"/>
          <c:showCatName val="0"/>
          <c:showSerName val="0"/>
          <c:showPercent val="0"/>
          <c:showBubbleSize val="0"/>
        </c:dLbl>
      </c:pivotFmt>
    </c:pivotFmts>
    <c:plotArea>
      <c:layout/>
      <c:pieChart>
        <c:varyColors val="1"/>
        <c:ser>
          <c:idx val="0"/>
          <c:order val="0"/>
          <c:tx>
            <c:strRef>
              <c:f>Hoja2!$B$3:$B$4</c:f>
              <c:strCache>
                <c:ptCount val="1"/>
                <c:pt idx="0">
                  <c:v>Grupo Falabella</c:v>
                </c:pt>
              </c:strCache>
            </c:strRef>
          </c:tx>
          <c:dPt>
            <c:idx val="0"/>
            <c:bubble3D val="0"/>
            <c:explosion val="12"/>
          </c:dPt>
          <c:dPt>
            <c:idx val="1"/>
            <c:bubble3D val="0"/>
            <c:explosion val="6"/>
          </c:dPt>
          <c:dPt>
            <c:idx val="2"/>
            <c:bubble3D val="0"/>
            <c:explosion val="13"/>
          </c:dPt>
          <c:dPt>
            <c:idx val="3"/>
            <c:bubble3D val="0"/>
            <c:explosion val="13"/>
          </c:dPt>
          <c:dPt>
            <c:idx val="4"/>
            <c:bubble3D val="0"/>
            <c:spPr>
              <a:solidFill>
                <a:srgbClr val="000099"/>
              </a:solidFill>
            </c:spPr>
          </c:dPt>
          <c:dPt>
            <c:idx val="5"/>
            <c:bubble3D val="0"/>
            <c:spPr>
              <a:solidFill>
                <a:srgbClr val="0033CC"/>
              </a:solidFill>
            </c:spPr>
          </c:dPt>
          <c:dPt>
            <c:idx val="6"/>
            <c:bubble3D val="0"/>
            <c:spPr>
              <a:solidFill>
                <a:srgbClr val="0070C0"/>
              </a:solidFill>
            </c:spPr>
          </c:dPt>
          <c:dLbls>
            <c:dLbl>
              <c:idx val="0"/>
              <c:layout>
                <c:manualLayout>
                  <c:x val="1.5607639845014398E-2"/>
                  <c:y val="4.7975061527338797E-2"/>
                </c:manualLayout>
              </c:layout>
              <c:tx>
                <c:rich>
                  <a:bodyPr/>
                  <a:lstStyle/>
                  <a:p>
                    <a:pPr>
                      <a:defRPr sz="800">
                        <a:solidFill>
                          <a:schemeClr val="tx1"/>
                        </a:solidFill>
                        <a:latin typeface="BNPP Sans" pitchFamily="50" charset="0"/>
                      </a:defRPr>
                    </a:pP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" sourceLinked="0"/>
              <c:spPr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1991008168783183E-2"/>
                  <c:y val="7.31799864917166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15718496587981148"/>
                  <c:y val="-1.92773827321641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1732413557864688E-2"/>
                  <c:y val="2.92803369866468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7948057439184494E-2"/>
                  <c:y val="1.98159971651489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0868658408110985E-2"/>
                  <c:y val="2.67559043705666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5795402662327164E-2"/>
                  <c:y val="-8.05946796327246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2.1535963445853637E-2"/>
                  <c:y val="-1.1998473014990811E-2"/>
                </c:manualLayout>
              </c:layout>
              <c:tx>
                <c:rich>
                  <a:bodyPr/>
                  <a:lstStyle/>
                  <a:p>
                    <a:r>
                      <a:rPr lang="en-US" sz="800" dirty="0" smtClean="0">
                        <a:latin typeface="BNPP Sans" pitchFamily="50" charset="0"/>
                      </a:rPr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A$5:$A$13</c:f>
              <c:strCache>
                <c:ptCount val="8"/>
                <c:pt idx="0">
                  <c:v>CPI</c:v>
                </c:pt>
                <c:pt idx="1">
                  <c:v>EW</c:v>
                </c:pt>
                <c:pt idx="2">
                  <c:v>IP</c:v>
                </c:pt>
                <c:pt idx="3">
                  <c:v>PIP</c:v>
                </c:pt>
                <c:pt idx="4">
                  <c:v>MOTOR</c:v>
                </c:pt>
                <c:pt idx="5">
                  <c:v>HEALTH</c:v>
                </c:pt>
                <c:pt idx="6">
                  <c:v>SOAT</c:v>
                </c:pt>
                <c:pt idx="7">
                  <c:v>HOME</c:v>
                </c:pt>
              </c:strCache>
            </c:strRef>
          </c:cat>
          <c:val>
            <c:numRef>
              <c:f>Hoja2!$B$5:$B$13</c:f>
              <c:numCache>
                <c:formatCode>0.0</c:formatCode>
                <c:ptCount val="8"/>
                <c:pt idx="0">
                  <c:v>61.79</c:v>
                </c:pt>
                <c:pt idx="1">
                  <c:v>18.5</c:v>
                </c:pt>
                <c:pt idx="2">
                  <c:v>58.83</c:v>
                </c:pt>
                <c:pt idx="3">
                  <c:v>21.830000000000002</c:v>
                </c:pt>
                <c:pt idx="4">
                  <c:v>44.400000000000006</c:v>
                </c:pt>
                <c:pt idx="5">
                  <c:v>11.100000000000001</c:v>
                </c:pt>
                <c:pt idx="6">
                  <c:v>7.4</c:v>
                </c:pt>
                <c:pt idx="7">
                  <c:v>1.11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ustrias 2017.xlsx]Hoja2!Tabla dinámica3</c:name>
    <c:fmtId val="-1"/>
  </c:pivotSource>
  <c:chart>
    <c:autoTitleDeleted val="1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  <c:pivotFmt>
        <c:idx val="6"/>
        <c:marker>
          <c:symbol val="none"/>
        </c:marker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  <c:pivotFmt>
        <c:idx val="9"/>
        <c:marker>
          <c:symbol val="none"/>
        </c:marker>
      </c:pivotFmt>
      <c:pivotFmt>
        <c:idx val="10"/>
        <c:marker>
          <c:symbol val="none"/>
        </c:marker>
      </c:pivotFmt>
      <c:pivotFmt>
        <c:idx val="11"/>
        <c:marker>
          <c:symbol val="none"/>
        </c:marker>
      </c:pivotFmt>
      <c:pivotFmt>
        <c:idx val="12"/>
        <c:marker>
          <c:symbol val="none"/>
        </c:marker>
      </c:pivotFmt>
      <c:pivotFmt>
        <c:idx val="13"/>
        <c:marker>
          <c:symbol val="none"/>
        </c:marker>
      </c:pivotFmt>
      <c:pivotFmt>
        <c:idx val="14"/>
        <c:marker>
          <c:symbol val="none"/>
        </c:marker>
      </c:pivotFmt>
      <c:pivotFmt>
        <c:idx val="15"/>
        <c:marker>
          <c:symbol val="none"/>
        </c:marker>
      </c:pivotFmt>
      <c:pivotFmt>
        <c:idx val="16"/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18891732790026519"/>
          <c:y val="0.15964855264514921"/>
          <c:w val="0.66943176090530343"/>
          <c:h val="0.79861548941827465"/>
        </c:manualLayout>
      </c:layout>
      <c:pieChart>
        <c:varyColors val="1"/>
        <c:ser>
          <c:idx val="0"/>
          <c:order val="0"/>
          <c:tx>
            <c:strRef>
              <c:f>Hoja2!$Q$3:$Q$4</c:f>
              <c:strCache>
                <c:ptCount val="1"/>
                <c:pt idx="0">
                  <c:v>Intercorp - Financiera Uno</c:v>
                </c:pt>
              </c:strCache>
            </c:strRef>
          </c:tx>
          <c:explosion val="5"/>
          <c:dPt>
            <c:idx val="0"/>
            <c:bubble3D val="0"/>
            <c:explosion val="18"/>
          </c:dPt>
          <c:dPt>
            <c:idx val="1"/>
            <c:bubble3D val="0"/>
            <c:explosion val="11"/>
          </c:dPt>
          <c:dPt>
            <c:idx val="2"/>
            <c:bubble3D val="0"/>
            <c:explosion val="12"/>
          </c:dPt>
          <c:dPt>
            <c:idx val="3"/>
            <c:bubble3D val="0"/>
            <c:explosion val="18"/>
          </c:dPt>
          <c:dPt>
            <c:idx val="4"/>
            <c:bubble3D val="0"/>
            <c:spPr>
              <a:solidFill>
                <a:srgbClr val="0070C0"/>
              </a:solidFill>
            </c:spPr>
          </c:dPt>
          <c:dPt>
            <c:idx val="5"/>
            <c:bubble3D val="0"/>
            <c:spPr>
              <a:solidFill>
                <a:srgbClr val="003399"/>
              </a:solidFill>
            </c:spPr>
          </c:dPt>
          <c:dLbls>
            <c:dLbl>
              <c:idx val="0"/>
              <c:layout>
                <c:manualLayout>
                  <c:x val="-2.0929699447631789E-2"/>
                  <c:y val="-0.478955208645669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1136584525538753E-2"/>
                  <c:y val="2.1837692330136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5070075519930585E-2"/>
                  <c:y val="3.5694849503928108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6725294947039852E-3"/>
                  <c:y val="5.5735602778965096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6541308286779277E-3"/>
                  <c:y val="3.35353016606166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1.0270468869230987E-2"/>
                  <c:y val="5.0247529489821302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P$5:$P$11</c:f>
              <c:strCache>
                <c:ptCount val="6"/>
                <c:pt idx="0">
                  <c:v>CPI</c:v>
                </c:pt>
                <c:pt idx="1">
                  <c:v>EW</c:v>
                </c:pt>
                <c:pt idx="2">
                  <c:v>IP</c:v>
                </c:pt>
                <c:pt idx="3">
                  <c:v>PIP</c:v>
                </c:pt>
                <c:pt idx="4">
                  <c:v>SOAT</c:v>
                </c:pt>
                <c:pt idx="5">
                  <c:v>HEALTH</c:v>
                </c:pt>
              </c:strCache>
            </c:strRef>
          </c:cat>
          <c:val>
            <c:numRef>
              <c:f>Hoja2!$Q$5:$Q$11</c:f>
              <c:numCache>
                <c:formatCode>0</c:formatCode>
                <c:ptCount val="6"/>
                <c:pt idx="0">
                  <c:v>48.1</c:v>
                </c:pt>
                <c:pt idx="1">
                  <c:v>7.4</c:v>
                </c:pt>
                <c:pt idx="2">
                  <c:v>4.4400000000000004</c:v>
                </c:pt>
                <c:pt idx="3">
                  <c:v>4.4400000000000004</c:v>
                </c:pt>
                <c:pt idx="4">
                  <c:v>7.4</c:v>
                </c:pt>
                <c:pt idx="5">
                  <c:v>0.74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ustrias 2017.xlsx]Hoja2!Tabla dinámica2</c:name>
    <c:fmtId val="-1"/>
  </c:pivotSource>
  <c:chart>
    <c:autoTitleDeleted val="1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23704342335958259"/>
          <c:y val="0.12949428077245229"/>
          <c:w val="0.62920839969356945"/>
          <c:h val="0.80242798129808701"/>
        </c:manualLayout>
      </c:layout>
      <c:pieChart>
        <c:varyColors val="1"/>
        <c:ser>
          <c:idx val="0"/>
          <c:order val="0"/>
          <c:tx>
            <c:strRef>
              <c:f>Hoja2!$L$3:$L$4</c:f>
              <c:strCache>
                <c:ptCount val="1"/>
                <c:pt idx="0">
                  <c:v>Cencosud</c:v>
                </c:pt>
              </c:strCache>
            </c:strRef>
          </c:tx>
          <c:dPt>
            <c:idx val="0"/>
            <c:bubble3D val="0"/>
            <c:explosion val="11"/>
          </c:dPt>
          <c:dPt>
            <c:idx val="2"/>
            <c:bubble3D val="0"/>
            <c:explosion val="1"/>
          </c:dPt>
          <c:dPt>
            <c:idx val="4"/>
            <c:bubble3D val="0"/>
            <c:explosion val="11"/>
            <c:spPr>
              <a:solidFill>
                <a:srgbClr val="0070C0"/>
              </a:solidFill>
            </c:spPr>
          </c:dPt>
          <c:dPt>
            <c:idx val="5"/>
            <c:bubble3D val="0"/>
            <c:explosion val="12"/>
            <c:spPr>
              <a:solidFill>
                <a:srgbClr val="0000CC"/>
              </a:solidFill>
            </c:spPr>
          </c:dPt>
          <c:dPt>
            <c:idx val="6"/>
            <c:bubble3D val="0"/>
            <c:explosion val="11"/>
          </c:dPt>
          <c:dLbls>
            <c:dLbl>
              <c:idx val="0"/>
              <c:layout>
                <c:manualLayout>
                  <c:x val="-2.2853169049704355E-2"/>
                  <c:y val="-0.4725837527779290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6342110252967845E-2"/>
                  <c:y val="3.02979029066797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7.1986770823219387E-2"/>
                  <c:y val="1.93061206496399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3818516679061819E-2"/>
                  <c:y val="2.14694693604474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5747773320719593E-2"/>
                  <c:y val="4.00815179744085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3103107158670311E-2"/>
                  <c:y val="2.19935051620661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3.4734468400496758E-2"/>
                  <c:y val="2.1993505162066157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K$5:$K$12</c:f>
              <c:strCache>
                <c:ptCount val="7"/>
                <c:pt idx="0">
                  <c:v>CPI</c:v>
                </c:pt>
                <c:pt idx="1">
                  <c:v>PIP</c:v>
                </c:pt>
                <c:pt idx="2">
                  <c:v>IP</c:v>
                </c:pt>
                <c:pt idx="3">
                  <c:v>EW</c:v>
                </c:pt>
                <c:pt idx="4">
                  <c:v>SOAT</c:v>
                </c:pt>
                <c:pt idx="5">
                  <c:v>HEALTH</c:v>
                </c:pt>
                <c:pt idx="6">
                  <c:v>HOME</c:v>
                </c:pt>
              </c:strCache>
            </c:strRef>
          </c:cat>
          <c:val>
            <c:numRef>
              <c:f>Hoja2!$L$5:$L$12</c:f>
              <c:numCache>
                <c:formatCode>General</c:formatCode>
                <c:ptCount val="7"/>
                <c:pt idx="0">
                  <c:v>37.726269060000007</c:v>
                </c:pt>
                <c:pt idx="1">
                  <c:v>4.4400000000000004</c:v>
                </c:pt>
                <c:pt idx="2">
                  <c:v>4.4400000000000004</c:v>
                </c:pt>
                <c:pt idx="3">
                  <c:v>3.7</c:v>
                </c:pt>
                <c:pt idx="4">
                  <c:v>6.1993304161643827</c:v>
                </c:pt>
                <c:pt idx="5">
                  <c:v>2.6513767999999991</c:v>
                </c:pt>
                <c:pt idx="6">
                  <c:v>0.37000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  <c:userShapes r:id="rId2"/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ustrias 2017.xlsx]Hoja2!Tabla dinámica4</c:name>
    <c:fmtId val="-1"/>
  </c:pivotSource>
  <c:chart>
    <c:autoTitleDeleted val="1"/>
    <c:pivotFmts>
      <c:pivotFmt>
        <c:idx val="0"/>
        <c:marker>
          <c:symbol val="none"/>
        </c:marker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  <c:marker>
          <c:symbol val="none"/>
        </c:marker>
        <c:dLbl>
          <c:idx val="0"/>
          <c:delete val="1"/>
        </c:dLbl>
      </c:pivotFmt>
      <c:pivotFmt>
        <c:idx val="6"/>
        <c:marker>
          <c:symbol val="none"/>
        </c:marker>
        <c:dLbl>
          <c:idx val="0"/>
          <c:delete val="1"/>
        </c:dLbl>
      </c:pivotFmt>
    </c:pivotFmts>
    <c:plotArea>
      <c:layout>
        <c:manualLayout>
          <c:layoutTarget val="inner"/>
          <c:xMode val="edge"/>
          <c:yMode val="edge"/>
          <c:x val="0.21325221186010418"/>
          <c:y val="0.11772075786732725"/>
          <c:w val="0.49151045960438472"/>
          <c:h val="0.80400227096825494"/>
        </c:manualLayout>
      </c:layout>
      <c:pieChart>
        <c:varyColors val="1"/>
        <c:ser>
          <c:idx val="0"/>
          <c:order val="0"/>
          <c:tx>
            <c:strRef>
              <c:f>Hoja2!$Y$3:$Y$4</c:f>
              <c:strCache>
                <c:ptCount val="1"/>
                <c:pt idx="0">
                  <c:v>RIPLEY</c:v>
                </c:pt>
              </c:strCache>
            </c:strRef>
          </c:tx>
          <c:explosion val="8"/>
          <c:dPt>
            <c:idx val="4"/>
            <c:bubble3D val="0"/>
            <c:spPr>
              <a:solidFill>
                <a:srgbClr val="000099"/>
              </a:solidFill>
            </c:spPr>
          </c:dPt>
          <c:dPt>
            <c:idx val="5"/>
            <c:bubble3D val="0"/>
            <c:spPr>
              <a:solidFill>
                <a:srgbClr val="003399"/>
              </a:solidFill>
            </c:spPr>
          </c:dPt>
          <c:dPt>
            <c:idx val="6"/>
            <c:bubble3D val="0"/>
            <c:spPr>
              <a:solidFill>
                <a:srgbClr val="0070C0"/>
              </a:solidFill>
            </c:spPr>
          </c:dPt>
          <c:dLbls>
            <c:dLbl>
              <c:idx val="0"/>
              <c:layout>
                <c:manualLayout>
                  <c:x val="4.0635417786093128E-2"/>
                  <c:y val="7.70340260117797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7380460443598344E-3"/>
                  <c:y val="5.03886610604726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8691935230918614E-2"/>
                  <c:y val="3.37247482119851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9211921241489668E-2"/>
                  <c:y val="-5.0746450369777735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2801679339048845E-2"/>
                  <c:y val="5.386716823427248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7.321969896905807E-2"/>
                  <c:y val="5.7699737745405578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2.9732093322098248E-2"/>
                  <c:y val="-1.5541473122941624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&lt;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X$5:$X$12</c:f>
              <c:strCache>
                <c:ptCount val="7"/>
                <c:pt idx="0">
                  <c:v>CPI</c:v>
                </c:pt>
                <c:pt idx="1">
                  <c:v>IP</c:v>
                </c:pt>
                <c:pt idx="2">
                  <c:v>EW</c:v>
                </c:pt>
                <c:pt idx="3">
                  <c:v>PIP</c:v>
                </c:pt>
                <c:pt idx="4">
                  <c:v>MOTOR</c:v>
                </c:pt>
                <c:pt idx="5">
                  <c:v>HEALTH</c:v>
                </c:pt>
                <c:pt idx="6">
                  <c:v>SOAT</c:v>
                </c:pt>
              </c:strCache>
            </c:strRef>
          </c:cat>
          <c:val>
            <c:numRef>
              <c:f>Hoja2!$Y$5:$Y$12</c:f>
              <c:numCache>
                <c:formatCode>General</c:formatCode>
                <c:ptCount val="7"/>
                <c:pt idx="0">
                  <c:v>40.700000000000003</c:v>
                </c:pt>
                <c:pt idx="1">
                  <c:v>9.25</c:v>
                </c:pt>
                <c:pt idx="2">
                  <c:v>2.9600000000000004</c:v>
                </c:pt>
                <c:pt idx="3">
                  <c:v>1.6517061</c:v>
                </c:pt>
                <c:pt idx="4">
                  <c:v>11.100000000000001</c:v>
                </c:pt>
                <c:pt idx="5">
                  <c:v>1.1100000000000001</c:v>
                </c:pt>
                <c:pt idx="6">
                  <c:v>0.4515298200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265213995837899E-2"/>
          <c:y val="2.8535353535353501E-2"/>
          <c:w val="0.85512565286674502"/>
          <c:h val="0.93939393939393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00</c:v>
                </c:pt>
              </c:strCache>
            </c:strRef>
          </c:tx>
          <c:spPr>
            <a:solidFill>
              <a:schemeClr val="accent2"/>
            </a:solidFill>
            <a:ln w="16892">
              <a:noFill/>
            </a:ln>
          </c:spPr>
          <c:dPt>
            <c:idx val="0"/>
            <c:bubble3D val="0"/>
            <c:spPr>
              <a:solidFill>
                <a:srgbClr val="F0F050"/>
              </a:solidFill>
              <a:ln w="16892">
                <a:noFill/>
              </a:ln>
            </c:spPr>
          </c:dPt>
          <c:dPt>
            <c:idx val="1"/>
            <c:bubble3D val="0"/>
            <c:spPr>
              <a:solidFill>
                <a:srgbClr val="DCDC1E"/>
              </a:solidFill>
              <a:ln w="16892">
                <a:noFill/>
              </a:ln>
            </c:spPr>
          </c:dPt>
          <c:dPt>
            <c:idx val="2"/>
            <c:bubble3D val="0"/>
            <c:spPr>
              <a:solidFill>
                <a:srgbClr val="E6A01E"/>
              </a:solidFill>
              <a:ln w="16892">
                <a:noFill/>
              </a:ln>
            </c:spPr>
          </c:dPt>
          <c:dPt>
            <c:idx val="3"/>
            <c:bubble3D val="0"/>
            <c:spPr>
              <a:solidFill>
                <a:srgbClr val="DC7D32"/>
              </a:solidFill>
              <a:ln w="16892">
                <a:noFill/>
              </a:ln>
            </c:spPr>
          </c:dPt>
          <c:dLbls>
            <c:dLbl>
              <c:idx val="0"/>
              <c:layout>
                <c:manualLayout>
                  <c:x val="1.13171092843633E-3"/>
                  <c:y val="-2.893939393939390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1.52133187073125E-2"/>
                  <c:y val="7.6782828282828302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5.5569850534707504E-4"/>
                  <c:y val="7.3747474747475304E-3"/>
                </c:manualLayout>
              </c:layout>
              <c:numFmt formatCode="0%" sourceLinked="0"/>
              <c:spPr>
                <a:noFill/>
                <a:ln w="16892">
                  <a:noFill/>
                </a:ln>
              </c:spPr>
              <c:txPr>
                <a:bodyPr/>
                <a:lstStyle/>
                <a:p>
                  <a:pPr>
                    <a:defRPr sz="1463" b="1" i="0" u="none" strike="noStrike" baseline="0">
                      <a:solidFill>
                        <a:srgbClr val="FFFFFF"/>
                      </a:solidFill>
                      <a:latin typeface="Arial Narrow"/>
                      <a:ea typeface="Arial Narrow"/>
                      <a:cs typeface="Arial Narrow"/>
                    </a:defRPr>
                  </a:pPr>
                  <a:endParaRPr lang="es-E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1.6928264785151699E-4"/>
                  <c:y val="3.18853535353536E-2"/>
                </c:manualLayout>
              </c:layout>
              <c:numFmt formatCode="0%" sourceLinked="0"/>
              <c:spPr>
                <a:noFill/>
                <a:ln w="16892">
                  <a:noFill/>
                </a:ln>
              </c:spPr>
              <c:txPr>
                <a:bodyPr/>
                <a:lstStyle/>
                <a:p>
                  <a:pPr>
                    <a:defRPr sz="1463" b="1" i="0" u="none" strike="noStrike" baseline="0">
                      <a:solidFill>
                        <a:srgbClr val="FFFFFF"/>
                      </a:solidFill>
                      <a:latin typeface="Arial Narrow"/>
                      <a:ea typeface="Arial Narrow"/>
                      <a:cs typeface="Arial Narrow"/>
                    </a:defRPr>
                  </a:pPr>
                  <a:endParaRPr lang="es-E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delete val="1"/>
            </c:dLbl>
            <c:numFmt formatCode="0%" sourceLinked="0"/>
            <c:spPr>
              <a:noFill/>
              <a:ln w="16892">
                <a:noFill/>
              </a:ln>
            </c:spPr>
            <c:txPr>
              <a:bodyPr/>
              <a:lstStyle/>
              <a:p>
                <a:pPr>
                  <a:defRPr sz="1463" b="1" i="0" u="none" strike="noStrike" baseline="0">
                    <a:solidFill>
                      <a:schemeClr val="tx1"/>
                    </a:solidFill>
                    <a:latin typeface="Arial Narrow"/>
                    <a:ea typeface="Arial Narrow"/>
                    <a:cs typeface="Arial Narrow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France</c:v>
                </c:pt>
                <c:pt idx="1">
                  <c:v>Europe hors France</c:v>
                </c:pt>
                <c:pt idx="2">
                  <c:v>Amerique du Nord</c:v>
                </c:pt>
                <c:pt idx="3">
                  <c:v>Reste du Mond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0</c:v>
                </c:pt>
                <c:pt idx="1">
                  <c:v>26</c:v>
                </c:pt>
                <c:pt idx="2">
                  <c:v>22</c:v>
                </c:pt>
                <c:pt idx="3">
                  <c:v>1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16892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463" b="1" i="0" u="none" strike="noStrike" baseline="0">
          <a:solidFill>
            <a:schemeClr val="tx1"/>
          </a:solidFill>
          <a:latin typeface="Arial Narrow"/>
          <a:ea typeface="Arial Narrow"/>
          <a:cs typeface="Arial Narrow"/>
        </a:defRPr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114155251141499E-2"/>
          <c:y val="5.1401869158878503E-2"/>
          <c:w val="0.954337899543379"/>
          <c:h val="0.766355140186915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st</c:v>
                </c:pt>
              </c:strCache>
            </c:strRef>
          </c:tx>
          <c:spPr>
            <a:ln w="29609">
              <a:solidFill>
                <a:srgbClr val="4BC8DC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4BC8DC"/>
              </a:solidFill>
              <a:ln>
                <a:solidFill>
                  <a:srgbClr val="4BC8DC"/>
                </a:solidFill>
                <a:prstDash val="solid"/>
              </a:ln>
            </c:spPr>
          </c:marker>
          <c:dPt>
            <c:idx val="0"/>
            <c:bubble3D val="0"/>
            <c:spPr>
              <a:ln w="29609">
                <a:solidFill>
                  <a:srgbClr val="4BC8DC"/>
                </a:solidFill>
                <a:prstDash val="solid"/>
              </a:ln>
            </c:spPr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Lbls>
            <c:dLbl>
              <c:idx val="3"/>
              <c:layout>
                <c:manualLayout>
                  <c:x val="-7.3018709704647494E-2"/>
                  <c:y val="-0.142962347588496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19739">
                <a:noFill/>
              </a:ln>
            </c:spPr>
            <c:txPr>
              <a:bodyPr/>
              <a:lstStyle/>
              <a:p>
                <a:pPr>
                  <a:defRPr sz="933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</c:numCache>
            </c:numRef>
          </c:cat>
          <c:val>
            <c:numRef>
              <c:f>Sheet1!$B$2:$F$2</c:f>
              <c:numCache>
                <c:formatCode>0.0%</c:formatCode>
                <c:ptCount val="5"/>
                <c:pt idx="0">
                  <c:v>0.02</c:v>
                </c:pt>
                <c:pt idx="1">
                  <c:v>0.03</c:v>
                </c:pt>
                <c:pt idx="2">
                  <c:v>0.1</c:v>
                </c:pt>
                <c:pt idx="3">
                  <c:v>5.6000000000000001E-2</c:v>
                </c:pt>
                <c:pt idx="4">
                  <c:v>0.0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Est</c:v>
                </c:pt>
              </c:strCache>
            </c:strRef>
          </c:tx>
          <c:spPr>
            <a:ln w="29609">
              <a:solidFill>
                <a:srgbClr val="6473AF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006EB9"/>
              </a:solidFill>
              <a:ln>
                <a:solidFill>
                  <a:srgbClr val="006EB9"/>
                </a:solidFill>
                <a:prstDash val="solid"/>
              </a:ln>
            </c:spPr>
          </c:marker>
          <c:dPt>
            <c:idx val="3"/>
            <c:marker>
              <c:spPr>
                <a:solidFill>
                  <a:srgbClr val="6473AF"/>
                </a:solidFill>
                <a:ln>
                  <a:solidFill>
                    <a:srgbClr val="6473AF"/>
                  </a:solidFill>
                  <a:prstDash val="solid"/>
                </a:ln>
              </c:spPr>
            </c:marker>
            <c:bubble3D val="0"/>
          </c:dPt>
          <c:dLbls>
            <c:dLbl>
              <c:idx val="0"/>
              <c:layout>
                <c:manualLayout>
                  <c:x val="-7.5758484310439703E-2"/>
                  <c:y val="-0.1220900985107680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layout>
                <c:manualLayout>
                  <c:x val="-7.3932175288030699E-2"/>
                  <c:y val="7.88444809284847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8.4434234818802606E-2"/>
                  <c:y val="5.54801829389708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3883037076712801E-2"/>
                  <c:y val="6.482597733149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19739">
                <a:noFill/>
              </a:ln>
            </c:spPr>
            <c:txPr>
              <a:bodyPr/>
              <a:lstStyle/>
              <a:p>
                <a:pPr>
                  <a:defRPr sz="933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</c:numCache>
            </c:numRef>
          </c:cat>
          <c:val>
            <c:numRef>
              <c:f>Sheet1!$B$3:$F$3</c:f>
              <c:numCache>
                <c:formatCode>0.00%</c:formatCode>
                <c:ptCount val="5"/>
                <c:pt idx="0">
                  <c:v>0.06</c:v>
                </c:pt>
                <c:pt idx="1">
                  <c:v>0.03</c:v>
                </c:pt>
                <c:pt idx="2">
                  <c:v>0.06</c:v>
                </c:pt>
                <c:pt idx="3">
                  <c:v>0.03</c:v>
                </c:pt>
                <c:pt idx="4">
                  <c:v>0.0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8486656"/>
        <c:axId val="88488192"/>
      </c:lineChart>
      <c:catAx>
        <c:axId val="88486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467">
            <a:solidFill>
              <a:schemeClr val="accent3"/>
            </a:solidFill>
            <a:prstDash val="solid"/>
          </a:ln>
        </c:spPr>
        <c:txPr>
          <a:bodyPr rot="0" vert="horz"/>
          <a:lstStyle/>
          <a:p>
            <a:pPr>
              <a:defRPr sz="699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s-ES"/>
          </a:p>
        </c:txPr>
        <c:crossAx val="884881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88488192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88486656"/>
        <c:crosses val="autoZero"/>
        <c:crossBetween val="between"/>
      </c:valAx>
      <c:spPr>
        <a:noFill/>
        <a:ln w="1973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69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E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A0C87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E6A01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Lbls>
            <c:txPr>
              <a:bodyPr/>
              <a:lstStyle/>
              <a:p>
                <a:pPr>
                  <a:defRPr sz="900" b="1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Hoja1!$A$5:$A$6</c:f>
              <c:strCache>
                <c:ptCount val="2"/>
                <c:pt idx="0">
                  <c:v>Savings</c:v>
                </c:pt>
                <c:pt idx="1">
                  <c:v>Protección</c:v>
                </c:pt>
              </c:strCache>
            </c:strRef>
          </c:cat>
          <c:val>
            <c:numRef>
              <c:f>Hoja1!$B$5:$B$6</c:f>
              <c:numCache>
                <c:formatCode>General</c:formatCode>
                <c:ptCount val="2"/>
                <c:pt idx="0">
                  <c:v>7.2</c:v>
                </c:pt>
                <c:pt idx="1">
                  <c:v>3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D$4</c:f>
              <c:strCache>
                <c:ptCount val="1"/>
                <c:pt idx="0">
                  <c:v>ASIA</c:v>
                </c:pt>
              </c:strCache>
            </c:strRef>
          </c:tx>
          <c:dPt>
            <c:idx val="0"/>
            <c:bubble3D val="0"/>
            <c:spPr>
              <a:solidFill>
                <a:srgbClr val="A0C87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E6A01E"/>
              </a:solidFill>
            </c:spPr>
          </c:dPt>
          <c:dLbls>
            <c:txPr>
              <a:bodyPr/>
              <a:lstStyle/>
              <a:p>
                <a:pPr>
                  <a:defRPr sz="900" b="1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val>
            <c:numRef>
              <c:f>Hoja1!$D$5:$D$6</c:f>
              <c:numCache>
                <c:formatCode>General</c:formatCode>
                <c:ptCount val="2"/>
                <c:pt idx="0">
                  <c:v>3.9</c:v>
                </c:pt>
                <c:pt idx="1">
                  <c:v>0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1"/>
      </c:doughnutChart>
      <c:spPr>
        <a:effectLst/>
      </c:spPr>
    </c:plotArea>
    <c:plotVisOnly val="1"/>
    <c:dispBlanksAs val="gap"/>
    <c:showDLblsOverMax val="0"/>
  </c:chart>
  <c:spPr>
    <a:effectLst/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E6A01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Lbls>
            <c:txPr>
              <a:bodyPr/>
              <a:lstStyle/>
              <a:p>
                <a:pPr>
                  <a:defRPr sz="900" b="1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val>
            <c:numRef>
              <c:f>Hoja1!$F$5:$F$6</c:f>
              <c:numCache>
                <c:formatCode>General</c:formatCode>
                <c:ptCount val="2"/>
                <c:pt idx="0">
                  <c:v>11.3</c:v>
                </c:pt>
                <c:pt idx="1">
                  <c:v>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882897571634777"/>
          <c:y val="0.11203224991185565"/>
          <c:w val="0.61498822612555282"/>
          <c:h val="0.82852881618236673"/>
        </c:manualLayout>
      </c:layout>
      <c:doughnutChart>
        <c:varyColors val="1"/>
        <c:ser>
          <c:idx val="0"/>
          <c:order val="0"/>
          <c:dPt>
            <c:idx val="1"/>
            <c:bubble3D val="0"/>
            <c:spPr>
              <a:solidFill>
                <a:srgbClr val="E6A01E"/>
              </a:solidFill>
            </c:spPr>
          </c:dPt>
          <c:dLbls>
            <c:dLbl>
              <c:idx val="0"/>
              <c:delete val="1"/>
            </c:dLbl>
            <c:txPr>
              <a:bodyPr/>
              <a:lstStyle/>
              <a:p>
                <a:pPr>
                  <a:defRPr b="1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Hoja1!$G$5:$G$6</c:f>
              <c:strCache>
                <c:ptCount val="2"/>
                <c:pt idx="0">
                  <c:v>Savings</c:v>
                </c:pt>
                <c:pt idx="1">
                  <c:v>Protección</c:v>
                </c:pt>
              </c:strCache>
            </c:strRef>
          </c:cat>
          <c:val>
            <c:numRef>
              <c:f>Hoja1!$H$5:$H$6</c:f>
              <c:numCache>
                <c:formatCode>General</c:formatCode>
                <c:ptCount val="2"/>
                <c:pt idx="0">
                  <c:v>0</c:v>
                </c:pt>
                <c:pt idx="1">
                  <c:v>1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9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7904284833272371E-2"/>
          <c:y val="7.7149798178999682E-2"/>
          <c:w val="0.94209526566292301"/>
          <c:h val="0.65217038342400413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2!$B$2:$O$2</c:f>
              <c:numCache>
                <c:formatCode>General</c:formatCode>
                <c:ptCount val="14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</c:numCache>
            </c:numRef>
          </c:cat>
          <c:val>
            <c:numRef>
              <c:f>Hoja2!$B$3:$O$3</c:f>
              <c:numCache>
                <c:formatCode>0</c:formatCode>
                <c:ptCount val="14"/>
                <c:pt idx="0">
                  <c:v>4.1590636823519995</c:v>
                </c:pt>
                <c:pt idx="1">
                  <c:v>4.4418440106460002</c:v>
                </c:pt>
                <c:pt idx="2">
                  <c:v>20.502999348808004</c:v>
                </c:pt>
                <c:pt idx="3">
                  <c:v>27.967556498156004</c:v>
                </c:pt>
                <c:pt idx="4">
                  <c:v>38.820918812529996</c:v>
                </c:pt>
                <c:pt idx="5">
                  <c:v>45.775456446082998</c:v>
                </c:pt>
                <c:pt idx="6">
                  <c:v>60.598439685078006</c:v>
                </c:pt>
                <c:pt idx="7">
                  <c:v>67.945802368369016</c:v>
                </c:pt>
                <c:pt idx="8">
                  <c:v>83.88239537880699</c:v>
                </c:pt>
                <c:pt idx="9">
                  <c:v>116.632675415843</c:v>
                </c:pt>
                <c:pt idx="10">
                  <c:v>147.00506053678302</c:v>
                </c:pt>
                <c:pt idx="11">
                  <c:v>161.35144549659998</c:v>
                </c:pt>
                <c:pt idx="12">
                  <c:v>174.99774332419901</c:v>
                </c:pt>
                <c:pt idx="13">
                  <c:v>215.634117281464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0CF-4DD2-BE44-5B4F103652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08116224"/>
        <c:axId val="108122112"/>
      </c:barChart>
      <c:catAx>
        <c:axId val="108116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s-ES"/>
          </a:p>
        </c:txPr>
        <c:crossAx val="108122112"/>
        <c:crosses val="autoZero"/>
        <c:auto val="1"/>
        <c:lblAlgn val="ctr"/>
        <c:lblOffset val="100"/>
        <c:noMultiLvlLbl val="0"/>
      </c:catAx>
      <c:valAx>
        <c:axId val="108122112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1081162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>
          <a:latin typeface="BNPP Sans" pitchFamily="50" charset="0"/>
        </a:defRPr>
      </a:pPr>
      <a:endParaRPr lang="es-E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2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85B95F"/>
              </a:solidFill>
            </c:spPr>
          </c:dPt>
          <c:dLbls>
            <c:numFmt formatCode="#,##0" sourceLinked="0"/>
            <c:txPr>
              <a:bodyPr/>
              <a:lstStyle/>
              <a:p>
                <a:pPr>
                  <a:defRPr sz="800">
                    <a:latin typeface="BNPP Sans" pitchFamily="50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Créditos (soles)'!$A$29:$A$35</c:f>
              <c:strCache>
                <c:ptCount val="7"/>
                <c:pt idx="0">
                  <c:v>Falabella </c:v>
                </c:pt>
                <c:pt idx="1">
                  <c:v>Ripley</c:v>
                </c:pt>
                <c:pt idx="2">
                  <c:v>InRetail </c:v>
                </c:pt>
                <c:pt idx="3">
                  <c:v>Cencosud</c:v>
                </c:pt>
                <c:pt idx="4">
                  <c:v>EFE</c:v>
                </c:pt>
                <c:pt idx="5">
                  <c:v>Carsa</c:v>
                </c:pt>
                <c:pt idx="6">
                  <c:v>Electra</c:v>
                </c:pt>
              </c:strCache>
            </c:strRef>
          </c:cat>
          <c:val>
            <c:numRef>
              <c:f>'Créditos (soles)'!$B$29:$B$35</c:f>
              <c:numCache>
                <c:formatCode>[$S/.-280A]\ #,##0</c:formatCode>
                <c:ptCount val="7"/>
                <c:pt idx="0">
                  <c:v>3469.5941307799994</c:v>
                </c:pt>
                <c:pt idx="1">
                  <c:v>1800.4476166699999</c:v>
                </c:pt>
                <c:pt idx="2">
                  <c:v>950.93587941999999</c:v>
                </c:pt>
                <c:pt idx="3">
                  <c:v>570.13541880000002</c:v>
                </c:pt>
                <c:pt idx="4">
                  <c:v>519.72579356999995</c:v>
                </c:pt>
                <c:pt idx="5">
                  <c:v>493.79537577499997</c:v>
                </c:pt>
                <c:pt idx="6">
                  <c:v>383.96765694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2"/>
        <c:overlap val="8"/>
        <c:axId val="126119296"/>
        <c:axId val="126125184"/>
      </c:barChart>
      <c:catAx>
        <c:axId val="126119296"/>
        <c:scaling>
          <c:orientation val="minMax"/>
        </c:scaling>
        <c:delete val="0"/>
        <c:axPos val="b"/>
        <c:majorTickMark val="out"/>
        <c:minorTickMark val="none"/>
        <c:tickLblPos val="nextTo"/>
        <c:crossAx val="126125184"/>
        <c:crosses val="autoZero"/>
        <c:auto val="1"/>
        <c:lblAlgn val="ctr"/>
        <c:lblOffset val="100"/>
        <c:noMultiLvlLbl val="0"/>
      </c:catAx>
      <c:valAx>
        <c:axId val="126125184"/>
        <c:scaling>
          <c:orientation val="minMax"/>
          <c:max val="35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BNPP Sans" pitchFamily="50" charset="0"/>
              </a:defRPr>
            </a:pPr>
            <a:endParaRPr lang="es-ES"/>
          </a:p>
        </c:txPr>
        <c:crossAx val="126119296"/>
        <c:crosses val="autoZero"/>
        <c:crossBetween val="between"/>
        <c:majorUnit val="500"/>
      </c:valAx>
    </c:plotArea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94DA426-AF34-4EC8-AAAE-667E9D8C4B1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687A68F5-1A7E-494B-BCE2-B4F21325E222}">
      <dgm:prSet phldrT="[Texte]" custT="1"/>
      <dgm:spPr>
        <a:ln>
          <a:solidFill>
            <a:schemeClr val="bg1"/>
          </a:solidFill>
        </a:ln>
      </dgm:spPr>
      <dgm:t>
        <a:bodyPr anchor="b"/>
        <a:lstStyle/>
        <a:p>
          <a:r>
            <a:rPr lang="en-GB" sz="1600" dirty="0" err="1" smtClean="0">
              <a:solidFill>
                <a:schemeClr val="bg1"/>
              </a:solidFill>
              <a:latin typeface="BNPP Sans" pitchFamily="50" charset="0"/>
            </a:rPr>
            <a:t>Evaluación</a:t>
          </a:r>
          <a:endParaRPr lang="en-GB" sz="1600" dirty="0">
            <a:solidFill>
              <a:schemeClr val="bg1"/>
            </a:solidFill>
            <a:latin typeface="BNPP Sans" pitchFamily="50" charset="0"/>
          </a:endParaRPr>
        </a:p>
      </dgm:t>
    </dgm:pt>
    <dgm:pt modelId="{463D0ABE-7A03-4C30-ABCC-FBDEE09126C0}" type="parTrans" cxnId="{39D5F5CE-BFD7-4A3E-BF63-887C6B96FBB7}">
      <dgm:prSet/>
      <dgm:spPr/>
      <dgm:t>
        <a:bodyPr/>
        <a:lstStyle/>
        <a:p>
          <a:endParaRPr lang="en-GB"/>
        </a:p>
      </dgm:t>
    </dgm:pt>
    <dgm:pt modelId="{21408159-76CF-43FB-9408-0044E0BCA34F}" type="sibTrans" cxnId="{39D5F5CE-BFD7-4A3E-BF63-887C6B96FBB7}">
      <dgm:prSet/>
      <dgm:spPr/>
      <dgm:t>
        <a:bodyPr/>
        <a:lstStyle/>
        <a:p>
          <a:endParaRPr lang="en-GB"/>
        </a:p>
      </dgm:t>
    </dgm:pt>
    <dgm:pt modelId="{232C65EE-6DBD-447A-BFDC-0EF66F398395}">
      <dgm:prSet phldrT="[Texte]" custT="1"/>
      <dgm:spPr>
        <a:ln>
          <a:solidFill>
            <a:schemeClr val="bg1"/>
          </a:solidFill>
        </a:ln>
      </dgm:spPr>
      <dgm:t>
        <a:bodyPr anchor="b"/>
        <a:lstStyle/>
        <a:p>
          <a:r>
            <a:rPr lang="en-GB" sz="1600" dirty="0" err="1" smtClean="0">
              <a:solidFill>
                <a:schemeClr val="bg1"/>
              </a:solidFill>
              <a:latin typeface="BNPP Sans" pitchFamily="50" charset="0"/>
            </a:rPr>
            <a:t>Diseño</a:t>
          </a:r>
          <a:endParaRPr lang="en-GB" sz="1600" dirty="0">
            <a:solidFill>
              <a:schemeClr val="bg1"/>
            </a:solidFill>
            <a:latin typeface="BNPP Sans" pitchFamily="50" charset="0"/>
          </a:endParaRPr>
        </a:p>
      </dgm:t>
    </dgm:pt>
    <dgm:pt modelId="{D3E0BDCF-3099-4DCA-BD2B-0492860C5747}" type="parTrans" cxnId="{4AA53BC0-0AE9-4B65-B8C1-A8D19C69C40C}">
      <dgm:prSet/>
      <dgm:spPr/>
      <dgm:t>
        <a:bodyPr/>
        <a:lstStyle/>
        <a:p>
          <a:endParaRPr lang="en-GB"/>
        </a:p>
      </dgm:t>
    </dgm:pt>
    <dgm:pt modelId="{39C7A874-28C6-4B4B-AA89-BB7B13B6089A}" type="sibTrans" cxnId="{4AA53BC0-0AE9-4B65-B8C1-A8D19C69C40C}">
      <dgm:prSet/>
      <dgm:spPr/>
      <dgm:t>
        <a:bodyPr/>
        <a:lstStyle/>
        <a:p>
          <a:endParaRPr lang="en-GB"/>
        </a:p>
      </dgm:t>
    </dgm:pt>
    <dgm:pt modelId="{EE1B7BBD-43C2-4231-9124-D761707B5920}">
      <dgm:prSet phldrT="[Texte]" custT="1"/>
      <dgm:spPr>
        <a:ln>
          <a:solidFill>
            <a:schemeClr val="bg1"/>
          </a:solidFill>
        </a:ln>
      </dgm:spPr>
      <dgm:t>
        <a:bodyPr anchor="b"/>
        <a:lstStyle/>
        <a:p>
          <a:r>
            <a:rPr lang="en-GB" sz="1600" dirty="0" err="1" smtClean="0">
              <a:solidFill>
                <a:schemeClr val="bg1"/>
              </a:solidFill>
              <a:latin typeface="BNPP Sans" pitchFamily="50" charset="0"/>
            </a:rPr>
            <a:t>Entrega</a:t>
          </a:r>
          <a:endParaRPr lang="en-GB" sz="1600" dirty="0" smtClean="0">
            <a:solidFill>
              <a:schemeClr val="bg1"/>
            </a:solidFill>
            <a:latin typeface="BNPP Sans" pitchFamily="50" charset="0"/>
          </a:endParaRPr>
        </a:p>
      </dgm:t>
    </dgm:pt>
    <dgm:pt modelId="{0DAE2F22-733D-45E4-94B0-17E0ABF484F6}" type="parTrans" cxnId="{1D56A72B-0419-4927-9D45-2005CEB914A3}">
      <dgm:prSet/>
      <dgm:spPr/>
      <dgm:t>
        <a:bodyPr/>
        <a:lstStyle/>
        <a:p>
          <a:endParaRPr lang="en-GB"/>
        </a:p>
      </dgm:t>
    </dgm:pt>
    <dgm:pt modelId="{3F125D98-DB9F-4AF8-A031-5870EA8DAB61}" type="sibTrans" cxnId="{1D56A72B-0419-4927-9D45-2005CEB914A3}">
      <dgm:prSet/>
      <dgm:spPr/>
      <dgm:t>
        <a:bodyPr/>
        <a:lstStyle/>
        <a:p>
          <a:endParaRPr lang="en-GB"/>
        </a:p>
      </dgm:t>
    </dgm:pt>
    <dgm:pt modelId="{1A73D379-CB39-44A6-84FD-6DF9322A5AF3}" type="pres">
      <dgm:prSet presAssocID="{F94DA426-AF34-4EC8-AAAE-667E9D8C4B1E}" presName="Name0" presStyleCnt="0">
        <dgm:presLayoutVars>
          <dgm:dir/>
          <dgm:animLvl val="lvl"/>
          <dgm:resizeHandles val="exact"/>
        </dgm:presLayoutVars>
      </dgm:prSet>
      <dgm:spPr/>
    </dgm:pt>
    <dgm:pt modelId="{E3F757DD-A8D3-4182-BA2F-6B13C13F0575}" type="pres">
      <dgm:prSet presAssocID="{687A68F5-1A7E-494B-BCE2-B4F21325E222}" presName="parTxOnly" presStyleLbl="node1" presStyleIdx="0" presStyleCnt="3" custScaleY="36121" custLinFactNeighborY="826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813046-1FBA-4A19-9B0C-E8E9F72D180D}" type="pres">
      <dgm:prSet presAssocID="{21408159-76CF-43FB-9408-0044E0BCA34F}" presName="parTxOnlySpace" presStyleCnt="0"/>
      <dgm:spPr/>
    </dgm:pt>
    <dgm:pt modelId="{8431DA7B-915E-4794-B737-1557CA8EF878}" type="pres">
      <dgm:prSet presAssocID="{232C65EE-6DBD-447A-BFDC-0EF66F398395}" presName="parTxOnly" presStyleLbl="node1" presStyleIdx="1" presStyleCnt="3" custScaleY="36121" custLinFactNeighborX="-2514" custLinFactNeighborY="830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487376-02A1-4B8B-B07B-3E29E4C0FE16}" type="pres">
      <dgm:prSet presAssocID="{39C7A874-28C6-4B4B-AA89-BB7B13B6089A}" presName="parTxOnlySpace" presStyleCnt="0"/>
      <dgm:spPr/>
    </dgm:pt>
    <dgm:pt modelId="{8C1C1FEC-1BB1-4A14-838E-EA3B23711A97}" type="pres">
      <dgm:prSet presAssocID="{EE1B7BBD-43C2-4231-9124-D761707B5920}" presName="parTxOnly" presStyleLbl="node1" presStyleIdx="2" presStyleCnt="3" custScaleY="36121" custLinFactNeighborY="808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BCCEDD9-B636-4649-8F81-7FE77F601943}" type="presOf" srcId="{EE1B7BBD-43C2-4231-9124-D761707B5920}" destId="{8C1C1FEC-1BB1-4A14-838E-EA3B23711A97}" srcOrd="0" destOrd="0" presId="urn:microsoft.com/office/officeart/2005/8/layout/chevron1"/>
    <dgm:cxn modelId="{2A2FEDAB-1C55-4CDF-BCA1-0681F83C22A8}" type="presOf" srcId="{F94DA426-AF34-4EC8-AAAE-667E9D8C4B1E}" destId="{1A73D379-CB39-44A6-84FD-6DF9322A5AF3}" srcOrd="0" destOrd="0" presId="urn:microsoft.com/office/officeart/2005/8/layout/chevron1"/>
    <dgm:cxn modelId="{4AA53BC0-0AE9-4B65-B8C1-A8D19C69C40C}" srcId="{F94DA426-AF34-4EC8-AAAE-667E9D8C4B1E}" destId="{232C65EE-6DBD-447A-BFDC-0EF66F398395}" srcOrd="1" destOrd="0" parTransId="{D3E0BDCF-3099-4DCA-BD2B-0492860C5747}" sibTransId="{39C7A874-28C6-4B4B-AA89-BB7B13B6089A}"/>
    <dgm:cxn modelId="{611F03C1-5628-4D42-AFE0-60617CB12F60}" type="presOf" srcId="{232C65EE-6DBD-447A-BFDC-0EF66F398395}" destId="{8431DA7B-915E-4794-B737-1557CA8EF878}" srcOrd="0" destOrd="0" presId="urn:microsoft.com/office/officeart/2005/8/layout/chevron1"/>
    <dgm:cxn modelId="{39D5F5CE-BFD7-4A3E-BF63-887C6B96FBB7}" srcId="{F94DA426-AF34-4EC8-AAAE-667E9D8C4B1E}" destId="{687A68F5-1A7E-494B-BCE2-B4F21325E222}" srcOrd="0" destOrd="0" parTransId="{463D0ABE-7A03-4C30-ABCC-FBDEE09126C0}" sibTransId="{21408159-76CF-43FB-9408-0044E0BCA34F}"/>
    <dgm:cxn modelId="{1D56A72B-0419-4927-9D45-2005CEB914A3}" srcId="{F94DA426-AF34-4EC8-AAAE-667E9D8C4B1E}" destId="{EE1B7BBD-43C2-4231-9124-D761707B5920}" srcOrd="2" destOrd="0" parTransId="{0DAE2F22-733D-45E4-94B0-17E0ABF484F6}" sibTransId="{3F125D98-DB9F-4AF8-A031-5870EA8DAB61}"/>
    <dgm:cxn modelId="{4DE1099B-E580-4801-B9A4-F6C1832A4612}" type="presOf" srcId="{687A68F5-1A7E-494B-BCE2-B4F21325E222}" destId="{E3F757DD-A8D3-4182-BA2F-6B13C13F0575}" srcOrd="0" destOrd="0" presId="urn:microsoft.com/office/officeart/2005/8/layout/chevron1"/>
    <dgm:cxn modelId="{B87B6DEC-9687-4251-B0F5-E45A4004C9BA}" type="presParOf" srcId="{1A73D379-CB39-44A6-84FD-6DF9322A5AF3}" destId="{E3F757DD-A8D3-4182-BA2F-6B13C13F0575}" srcOrd="0" destOrd="0" presId="urn:microsoft.com/office/officeart/2005/8/layout/chevron1"/>
    <dgm:cxn modelId="{274DD090-8F0A-4C1C-8195-CF4EE9EE29E6}" type="presParOf" srcId="{1A73D379-CB39-44A6-84FD-6DF9322A5AF3}" destId="{8E813046-1FBA-4A19-9B0C-E8E9F72D180D}" srcOrd="1" destOrd="0" presId="urn:microsoft.com/office/officeart/2005/8/layout/chevron1"/>
    <dgm:cxn modelId="{CB229475-79E4-4F34-A564-00B2CAA92935}" type="presParOf" srcId="{1A73D379-CB39-44A6-84FD-6DF9322A5AF3}" destId="{8431DA7B-915E-4794-B737-1557CA8EF878}" srcOrd="2" destOrd="0" presId="urn:microsoft.com/office/officeart/2005/8/layout/chevron1"/>
    <dgm:cxn modelId="{69F2CA34-19C7-4810-8096-24FF62A7CB9C}" type="presParOf" srcId="{1A73D379-CB39-44A6-84FD-6DF9322A5AF3}" destId="{D9487376-02A1-4B8B-B07B-3E29E4C0FE16}" srcOrd="3" destOrd="0" presId="urn:microsoft.com/office/officeart/2005/8/layout/chevron1"/>
    <dgm:cxn modelId="{1352F82D-08EE-4CA0-92C0-2D8F5368C67E}" type="presParOf" srcId="{1A73D379-CB39-44A6-84FD-6DF9322A5AF3}" destId="{8C1C1FEC-1BB1-4A14-838E-EA3B23711A97}" srcOrd="4" destOrd="0" presId="urn:microsoft.com/office/officeart/2005/8/layout/chevron1"/>
  </dgm:cxnLst>
  <dgm:bg/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961</cdr:x>
      <cdr:y>0.10161</cdr:y>
    </cdr:from>
    <cdr:to>
      <cdr:x>0.56276</cdr:x>
      <cdr:y>0.54668</cdr:y>
    </cdr:to>
    <cdr:cxnSp macro="">
      <cdr:nvCxnSpPr>
        <cdr:cNvPr id="3" name="2 Conector recto"/>
        <cdr:cNvCxnSpPr/>
      </cdr:nvCxnSpPr>
      <cdr:spPr>
        <a:xfrm xmlns:a="http://schemas.openxmlformats.org/drawingml/2006/main" flipH="1">
          <a:off x="1100842" y="156735"/>
          <a:ext cx="6197" cy="68653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3672</cdr:x>
      <cdr:y>0.2489</cdr:y>
    </cdr:from>
    <cdr:to>
      <cdr:x>0.55386</cdr:x>
      <cdr:y>0.52597</cdr:y>
    </cdr:to>
    <cdr:cxnSp macro="">
      <cdr:nvCxnSpPr>
        <cdr:cNvPr id="5" name="4 Conector recto"/>
        <cdr:cNvCxnSpPr/>
      </cdr:nvCxnSpPr>
      <cdr:spPr>
        <a:xfrm xmlns:a="http://schemas.openxmlformats.org/drawingml/2006/main">
          <a:off x="465664" y="383926"/>
          <a:ext cx="623875" cy="427394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D91F375-ABD4-43B0-95A2-6A338A4A5C04}" type="datetimeFigureOut">
              <a:rPr lang="fr-FR" smtClean="0"/>
              <a:t>09/07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3EF5842-04F3-4695-8C7E-60D49603CB5D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601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F5842-04F3-4695-8C7E-60D49603CB5D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2475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4808">
              <a:defRPr/>
            </a:pPr>
            <a:r>
              <a:rPr lang="es-PE" dirty="0"/>
              <a:t>https://gestion.pe/tendencias/2-millones-peruanos-realizan-compras-online-celular-143284</a:t>
            </a:r>
          </a:p>
          <a:p>
            <a:r>
              <a:rPr lang="es-PE" dirty="0"/>
              <a:t>https://www.peru-retail.com/especialista/resultados-positivos-para-inretail-cierre-2017/</a:t>
            </a:r>
          </a:p>
          <a:p>
            <a:r>
              <a:rPr lang="es-PE" dirty="0"/>
              <a:t>https://www.peru-retail.com/conoce-mercado-tiendas-conveniencia-peru/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F5842-04F3-4695-8C7E-60D49603CB5D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66775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Microsoft_Excel_97-2003_Worksheet1.xls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ChristineB\Desktop\back-eng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31" b="5869"/>
          <a:stretch/>
        </p:blipFill>
        <p:spPr bwMode="auto">
          <a:xfrm>
            <a:off x="-9686" y="0"/>
            <a:ext cx="9153686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-9686" y="3811776"/>
            <a:ext cx="9153686" cy="133172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097941" y="3586720"/>
            <a:ext cx="3492000" cy="452496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000" dirty="0" smtClean="0">
              <a:solidFill>
                <a:schemeClr val="accent5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359119"/>
            <a:ext cx="5328592" cy="1001007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presentation title </a:t>
            </a:r>
            <a:br>
              <a:rPr lang="en-GB" noProof="0" dirty="0" smtClean="0"/>
            </a:br>
            <a:r>
              <a:rPr lang="en-GB" noProof="0" dirty="0" smtClean="0"/>
              <a:t>on multi-lines</a:t>
            </a:r>
            <a:endParaRPr lang="en-GB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350283"/>
            <a:ext cx="5328000" cy="324000"/>
          </a:xfrm>
        </p:spPr>
        <p:txBody>
          <a:bodyPr anchor="ctr">
            <a:normAutofit/>
          </a:bodyPr>
          <a:lstStyle>
            <a:lvl1pPr marL="0" indent="0" algn="l"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</a:t>
            </a:r>
            <a:endParaRPr lang="en-GB" noProof="0" dirty="0"/>
          </a:p>
        </p:txBody>
      </p:sp>
      <p:sp>
        <p:nvSpPr>
          <p:cNvPr id="19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31057" y="3653820"/>
            <a:ext cx="3168000" cy="162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GB" noProof="0" dirty="0" smtClean="0"/>
              <a:t>author’s name</a:t>
            </a:r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31057" y="3821460"/>
            <a:ext cx="3168000" cy="162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GB" noProof="0" dirty="0" smtClean="0"/>
              <a:t>Location, 00/00/2015</a:t>
            </a:r>
          </a:p>
        </p:txBody>
      </p:sp>
      <p:pic>
        <p:nvPicPr>
          <p:cNvPr id="11" name="Picture 2" descr="C:\Users\995472\Desktop\BNP PARIBAS CARDIF TEMPLATES NLLE CHARTE\SIGNATURE DECLINAISON CARDIF\SIGNATURE DECLINAISON CARDIF\CARDIF_Sign_EN\CARDIF_Sign_EN_1l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4194332"/>
            <a:ext cx="3239468" cy="626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BNPP_CARDIF_BL_Q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059678"/>
            <a:ext cx="4641866" cy="816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46942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41578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6" y="0"/>
            <a:ext cx="9141693" cy="5142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/>
          <p:cNvSpPr txBox="1"/>
          <p:nvPr userDrawn="1"/>
        </p:nvSpPr>
        <p:spPr>
          <a:xfrm>
            <a:off x="2743225" y="1203598"/>
            <a:ext cx="3636000" cy="28728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324000" tIns="18000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4000" b="0" i="0" u="none" strike="noStrike" baseline="0" noProof="0" dirty="0" smtClean="0">
                <a:solidFill>
                  <a:srgbClr val="FFFFFF"/>
                </a:solidFill>
                <a:latin typeface="+mj-lt"/>
              </a:rPr>
              <a:t>THANK YOU!</a:t>
            </a:r>
          </a:p>
          <a:p>
            <a:pPr algn="l"/>
            <a:r>
              <a:rPr lang="en-GB" sz="2400" b="0" i="0" u="none" strike="noStrike" baseline="0" noProof="0" dirty="0" smtClean="0">
                <a:solidFill>
                  <a:srgbClr val="FFFFFF"/>
                </a:solidFill>
                <a:latin typeface="+mj-lt"/>
              </a:rPr>
              <a:t>BNP PARIBAS CARDIF</a:t>
            </a:r>
          </a:p>
          <a:p>
            <a:pPr algn="l"/>
            <a:r>
              <a:rPr lang="en-GB" sz="2000" b="0" i="0" u="none" strike="noStrike" baseline="0" noProof="0" dirty="0" smtClean="0">
                <a:solidFill>
                  <a:srgbClr val="FFFFFF"/>
                </a:solidFill>
                <a:latin typeface="+mj-lt"/>
              </a:rPr>
              <a:t>8, rue du Port</a:t>
            </a:r>
          </a:p>
          <a:p>
            <a:pPr algn="l"/>
            <a:r>
              <a:rPr lang="fr-FR" sz="2000" b="0" i="0" u="none" strike="noStrike" baseline="0" noProof="0" dirty="0" smtClean="0">
                <a:solidFill>
                  <a:srgbClr val="FFFFFF"/>
                </a:solidFill>
                <a:latin typeface="+mj-lt"/>
              </a:rPr>
              <a:t>92728 Nanterre Cedex</a:t>
            </a:r>
            <a:endParaRPr lang="en-GB" sz="2000" b="0" i="0" u="none" strike="noStrike" baseline="0" noProof="0" dirty="0" smtClean="0">
              <a:solidFill>
                <a:srgbClr val="FFFFFF"/>
              </a:solidFill>
              <a:latin typeface="+mj-lt"/>
            </a:endParaRPr>
          </a:p>
          <a:p>
            <a:pPr algn="l"/>
            <a:r>
              <a:rPr lang="en-GB" sz="2000" b="0" i="0" u="none" strike="noStrike" baseline="0" noProof="0" dirty="0" smtClean="0">
                <a:solidFill>
                  <a:srgbClr val="FFFFFF"/>
                </a:solidFill>
                <a:latin typeface="+mj-lt"/>
              </a:rPr>
              <a:t>Tel.: +33 (0)1 41 42 83 00</a:t>
            </a:r>
          </a:p>
          <a:p>
            <a:pPr algn="l"/>
            <a:r>
              <a:rPr lang="en-GB" sz="3200" b="0" i="0" u="none" strike="noStrike" baseline="0" noProof="0" dirty="0" smtClean="0">
                <a:solidFill>
                  <a:srgbClr val="FFFFFF"/>
                </a:solidFill>
                <a:latin typeface="+mj-lt"/>
              </a:rPr>
              <a:t>bnpparibascardif.com</a:t>
            </a:r>
            <a:endParaRPr lang="en-GB" sz="3200" b="0" noProof="0" dirty="0" smtClean="0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475268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Colours</a:t>
            </a:r>
            <a:endParaRPr lang="en-GB" noProof="0" dirty="0"/>
          </a:p>
        </p:txBody>
      </p:sp>
      <p:cxnSp>
        <p:nvCxnSpPr>
          <p:cNvPr id="24" name="Connecteur droit 23"/>
          <p:cNvCxnSpPr/>
          <p:nvPr userDrawn="1"/>
        </p:nvCxnSpPr>
        <p:spPr>
          <a:xfrm>
            <a:off x="342578" y="65925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Box 3"/>
          <p:cNvSpPr txBox="1">
            <a:spLocks noChangeArrowheads="1"/>
          </p:cNvSpPr>
          <p:nvPr userDrawn="1"/>
        </p:nvSpPr>
        <p:spPr bwMode="auto">
          <a:xfrm>
            <a:off x="1908177" y="2715763"/>
            <a:ext cx="727075" cy="727200"/>
          </a:xfrm>
          <a:prstGeom prst="rect">
            <a:avLst/>
          </a:prstGeom>
          <a:solidFill>
            <a:srgbClr val="6473A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10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15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175</a:t>
            </a:r>
          </a:p>
        </p:txBody>
      </p:sp>
      <p:sp>
        <p:nvSpPr>
          <p:cNvPr id="26" name="Text Box 4"/>
          <p:cNvSpPr txBox="1">
            <a:spLocks noChangeArrowheads="1"/>
          </p:cNvSpPr>
          <p:nvPr userDrawn="1"/>
        </p:nvSpPr>
        <p:spPr bwMode="auto">
          <a:xfrm>
            <a:off x="1908177" y="1059582"/>
            <a:ext cx="727075" cy="727200"/>
          </a:xfrm>
          <a:prstGeom prst="rect">
            <a:avLst/>
          </a:prstGeom>
          <a:solidFill>
            <a:srgbClr val="4BC8D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R 075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V 200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B 220</a:t>
            </a:r>
          </a:p>
        </p:txBody>
      </p:sp>
      <p:sp>
        <p:nvSpPr>
          <p:cNvPr id="27" name="Text Box 5"/>
          <p:cNvSpPr txBox="1">
            <a:spLocks noChangeArrowheads="1"/>
          </p:cNvSpPr>
          <p:nvPr userDrawn="1"/>
        </p:nvSpPr>
        <p:spPr bwMode="auto">
          <a:xfrm>
            <a:off x="3854452" y="1059582"/>
            <a:ext cx="727075" cy="727200"/>
          </a:xfrm>
          <a:prstGeom prst="rect">
            <a:avLst/>
          </a:prstGeom>
          <a:solidFill>
            <a:srgbClr val="F0F05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4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24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80</a:t>
            </a:r>
          </a:p>
        </p:txBody>
      </p:sp>
      <p:sp>
        <p:nvSpPr>
          <p:cNvPr id="28" name="Text Box 6"/>
          <p:cNvSpPr txBox="1">
            <a:spLocks noChangeArrowheads="1"/>
          </p:cNvSpPr>
          <p:nvPr userDrawn="1"/>
        </p:nvSpPr>
        <p:spPr bwMode="auto">
          <a:xfrm>
            <a:off x="3854452" y="1887673"/>
            <a:ext cx="727075" cy="727200"/>
          </a:xfrm>
          <a:prstGeom prst="rect">
            <a:avLst/>
          </a:prstGeom>
          <a:solidFill>
            <a:srgbClr val="DCDC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2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22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30</a:t>
            </a:r>
          </a:p>
        </p:txBody>
      </p:sp>
      <p:sp>
        <p:nvSpPr>
          <p:cNvPr id="29" name="Text Box 7"/>
          <p:cNvSpPr txBox="1">
            <a:spLocks noChangeArrowheads="1"/>
          </p:cNvSpPr>
          <p:nvPr userDrawn="1"/>
        </p:nvSpPr>
        <p:spPr bwMode="auto">
          <a:xfrm>
            <a:off x="3854452" y="2715763"/>
            <a:ext cx="727075" cy="727200"/>
          </a:xfrm>
          <a:prstGeom prst="rect">
            <a:avLst/>
          </a:prstGeom>
          <a:solidFill>
            <a:srgbClr val="E6A0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3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6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30</a:t>
            </a:r>
          </a:p>
        </p:txBody>
      </p:sp>
      <p:sp>
        <p:nvSpPr>
          <p:cNvPr id="30" name="Text Box 8"/>
          <p:cNvSpPr txBox="1">
            <a:spLocks noChangeArrowheads="1"/>
          </p:cNvSpPr>
          <p:nvPr userDrawn="1"/>
        </p:nvSpPr>
        <p:spPr bwMode="auto">
          <a:xfrm>
            <a:off x="3854452" y="3543856"/>
            <a:ext cx="727075" cy="727200"/>
          </a:xfrm>
          <a:prstGeom prst="rect">
            <a:avLst/>
          </a:prstGeom>
          <a:solidFill>
            <a:srgbClr val="DC7D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2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25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50</a:t>
            </a:r>
          </a:p>
        </p:txBody>
      </p:sp>
      <p:sp>
        <p:nvSpPr>
          <p:cNvPr id="31" name="Text Box 9"/>
          <p:cNvSpPr txBox="1">
            <a:spLocks noChangeArrowheads="1"/>
          </p:cNvSpPr>
          <p:nvPr userDrawn="1"/>
        </p:nvSpPr>
        <p:spPr bwMode="auto">
          <a:xfrm>
            <a:off x="5726114" y="1059582"/>
            <a:ext cx="727075" cy="727200"/>
          </a:xfrm>
          <a:prstGeom prst="rect">
            <a:avLst/>
          </a:prstGeom>
          <a:solidFill>
            <a:srgbClr val="D2DCA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21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22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170</a:t>
            </a:r>
          </a:p>
        </p:txBody>
      </p:sp>
      <p:sp>
        <p:nvSpPr>
          <p:cNvPr id="32" name="Text Box 10"/>
          <p:cNvSpPr txBox="1">
            <a:spLocks noChangeArrowheads="1"/>
          </p:cNvSpPr>
          <p:nvPr userDrawn="1"/>
        </p:nvSpPr>
        <p:spPr bwMode="auto">
          <a:xfrm>
            <a:off x="5726114" y="1887673"/>
            <a:ext cx="727075" cy="727200"/>
          </a:xfrm>
          <a:prstGeom prst="rect">
            <a:avLst/>
          </a:prstGeom>
          <a:solidFill>
            <a:srgbClr val="A0C873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16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20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115</a:t>
            </a:r>
          </a:p>
        </p:txBody>
      </p:sp>
      <p:sp>
        <p:nvSpPr>
          <p:cNvPr id="33" name="Text Box 11"/>
          <p:cNvSpPr txBox="1">
            <a:spLocks noChangeArrowheads="1"/>
          </p:cNvSpPr>
          <p:nvPr userDrawn="1"/>
        </p:nvSpPr>
        <p:spPr bwMode="auto">
          <a:xfrm>
            <a:off x="5726114" y="2715763"/>
            <a:ext cx="727075" cy="727200"/>
          </a:xfrm>
          <a:prstGeom prst="rect">
            <a:avLst/>
          </a:prstGeom>
          <a:solidFill>
            <a:srgbClr val="64A05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10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6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90</a:t>
            </a:r>
          </a:p>
        </p:txBody>
      </p:sp>
      <p:sp>
        <p:nvSpPr>
          <p:cNvPr id="34" name="Text Box 12"/>
          <p:cNvSpPr txBox="1">
            <a:spLocks noChangeArrowheads="1"/>
          </p:cNvSpPr>
          <p:nvPr userDrawn="1"/>
        </p:nvSpPr>
        <p:spPr bwMode="auto">
          <a:xfrm>
            <a:off x="1908177" y="3543856"/>
            <a:ext cx="727075" cy="727200"/>
          </a:xfrm>
          <a:prstGeom prst="rect">
            <a:avLst/>
          </a:prstGeom>
          <a:solidFill>
            <a:srgbClr val="505A9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R 080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V 090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B 155</a:t>
            </a:r>
          </a:p>
        </p:txBody>
      </p:sp>
      <p:sp>
        <p:nvSpPr>
          <p:cNvPr id="35" name="Text Box 13"/>
          <p:cNvSpPr txBox="1">
            <a:spLocks noChangeArrowheads="1"/>
          </p:cNvSpPr>
          <p:nvPr userDrawn="1"/>
        </p:nvSpPr>
        <p:spPr bwMode="auto">
          <a:xfrm>
            <a:off x="1908177" y="1887673"/>
            <a:ext cx="727075" cy="727200"/>
          </a:xfrm>
          <a:prstGeom prst="rect">
            <a:avLst/>
          </a:prstGeom>
          <a:solidFill>
            <a:srgbClr val="28A5C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04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65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195</a:t>
            </a:r>
          </a:p>
        </p:txBody>
      </p:sp>
      <p:sp>
        <p:nvSpPr>
          <p:cNvPr id="36" name="Text Box 14"/>
          <p:cNvSpPr txBox="1">
            <a:spLocks noChangeArrowheads="1"/>
          </p:cNvSpPr>
          <p:nvPr userDrawn="1"/>
        </p:nvSpPr>
        <p:spPr bwMode="auto">
          <a:xfrm>
            <a:off x="5726114" y="3543856"/>
            <a:ext cx="727075" cy="727200"/>
          </a:xfrm>
          <a:prstGeom prst="rect">
            <a:avLst/>
          </a:prstGeom>
          <a:solidFill>
            <a:srgbClr val="3C914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R 060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V 145</a:t>
            </a:r>
          </a:p>
          <a:p>
            <a:pPr algn="ctr"/>
            <a:r>
              <a:rPr lang="fr-FR" altLang="fr-FR" sz="1100" dirty="0">
                <a:solidFill>
                  <a:schemeClr val="bg1"/>
                </a:solidFill>
              </a:rPr>
              <a:t>B 070</a:t>
            </a:r>
          </a:p>
        </p:txBody>
      </p:sp>
      <p:sp>
        <p:nvSpPr>
          <p:cNvPr id="37" name="Text Box 15"/>
          <p:cNvSpPr txBox="1">
            <a:spLocks noChangeArrowheads="1"/>
          </p:cNvSpPr>
          <p:nvPr userDrawn="1"/>
        </p:nvSpPr>
        <p:spPr bwMode="auto">
          <a:xfrm>
            <a:off x="7435852" y="3543856"/>
            <a:ext cx="727075" cy="727200"/>
          </a:xfrm>
          <a:prstGeom prst="rect">
            <a:avLst/>
          </a:prstGeom>
          <a:solidFill>
            <a:srgbClr val="82A44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fr-FR" altLang="fr-FR" sz="1100">
                <a:solidFill>
                  <a:schemeClr val="bg1"/>
                </a:solidFill>
              </a:rPr>
              <a:t>R 130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V 164</a:t>
            </a:r>
          </a:p>
          <a:p>
            <a:pPr algn="ctr"/>
            <a:r>
              <a:rPr lang="fr-FR" altLang="fr-FR" sz="1100">
                <a:solidFill>
                  <a:schemeClr val="bg1"/>
                </a:solidFill>
              </a:rPr>
              <a:t>B 074</a:t>
            </a:r>
          </a:p>
        </p:txBody>
      </p:sp>
    </p:spTree>
    <p:extLst>
      <p:ext uri="{BB962C8B-B14F-4D97-AF65-F5344CB8AC3E}">
        <p14:creationId xmlns:p14="http://schemas.microsoft.com/office/powerpoint/2010/main" val="2074762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 CO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Graphs creation -Chart Tools / Design / Layout / Format</a:t>
            </a:r>
            <a:endParaRPr lang="en-GB" noProof="0" dirty="0"/>
          </a:p>
        </p:txBody>
      </p:sp>
      <p:cxnSp>
        <p:nvCxnSpPr>
          <p:cNvPr id="16" name="Connecteur droit 15"/>
          <p:cNvCxnSpPr/>
          <p:nvPr userDrawn="1"/>
        </p:nvCxnSpPr>
        <p:spPr>
          <a:xfrm>
            <a:off x="342578" y="65925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3"/>
          <p:cNvSpPr txBox="1">
            <a:spLocks noChangeArrowheads="1"/>
          </p:cNvSpPr>
          <p:nvPr userDrawn="1"/>
        </p:nvSpPr>
        <p:spPr bwMode="auto">
          <a:xfrm>
            <a:off x="6306705" y="3435846"/>
            <a:ext cx="576064" cy="432000"/>
          </a:xfrm>
          <a:prstGeom prst="rect">
            <a:avLst/>
          </a:prstGeom>
          <a:solidFill>
            <a:srgbClr val="6473A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10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115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175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18" name="Text Box 4"/>
          <p:cNvSpPr txBox="1">
            <a:spLocks noChangeArrowheads="1"/>
          </p:cNvSpPr>
          <p:nvPr userDrawn="1"/>
        </p:nvSpPr>
        <p:spPr bwMode="auto">
          <a:xfrm>
            <a:off x="4411206" y="3438717"/>
            <a:ext cx="576064" cy="432000"/>
          </a:xfrm>
          <a:prstGeom prst="rect">
            <a:avLst/>
          </a:prstGeom>
          <a:solidFill>
            <a:srgbClr val="4BC8D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075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20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220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19" name="Text Box 5"/>
          <p:cNvSpPr txBox="1">
            <a:spLocks noChangeArrowheads="1"/>
          </p:cNvSpPr>
          <p:nvPr userDrawn="1"/>
        </p:nvSpPr>
        <p:spPr bwMode="auto">
          <a:xfrm>
            <a:off x="5043260" y="3438717"/>
            <a:ext cx="576064" cy="432000"/>
          </a:xfrm>
          <a:prstGeom prst="rect">
            <a:avLst/>
          </a:prstGeom>
          <a:solidFill>
            <a:srgbClr val="F0F05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tx2"/>
                </a:solidFill>
              </a:rPr>
              <a:t>R 240</a:t>
            </a:r>
          </a:p>
          <a:p>
            <a:pPr algn="ctr"/>
            <a:r>
              <a:rPr lang="en-GB" altLang="fr-FR" sz="800" noProof="0" dirty="0" smtClean="0">
                <a:solidFill>
                  <a:schemeClr val="tx2"/>
                </a:solidFill>
              </a:rPr>
              <a:t>G 240</a:t>
            </a:r>
          </a:p>
          <a:p>
            <a:pPr algn="ctr"/>
            <a:r>
              <a:rPr lang="en-GB" altLang="fr-FR" sz="800" noProof="0" dirty="0" smtClean="0">
                <a:solidFill>
                  <a:schemeClr val="tx2"/>
                </a:solidFill>
              </a:rPr>
              <a:t>B 080</a:t>
            </a:r>
            <a:endParaRPr lang="en-GB" altLang="fr-FR" sz="800" noProof="0" dirty="0">
              <a:solidFill>
                <a:schemeClr val="tx2"/>
              </a:solidFill>
            </a:endParaRPr>
          </a:p>
        </p:txBody>
      </p:sp>
      <p:sp>
        <p:nvSpPr>
          <p:cNvPr id="23" name="Text Box 6"/>
          <p:cNvSpPr txBox="1">
            <a:spLocks noChangeArrowheads="1"/>
          </p:cNvSpPr>
          <p:nvPr userDrawn="1"/>
        </p:nvSpPr>
        <p:spPr bwMode="auto">
          <a:xfrm>
            <a:off x="5043260" y="4008178"/>
            <a:ext cx="576064" cy="432000"/>
          </a:xfrm>
          <a:prstGeom prst="rect">
            <a:avLst/>
          </a:prstGeom>
          <a:solidFill>
            <a:srgbClr val="DCDC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22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22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030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24" name="Text Box 7"/>
          <p:cNvSpPr txBox="1">
            <a:spLocks noChangeArrowheads="1"/>
          </p:cNvSpPr>
          <p:nvPr userDrawn="1"/>
        </p:nvSpPr>
        <p:spPr bwMode="auto">
          <a:xfrm>
            <a:off x="6938759" y="3435846"/>
            <a:ext cx="576064" cy="432000"/>
          </a:xfrm>
          <a:prstGeom prst="rect">
            <a:avLst/>
          </a:prstGeom>
          <a:solidFill>
            <a:srgbClr val="E6A0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23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16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030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25" name="Text Box 8"/>
          <p:cNvSpPr txBox="1">
            <a:spLocks noChangeArrowheads="1"/>
          </p:cNvSpPr>
          <p:nvPr userDrawn="1"/>
        </p:nvSpPr>
        <p:spPr bwMode="auto">
          <a:xfrm>
            <a:off x="6938759" y="4008177"/>
            <a:ext cx="576064" cy="432000"/>
          </a:xfrm>
          <a:prstGeom prst="rect">
            <a:avLst/>
          </a:prstGeom>
          <a:solidFill>
            <a:srgbClr val="DC7D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22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125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050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26" name="Text Box 9"/>
          <p:cNvSpPr txBox="1">
            <a:spLocks noChangeArrowheads="1"/>
          </p:cNvSpPr>
          <p:nvPr userDrawn="1"/>
        </p:nvSpPr>
        <p:spPr bwMode="auto">
          <a:xfrm>
            <a:off x="5682943" y="3438717"/>
            <a:ext cx="576064" cy="432000"/>
          </a:xfrm>
          <a:prstGeom prst="rect">
            <a:avLst/>
          </a:prstGeom>
          <a:solidFill>
            <a:srgbClr val="D2DCA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21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22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170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33" name="Text Box 10"/>
          <p:cNvSpPr txBox="1">
            <a:spLocks noChangeArrowheads="1"/>
          </p:cNvSpPr>
          <p:nvPr userDrawn="1"/>
        </p:nvSpPr>
        <p:spPr bwMode="auto">
          <a:xfrm>
            <a:off x="5682943" y="4008178"/>
            <a:ext cx="576064" cy="432000"/>
          </a:xfrm>
          <a:prstGeom prst="rect">
            <a:avLst/>
          </a:prstGeom>
          <a:solidFill>
            <a:srgbClr val="A0C873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16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20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115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34" name="Text Box 11"/>
          <p:cNvSpPr txBox="1">
            <a:spLocks noChangeArrowheads="1"/>
          </p:cNvSpPr>
          <p:nvPr userDrawn="1"/>
        </p:nvSpPr>
        <p:spPr bwMode="auto">
          <a:xfrm>
            <a:off x="7578442" y="3435846"/>
            <a:ext cx="576064" cy="432000"/>
          </a:xfrm>
          <a:prstGeom prst="rect">
            <a:avLst/>
          </a:prstGeom>
          <a:solidFill>
            <a:srgbClr val="64A05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10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16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090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35" name="Text Box 12"/>
          <p:cNvSpPr txBox="1">
            <a:spLocks noChangeArrowheads="1"/>
          </p:cNvSpPr>
          <p:nvPr userDrawn="1"/>
        </p:nvSpPr>
        <p:spPr bwMode="auto">
          <a:xfrm>
            <a:off x="6306705" y="4008177"/>
            <a:ext cx="576064" cy="432000"/>
          </a:xfrm>
          <a:prstGeom prst="rect">
            <a:avLst/>
          </a:prstGeom>
          <a:solidFill>
            <a:srgbClr val="505A9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08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09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155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36" name="Text Box 13"/>
          <p:cNvSpPr txBox="1">
            <a:spLocks noChangeArrowheads="1"/>
          </p:cNvSpPr>
          <p:nvPr userDrawn="1"/>
        </p:nvSpPr>
        <p:spPr bwMode="auto">
          <a:xfrm>
            <a:off x="4411206" y="4008178"/>
            <a:ext cx="576064" cy="432000"/>
          </a:xfrm>
          <a:prstGeom prst="rect">
            <a:avLst/>
          </a:prstGeom>
          <a:solidFill>
            <a:srgbClr val="28A5C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04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165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195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37" name="Text Box 14"/>
          <p:cNvSpPr txBox="1">
            <a:spLocks noChangeArrowheads="1"/>
          </p:cNvSpPr>
          <p:nvPr userDrawn="1"/>
        </p:nvSpPr>
        <p:spPr bwMode="auto">
          <a:xfrm>
            <a:off x="7578442" y="4008177"/>
            <a:ext cx="576064" cy="432000"/>
          </a:xfrm>
          <a:prstGeom prst="rect">
            <a:avLst/>
          </a:prstGeom>
          <a:solidFill>
            <a:srgbClr val="3C914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06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145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070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sp>
        <p:nvSpPr>
          <p:cNvPr id="38" name="Text Box 15"/>
          <p:cNvSpPr txBox="1">
            <a:spLocks noChangeArrowheads="1"/>
          </p:cNvSpPr>
          <p:nvPr userDrawn="1"/>
        </p:nvSpPr>
        <p:spPr bwMode="auto">
          <a:xfrm>
            <a:off x="8226514" y="4011910"/>
            <a:ext cx="576064" cy="432000"/>
          </a:xfrm>
          <a:prstGeom prst="rect">
            <a:avLst/>
          </a:prstGeom>
          <a:solidFill>
            <a:srgbClr val="82A44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R 130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G 164</a:t>
            </a:r>
          </a:p>
          <a:p>
            <a:pPr algn="ctr"/>
            <a:r>
              <a:rPr lang="en-GB" altLang="fr-FR" sz="800" noProof="0" dirty="0" smtClean="0">
                <a:solidFill>
                  <a:schemeClr val="bg1"/>
                </a:solidFill>
              </a:rPr>
              <a:t>B 074</a:t>
            </a:r>
            <a:endParaRPr lang="en-GB" altLang="fr-FR" sz="800" noProof="0" dirty="0">
              <a:solidFill>
                <a:schemeClr val="bg1"/>
              </a:solidFill>
            </a:endParaRPr>
          </a:p>
        </p:txBody>
      </p:sp>
      <p:cxnSp>
        <p:nvCxnSpPr>
          <p:cNvPr id="39" name="Connecteur droit 38"/>
          <p:cNvCxnSpPr/>
          <p:nvPr userDrawn="1"/>
        </p:nvCxnSpPr>
        <p:spPr>
          <a:xfrm>
            <a:off x="342578" y="65925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 userDrawn="1"/>
        </p:nvSpPr>
        <p:spPr>
          <a:xfrm>
            <a:off x="348712" y="700672"/>
            <a:ext cx="4062495" cy="1083536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100" b="1" u="sng" noProof="0" dirty="0" smtClean="0">
                <a:solidFill>
                  <a:schemeClr val="tx1"/>
                </a:solidFill>
              </a:rPr>
              <a:t>HOW TO</a:t>
            </a:r>
            <a:r>
              <a:rPr lang="en-GB" sz="1100" b="1" u="sng" baseline="0" noProof="0" dirty="0" smtClean="0">
                <a:solidFill>
                  <a:schemeClr val="tx1"/>
                </a:solidFill>
              </a:rPr>
              <a:t> </a:t>
            </a:r>
            <a:r>
              <a:rPr lang="en-GB" sz="1100" b="1" u="sng" noProof="0" dirty="0" smtClean="0">
                <a:solidFill>
                  <a:schemeClr val="tx1"/>
                </a:solidFill>
              </a:rPr>
              <a:t>CREATE</a:t>
            </a:r>
            <a:r>
              <a:rPr lang="en-GB" sz="1100" b="1" u="sng" baseline="0" noProof="0" dirty="0" smtClean="0">
                <a:solidFill>
                  <a:schemeClr val="tx1"/>
                </a:solidFill>
              </a:rPr>
              <a:t> CHARTS WITH BNPP STYLE </a:t>
            </a:r>
            <a:endParaRPr lang="en-GB" sz="1100" b="1" u="sng" noProof="0" dirty="0" smtClean="0">
              <a:solidFill>
                <a:schemeClr val="tx1"/>
              </a:solidFill>
            </a:endParaRPr>
          </a:p>
          <a:p>
            <a:pPr marL="176213" indent="-176213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GB" sz="1000" b="0" u="none" noProof="0" dirty="0" smtClean="0">
                <a:solidFill>
                  <a:schemeClr val="tx1"/>
                </a:solidFill>
              </a:rPr>
              <a:t>create</a:t>
            </a:r>
            <a:r>
              <a:rPr lang="en-GB" sz="1000" b="0" u="none" baseline="0" noProof="0" dirty="0" smtClean="0">
                <a:solidFill>
                  <a:schemeClr val="tx1"/>
                </a:solidFill>
              </a:rPr>
              <a:t> your chart on this slide</a:t>
            </a:r>
            <a:endParaRPr lang="en-GB" sz="1000" b="0" u="none" noProof="0" dirty="0" smtClean="0">
              <a:solidFill>
                <a:schemeClr val="tx1"/>
              </a:solidFill>
            </a:endParaRPr>
          </a:p>
          <a:p>
            <a:pPr marL="176213" indent="-176213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GB" sz="1000" b="0" u="none" noProof="0" dirty="0" smtClean="0">
                <a:solidFill>
                  <a:schemeClr val="tx1"/>
                </a:solidFill>
              </a:rPr>
              <a:t>copy/paste</a:t>
            </a:r>
            <a:r>
              <a:rPr lang="en-GB" sz="1000" b="0" u="none" baseline="0" noProof="0" dirty="0" smtClean="0">
                <a:solidFill>
                  <a:schemeClr val="tx1"/>
                </a:solidFill>
              </a:rPr>
              <a:t> on the right place</a:t>
            </a:r>
            <a:endParaRPr lang="en-GB" sz="1000" b="0" u="none" noProof="0" dirty="0" smtClean="0">
              <a:solidFill>
                <a:schemeClr val="tx1"/>
              </a:solidFill>
            </a:endParaRPr>
          </a:p>
          <a:p>
            <a:pPr marL="0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sz="500" b="0" u="none" noProof="0" dirty="0" smtClean="0">
              <a:solidFill>
                <a:schemeClr val="tx1"/>
              </a:solidFill>
            </a:endParaRPr>
          </a:p>
          <a:p>
            <a:pPr marL="0" indent="0" algn="l">
              <a:lnSpc>
                <a:spcPct val="100000"/>
              </a:lnSpc>
              <a:buFont typeface="Courier New" panose="02070309020205020404" pitchFamily="49" charset="0"/>
              <a:buNone/>
            </a:pPr>
            <a:r>
              <a:rPr lang="en-GB" sz="1000" b="0" u="none" noProof="0" dirty="0" smtClean="0">
                <a:solidFill>
                  <a:schemeClr val="tx1"/>
                </a:solidFill>
              </a:rPr>
              <a:t>ATTENTION: Microsoft’s </a:t>
            </a:r>
            <a:r>
              <a:rPr lang="en-GB" sz="1000" b="0" u="none" noProof="0" dirty="0" err="1" smtClean="0">
                <a:solidFill>
                  <a:schemeClr val="tx1"/>
                </a:solidFill>
              </a:rPr>
              <a:t>ChartStyles</a:t>
            </a:r>
            <a:r>
              <a:rPr lang="en-GB" sz="1000" b="0" u="none" noProof="0" dirty="0" smtClean="0">
                <a:solidFill>
                  <a:schemeClr val="tx1"/>
                </a:solidFill>
              </a:rPr>
              <a:t> are not in  BNPP style. Don’t use them.</a:t>
            </a:r>
          </a:p>
          <a:p>
            <a:pPr marL="347663" indent="-17145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endParaRPr lang="en-GB" sz="1200" u="none" noProof="0" dirty="0" smtClean="0">
              <a:solidFill>
                <a:schemeClr val="tx1"/>
              </a:solidFill>
            </a:endParaRPr>
          </a:p>
        </p:txBody>
      </p:sp>
      <p:sp>
        <p:nvSpPr>
          <p:cNvPr id="41" name="Espace réservé du graphique 2"/>
          <p:cNvSpPr>
            <a:spLocks noGrp="1"/>
          </p:cNvSpPr>
          <p:nvPr>
            <p:ph type="chart" sz="quarter" idx="13"/>
          </p:nvPr>
        </p:nvSpPr>
        <p:spPr>
          <a:xfrm>
            <a:off x="5220072" y="789552"/>
            <a:ext cx="3580476" cy="2221524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fr-FR" noProof="0" smtClean="0"/>
              <a:t>Cliquez sur l'icône pour ajouter un graphique</a:t>
            </a:r>
            <a:endParaRPr lang="en-GB" noProof="0" dirty="0"/>
          </a:p>
        </p:txBody>
      </p:sp>
      <p:sp>
        <p:nvSpPr>
          <p:cNvPr id="43" name="Rectangle 42"/>
          <p:cNvSpPr/>
          <p:nvPr userDrawn="1"/>
        </p:nvSpPr>
        <p:spPr>
          <a:xfrm>
            <a:off x="348712" y="2262166"/>
            <a:ext cx="1855430" cy="1497820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100" b="1" u="sng" noProof="0" dirty="0" smtClean="0">
                <a:solidFill>
                  <a:schemeClr val="tx1"/>
                </a:solidFill>
              </a:rPr>
              <a:t>Right click on the char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sz="1000" b="0" u="none" noProof="0" dirty="0" smtClean="0">
                <a:solidFill>
                  <a:schemeClr val="tx1"/>
                </a:solidFill>
              </a:rPr>
              <a:t>choose the part to</a:t>
            </a:r>
            <a:r>
              <a:rPr lang="en-GB" sz="1000" b="0" u="none" baseline="0" noProof="0" dirty="0" smtClean="0">
                <a:solidFill>
                  <a:schemeClr val="tx1"/>
                </a:solidFill>
              </a:rPr>
              <a:t> modify (area, axis, legend, ...)</a:t>
            </a:r>
            <a:endParaRPr lang="en-GB" sz="1000" b="0" u="none" noProof="0" dirty="0" smtClean="0">
              <a:solidFill>
                <a:schemeClr val="tx1"/>
              </a:solidFill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GB" sz="1000" b="0" u="none" noProof="0" dirty="0" smtClean="0">
                <a:solidFill>
                  <a:schemeClr val="tx1"/>
                </a:solidFill>
              </a:rPr>
              <a:t>use :</a:t>
            </a:r>
          </a:p>
          <a:p>
            <a:pPr marL="360363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000" b="0" u="none" noProof="0" dirty="0" smtClean="0">
                <a:solidFill>
                  <a:schemeClr val="tx1"/>
                </a:solidFill>
              </a:rPr>
              <a:t>font size</a:t>
            </a:r>
          </a:p>
          <a:p>
            <a:pPr marL="360363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000" b="0" u="none" noProof="0" dirty="0" smtClean="0">
                <a:solidFill>
                  <a:schemeClr val="tx1"/>
                </a:solidFill>
              </a:rPr>
              <a:t>fill colour</a:t>
            </a:r>
          </a:p>
          <a:p>
            <a:pPr marL="360363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000" b="0" u="none" noProof="0" dirty="0" smtClean="0">
                <a:solidFill>
                  <a:schemeClr val="tx1"/>
                </a:solidFill>
              </a:rPr>
              <a:t>line colour</a:t>
            </a:r>
          </a:p>
          <a:p>
            <a:pPr marL="0" indent="0" algn="l">
              <a:lnSpc>
                <a:spcPct val="150000"/>
              </a:lnSpc>
              <a:buFontTx/>
              <a:buNone/>
            </a:pPr>
            <a:r>
              <a:rPr lang="en-GB" sz="1000" b="1" u="none" noProof="0" dirty="0" smtClean="0">
                <a:solidFill>
                  <a:schemeClr val="tx1"/>
                </a:solidFill>
              </a:rPr>
              <a:t>Try on the chart beside</a:t>
            </a:r>
          </a:p>
          <a:p>
            <a:pPr marL="347663" indent="-17145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endParaRPr lang="en-GB" sz="1200" u="none" noProof="0" dirty="0" smtClean="0">
              <a:solidFill>
                <a:schemeClr val="tx1"/>
              </a:solidFill>
            </a:endParaRPr>
          </a:p>
        </p:txBody>
      </p:sp>
      <p:pic>
        <p:nvPicPr>
          <p:cNvPr id="8198" name="Picture 6" descr="http://cdn.solveyourtech.com/wp-content/uploads/2012/10/SAVE-EXCEL-CHART-AS-JPG-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78" t="7984" r="3683" b="69809"/>
          <a:stretch/>
        </p:blipFill>
        <p:spPr bwMode="auto">
          <a:xfrm>
            <a:off x="319963" y="1886505"/>
            <a:ext cx="1996377" cy="325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necteur droit avec flèche 2"/>
          <p:cNvCxnSpPr/>
          <p:nvPr userDrawn="1"/>
        </p:nvCxnSpPr>
        <p:spPr>
          <a:xfrm flipV="1">
            <a:off x="2123728" y="1948711"/>
            <a:ext cx="0" cy="695047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79404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3"/>
          <p:cNvSpPr txBox="1">
            <a:spLocks noChangeArrowheads="1"/>
          </p:cNvSpPr>
          <p:nvPr userDrawn="1"/>
        </p:nvSpPr>
        <p:spPr bwMode="auto">
          <a:xfrm>
            <a:off x="839788" y="915896"/>
            <a:ext cx="349726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indent="268288" algn="l">
              <a:defRPr>
                <a:solidFill>
                  <a:schemeClr val="tx1"/>
                </a:solidFill>
                <a:latin typeface="Arial" charset="0"/>
              </a:defRPr>
            </a:lvl1pPr>
            <a:lvl2pPr marL="534988"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Blip>
                <a:blip r:embed="rId2"/>
              </a:buBlip>
            </a:pPr>
            <a:r>
              <a:rPr lang="en-GB" altLang="fr-FR" sz="1600" dirty="0" smtClean="0">
                <a:solidFill>
                  <a:schemeClr val="tx1"/>
                </a:solidFill>
                <a:latin typeface="+mn-lt"/>
              </a:rPr>
              <a:t>Graph 1</a:t>
            </a:r>
            <a:endParaRPr lang="en-GB" altLang="fr-FR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8" name="Text Box 5"/>
          <p:cNvSpPr txBox="1">
            <a:spLocks noChangeArrowheads="1"/>
          </p:cNvSpPr>
          <p:nvPr userDrawn="1"/>
        </p:nvSpPr>
        <p:spPr bwMode="auto">
          <a:xfrm>
            <a:off x="5014913" y="910181"/>
            <a:ext cx="34972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indent="268288" algn="l">
              <a:defRPr>
                <a:solidFill>
                  <a:schemeClr val="tx1"/>
                </a:solidFill>
                <a:latin typeface="Arial" charset="0"/>
              </a:defRPr>
            </a:lvl1pPr>
            <a:lvl2pPr marL="534988"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Blip>
                <a:blip r:embed="rId2"/>
              </a:buBlip>
            </a:pPr>
            <a:r>
              <a:rPr lang="en-GB" altLang="fr-FR" sz="1600" dirty="0" smtClean="0">
                <a:solidFill>
                  <a:schemeClr val="tx1"/>
                </a:solidFill>
                <a:latin typeface="+mn-lt"/>
              </a:rPr>
              <a:t>Graph 2</a:t>
            </a:r>
            <a:endParaRPr lang="en-GB" altLang="fr-FR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9" name="Text Box 6"/>
          <p:cNvSpPr txBox="1">
            <a:spLocks noChangeArrowheads="1"/>
          </p:cNvSpPr>
          <p:nvPr userDrawn="1"/>
        </p:nvSpPr>
        <p:spPr bwMode="auto">
          <a:xfrm>
            <a:off x="839788" y="2827563"/>
            <a:ext cx="34972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indent="268288" algn="l">
              <a:defRPr>
                <a:solidFill>
                  <a:schemeClr val="tx1"/>
                </a:solidFill>
                <a:latin typeface="Arial" charset="0"/>
              </a:defRPr>
            </a:lvl1pPr>
            <a:lvl2pPr marL="534988"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Blip>
                <a:blip r:embed="rId2"/>
              </a:buBlip>
            </a:pPr>
            <a:r>
              <a:rPr lang="en-GB" altLang="fr-FR" sz="1600" dirty="0" smtClean="0">
                <a:solidFill>
                  <a:schemeClr val="tx1"/>
                </a:solidFill>
                <a:latin typeface="+mn-lt"/>
              </a:rPr>
              <a:t>Graph 3</a:t>
            </a:r>
            <a:endParaRPr lang="en-GB" altLang="fr-FR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0" name="Text Box 7"/>
          <p:cNvSpPr txBox="1">
            <a:spLocks noChangeArrowheads="1"/>
          </p:cNvSpPr>
          <p:nvPr userDrawn="1"/>
        </p:nvSpPr>
        <p:spPr bwMode="auto">
          <a:xfrm>
            <a:off x="839788" y="1184891"/>
            <a:ext cx="38311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GB" altLang="fr-FR" sz="1000" i="1" dirty="0" smtClean="0">
                <a:solidFill>
                  <a:schemeClr val="tx1"/>
                </a:solidFill>
              </a:rPr>
              <a:t>in €</a:t>
            </a:r>
            <a:r>
              <a:rPr lang="en-GB" altLang="fr-FR" sz="1000" i="1" dirty="0" err="1" smtClean="0">
                <a:solidFill>
                  <a:schemeClr val="tx1"/>
                </a:solidFill>
              </a:rPr>
              <a:t>mn</a:t>
            </a:r>
            <a:endParaRPr lang="en-GB" altLang="fr-FR" sz="1000" i="1" dirty="0">
              <a:solidFill>
                <a:schemeClr val="tx1"/>
              </a:solidFill>
            </a:endParaRPr>
          </a:p>
        </p:txBody>
      </p:sp>
      <p:sp>
        <p:nvSpPr>
          <p:cNvPr id="31" name="Text Box 7"/>
          <p:cNvSpPr txBox="1">
            <a:spLocks noChangeArrowheads="1"/>
          </p:cNvSpPr>
          <p:nvPr userDrawn="1"/>
        </p:nvSpPr>
        <p:spPr bwMode="auto">
          <a:xfrm>
            <a:off x="5014001" y="1184891"/>
            <a:ext cx="38311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GB" altLang="fr-FR" sz="1000" i="1" dirty="0" smtClean="0">
                <a:solidFill>
                  <a:schemeClr val="tx1"/>
                </a:solidFill>
              </a:rPr>
              <a:t>in €</a:t>
            </a:r>
            <a:r>
              <a:rPr lang="en-GB" altLang="fr-FR" sz="1000" i="1" dirty="0" err="1" smtClean="0">
                <a:solidFill>
                  <a:schemeClr val="tx1"/>
                </a:solidFill>
              </a:rPr>
              <a:t>mn</a:t>
            </a:r>
            <a:endParaRPr lang="en-GB" altLang="fr-FR" sz="1000" i="1" dirty="0">
              <a:solidFill>
                <a:schemeClr val="tx1"/>
              </a:solidFill>
            </a:endParaRPr>
          </a:p>
        </p:txBody>
      </p:sp>
      <p:sp>
        <p:nvSpPr>
          <p:cNvPr id="32" name="Text Box 7"/>
          <p:cNvSpPr txBox="1">
            <a:spLocks noChangeArrowheads="1"/>
          </p:cNvSpPr>
          <p:nvPr userDrawn="1"/>
        </p:nvSpPr>
        <p:spPr bwMode="auto">
          <a:xfrm>
            <a:off x="839788" y="3097956"/>
            <a:ext cx="38311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GB" altLang="fr-FR" sz="1000" i="1" dirty="0" smtClean="0">
                <a:solidFill>
                  <a:schemeClr val="tx1"/>
                </a:solidFill>
              </a:rPr>
              <a:t>in €</a:t>
            </a:r>
            <a:r>
              <a:rPr lang="en-GB" altLang="fr-FR" sz="1000" i="1" dirty="0" err="1" smtClean="0">
                <a:solidFill>
                  <a:schemeClr val="tx1"/>
                </a:solidFill>
              </a:rPr>
              <a:t>mn</a:t>
            </a:r>
            <a:endParaRPr lang="en-GB" altLang="fr-FR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24" name="Object 8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365726540"/>
              </p:ext>
            </p:extLst>
          </p:nvPr>
        </p:nvGraphicFramePr>
        <p:xfrm>
          <a:off x="5014002" y="1184891"/>
          <a:ext cx="3411537" cy="1501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Graphs</a:t>
            </a:r>
            <a:endParaRPr lang="en-GB" noProof="0" dirty="0"/>
          </a:p>
        </p:txBody>
      </p:sp>
      <p:graphicFrame>
        <p:nvGraphicFramePr>
          <p:cNvPr id="25" name="Object 3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181917742"/>
              </p:ext>
            </p:extLst>
          </p:nvPr>
        </p:nvGraphicFramePr>
        <p:xfrm>
          <a:off x="1763688" y="2986728"/>
          <a:ext cx="2215230" cy="148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Object 3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656504961"/>
              </p:ext>
            </p:extLst>
          </p:nvPr>
        </p:nvGraphicFramePr>
        <p:xfrm>
          <a:off x="1331640" y="1172768"/>
          <a:ext cx="3214688" cy="1416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6" name="Connecteur droit 15"/>
          <p:cNvCxnSpPr/>
          <p:nvPr userDrawn="1"/>
        </p:nvCxnSpPr>
        <p:spPr>
          <a:xfrm>
            <a:off x="342578" y="65925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85598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Tab</a:t>
            </a:r>
            <a:endParaRPr lang="en-GB" noProof="0" dirty="0"/>
          </a:p>
        </p:txBody>
      </p:sp>
      <p:cxnSp>
        <p:nvCxnSpPr>
          <p:cNvPr id="20" name="Connecteur droit 19"/>
          <p:cNvCxnSpPr/>
          <p:nvPr userDrawn="1"/>
        </p:nvCxnSpPr>
        <p:spPr>
          <a:xfrm>
            <a:off x="342578" y="65925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3"/>
          <p:cNvSpPr>
            <a:spLocks noChangeArrowheads="1"/>
          </p:cNvSpPr>
          <p:nvPr userDrawn="1"/>
        </p:nvSpPr>
        <p:spPr bwMode="auto">
          <a:xfrm>
            <a:off x="4142652" y="1844962"/>
            <a:ext cx="1368000" cy="2290471"/>
          </a:xfrm>
          <a:prstGeom prst="rect">
            <a:avLst/>
          </a:prstGeom>
          <a:solidFill>
            <a:srgbClr val="D2DCAA"/>
          </a:solidFill>
          <a:ln w="2857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2" name="Rectangle 4"/>
          <p:cNvSpPr>
            <a:spLocks noChangeArrowheads="1"/>
          </p:cNvSpPr>
          <p:nvPr userDrawn="1"/>
        </p:nvSpPr>
        <p:spPr bwMode="auto">
          <a:xfrm>
            <a:off x="4144450" y="1072461"/>
            <a:ext cx="1368425" cy="66097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3" name="Rectangle 5"/>
          <p:cNvSpPr>
            <a:spLocks noChangeArrowheads="1"/>
          </p:cNvSpPr>
          <p:nvPr userDrawn="1"/>
        </p:nvSpPr>
        <p:spPr bwMode="auto">
          <a:xfrm>
            <a:off x="5646584" y="1072461"/>
            <a:ext cx="1368425" cy="66097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fr-FR"/>
          </a:p>
        </p:txBody>
      </p:sp>
      <p:sp>
        <p:nvSpPr>
          <p:cNvPr id="24" name="Rectangle 6"/>
          <p:cNvSpPr>
            <a:spLocks noChangeArrowheads="1"/>
          </p:cNvSpPr>
          <p:nvPr userDrawn="1"/>
        </p:nvSpPr>
        <p:spPr bwMode="auto">
          <a:xfrm>
            <a:off x="7148717" y="1072461"/>
            <a:ext cx="1368425" cy="66097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fr-FR"/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auto">
          <a:xfrm>
            <a:off x="668342" y="1844963"/>
            <a:ext cx="7831337" cy="502861"/>
          </a:xfrm>
          <a:prstGeom prst="rect">
            <a:avLst/>
          </a:prstGeom>
          <a:noFill/>
          <a:ln w="28575">
            <a:solidFill>
              <a:srgbClr val="D2DCA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6" name="Rectangle 8"/>
          <p:cNvSpPr>
            <a:spLocks noChangeArrowheads="1"/>
          </p:cNvSpPr>
          <p:nvPr userDrawn="1"/>
        </p:nvSpPr>
        <p:spPr bwMode="auto">
          <a:xfrm>
            <a:off x="668342" y="2427954"/>
            <a:ext cx="7831337" cy="502861"/>
          </a:xfrm>
          <a:prstGeom prst="rect">
            <a:avLst/>
          </a:prstGeom>
          <a:noFill/>
          <a:ln w="28575">
            <a:solidFill>
              <a:srgbClr val="D2DCA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7" name="Rectangle 9"/>
          <p:cNvSpPr>
            <a:spLocks noChangeArrowheads="1"/>
          </p:cNvSpPr>
          <p:nvPr userDrawn="1"/>
        </p:nvSpPr>
        <p:spPr bwMode="auto">
          <a:xfrm>
            <a:off x="668342" y="3023823"/>
            <a:ext cx="7831337" cy="502861"/>
          </a:xfrm>
          <a:prstGeom prst="rect">
            <a:avLst/>
          </a:prstGeom>
          <a:noFill/>
          <a:ln w="28575">
            <a:solidFill>
              <a:srgbClr val="D2DCA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28" name="Rectangle 10"/>
          <p:cNvSpPr>
            <a:spLocks noChangeArrowheads="1"/>
          </p:cNvSpPr>
          <p:nvPr userDrawn="1"/>
        </p:nvSpPr>
        <p:spPr bwMode="auto">
          <a:xfrm>
            <a:off x="668342" y="3632573"/>
            <a:ext cx="7831337" cy="502861"/>
          </a:xfrm>
          <a:prstGeom prst="rect">
            <a:avLst/>
          </a:prstGeom>
          <a:noFill/>
          <a:ln w="28575">
            <a:solidFill>
              <a:srgbClr val="D2DCA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195508489"/>
              </p:ext>
            </p:extLst>
          </p:nvPr>
        </p:nvGraphicFramePr>
        <p:xfrm>
          <a:off x="906463" y="915988"/>
          <a:ext cx="7700962" cy="3455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3" name="Feuille de calcul" r:id="rId4" imgW="7639089" imgH="3295620" progId="Excel.Sheet.8">
                  <p:embed/>
                </p:oleObj>
              </mc:Choice>
              <mc:Fallback>
                <p:oleObj name="Feuille de calcul" r:id="rId4" imgW="7639089" imgH="3295620" progId="Excel.Sheet.8">
                  <p:embed/>
                  <p:pic>
                    <p:nvPicPr>
                      <p:cNvPr id="0" name="Obje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06463" y="915988"/>
                        <a:ext cx="7700962" cy="34559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3523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 smtClean="0"/>
              <a:t>Presentation title</a:t>
            </a:r>
            <a:endParaRPr lang="en-GB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 smtClean="0"/>
              <a:t>|  00/00/0000  |</a:t>
            </a:r>
            <a:endParaRPr lang="en-GB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48711" y="249492"/>
            <a:ext cx="4655337" cy="3078342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6213" indent="0" algn="l">
              <a:lnSpc>
                <a:spcPct val="120000"/>
              </a:lnSpc>
            </a:pPr>
            <a:r>
              <a:rPr lang="en-GB" sz="1200" b="1" u="sng" noProof="0" dirty="0" smtClean="0">
                <a:solidFill>
                  <a:schemeClr val="tx1"/>
                </a:solidFill>
              </a:rPr>
              <a:t>HOW TO INSERT A PICTURE</a:t>
            </a:r>
            <a:r>
              <a:rPr lang="en-GB" sz="1200" b="1" u="sng" baseline="0" noProof="0" dirty="0" smtClean="0">
                <a:solidFill>
                  <a:schemeClr val="tx1"/>
                </a:solidFill>
              </a:rPr>
              <a:t> ON A SLIDE WITH SEVERAL SHAPES</a:t>
            </a:r>
            <a:r>
              <a:rPr lang="en-GB" sz="1200" b="1" u="sng" noProof="0" dirty="0" smtClean="0">
                <a:solidFill>
                  <a:schemeClr val="tx1"/>
                </a:solidFill>
              </a:rPr>
              <a:t>?</a:t>
            </a:r>
          </a:p>
          <a:p>
            <a:pPr marL="176213" indent="0" algn="l">
              <a:lnSpc>
                <a:spcPct val="120000"/>
              </a:lnSpc>
            </a:pPr>
            <a:endParaRPr lang="en-GB" sz="1200" u="sng" noProof="0" dirty="0" smtClean="0">
              <a:solidFill>
                <a:schemeClr val="tx1"/>
              </a:solidFill>
            </a:endParaRPr>
          </a:p>
          <a:p>
            <a:pPr marL="360363" indent="-184150" algn="l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1611313" algn="l"/>
              </a:tabLst>
            </a:pPr>
            <a:r>
              <a:rPr lang="en-GB" sz="1200" u="none" noProof="0" dirty="0" smtClean="0">
                <a:solidFill>
                  <a:schemeClr val="tx1"/>
                </a:solidFill>
              </a:rPr>
              <a:t>View </a:t>
            </a:r>
            <a:r>
              <a:rPr lang="en-GB" sz="1200" u="none" noProof="0" dirty="0" smtClean="0">
                <a:solidFill>
                  <a:schemeClr val="tx1"/>
                </a:solidFill>
                <a:sym typeface="Wingdings 3"/>
              </a:rPr>
              <a:t> Slide Master</a:t>
            </a:r>
          </a:p>
          <a:p>
            <a:pPr marL="360363" indent="-184150" algn="l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1611313" algn="l"/>
              </a:tabLst>
            </a:pPr>
            <a:r>
              <a:rPr lang="en-GB" sz="1200" u="none" noProof="0" dirty="0" smtClean="0">
                <a:solidFill>
                  <a:schemeClr val="tx1"/>
                </a:solidFill>
                <a:sym typeface="Wingdings 3"/>
              </a:rPr>
              <a:t>Choose slide Title with picture</a:t>
            </a:r>
          </a:p>
          <a:p>
            <a:pPr marL="360363" indent="-184150" algn="l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1611313" algn="l"/>
              </a:tabLst>
            </a:pPr>
            <a:r>
              <a:rPr lang="en-GB" sz="1200" u="none" noProof="0" dirty="0" smtClean="0">
                <a:solidFill>
                  <a:schemeClr val="tx1"/>
                </a:solidFill>
                <a:sym typeface="Wingdings 3"/>
              </a:rPr>
              <a:t>Insert your picture</a:t>
            </a:r>
          </a:p>
          <a:p>
            <a:pPr marL="360363" indent="-184150" algn="l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1611313" algn="l"/>
              </a:tabLst>
            </a:pPr>
            <a:r>
              <a:rPr lang="en-GB" sz="1200" u="none" noProof="0" dirty="0" smtClean="0">
                <a:solidFill>
                  <a:schemeClr val="tx1"/>
                </a:solidFill>
                <a:sym typeface="Wingdings 3"/>
              </a:rPr>
              <a:t>Right</a:t>
            </a:r>
            <a:r>
              <a:rPr lang="en-GB" sz="1200" u="none" baseline="0" noProof="0" dirty="0" smtClean="0">
                <a:solidFill>
                  <a:schemeClr val="tx1"/>
                </a:solidFill>
                <a:sym typeface="Wingdings 3"/>
              </a:rPr>
              <a:t> click on picture, choose Send Backward</a:t>
            </a:r>
            <a:endParaRPr lang="en-GB" sz="1200" u="none" noProof="0" dirty="0" smtClean="0">
              <a:solidFill>
                <a:schemeClr val="tx1"/>
              </a:solidFill>
              <a:sym typeface="Wingdings 3"/>
            </a:endParaRPr>
          </a:p>
          <a:p>
            <a:pPr marL="360363" marR="0" indent="-1841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1611313" algn="l"/>
              </a:tabLst>
              <a:defRPr/>
            </a:pPr>
            <a:r>
              <a:rPr lang="en-GB" sz="1200" u="none" noProof="0" dirty="0" smtClean="0">
                <a:solidFill>
                  <a:schemeClr val="tx1"/>
                </a:solidFill>
                <a:sym typeface="Wingdings 3"/>
              </a:rPr>
              <a:t>Delete the slide with text</a:t>
            </a:r>
            <a:br>
              <a:rPr lang="en-GB" sz="1200" u="none" noProof="0" dirty="0" smtClean="0">
                <a:solidFill>
                  <a:schemeClr val="tx1"/>
                </a:solidFill>
                <a:sym typeface="Wingdings 3"/>
              </a:rPr>
            </a:br>
            <a:r>
              <a:rPr lang="en-GB" sz="1200" u="none" noProof="0" dirty="0" smtClean="0">
                <a:solidFill>
                  <a:schemeClr val="tx1"/>
                </a:solidFill>
                <a:sym typeface="Wingdings 3"/>
              </a:rPr>
              <a:t>(just to show right place and size for the</a:t>
            </a:r>
            <a:r>
              <a:rPr lang="en-GB" sz="1200" u="none" baseline="0" noProof="0" dirty="0" smtClean="0">
                <a:solidFill>
                  <a:schemeClr val="tx1"/>
                </a:solidFill>
                <a:sym typeface="Wingdings 3"/>
              </a:rPr>
              <a:t> picture)</a:t>
            </a:r>
            <a:endParaRPr lang="en-GB" sz="1200" u="none" noProof="0" dirty="0" smtClean="0">
              <a:solidFill>
                <a:schemeClr val="tx1"/>
              </a:solidFill>
              <a:sym typeface="Wingdings 3"/>
            </a:endParaRP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sz="1200" u="none" noProof="0" dirty="0" smtClean="0">
              <a:solidFill>
                <a:schemeClr val="tx1"/>
              </a:solidFill>
              <a:sym typeface="Wingdings 3"/>
            </a:endParaRP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200" u="none" noProof="0" dirty="0" smtClean="0">
                <a:solidFill>
                  <a:schemeClr val="tx1"/>
                </a:solidFill>
                <a:sym typeface="Wingdings 3"/>
              </a:rPr>
              <a:t>To create many same slides with different pictures: </a:t>
            </a: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200" u="none" noProof="0" dirty="0" smtClean="0">
                <a:solidFill>
                  <a:schemeClr val="tx1"/>
                </a:solidFill>
                <a:sym typeface="Wingdings 3"/>
              </a:rPr>
              <a:t>copy/paste this slide and change the picture</a:t>
            </a: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sz="1200" u="none" noProof="0" dirty="0" smtClean="0">
              <a:solidFill>
                <a:schemeClr val="tx1"/>
              </a:solidFill>
              <a:sym typeface="Wingdings 3"/>
            </a:endParaRPr>
          </a:p>
          <a:p>
            <a:pPr marL="176213" indent="0" algn="l">
              <a:lnSpc>
                <a:spcPct val="120000"/>
              </a:lnSpc>
              <a:buFont typeface="Courier New" panose="02070309020205020404" pitchFamily="49" charset="0"/>
              <a:buNone/>
              <a:tabLst/>
            </a:pPr>
            <a:r>
              <a:rPr lang="en-GB" sz="1200" u="none" noProof="0" dirty="0" smtClean="0">
                <a:solidFill>
                  <a:schemeClr val="tx1"/>
                </a:solidFill>
                <a:sym typeface="Wingdings 3"/>
              </a:rPr>
              <a:t>ATTENTION : do</a:t>
            </a:r>
            <a:r>
              <a:rPr lang="en-GB" sz="1200" u="none" baseline="0" noProof="0" dirty="0" smtClean="0">
                <a:solidFill>
                  <a:schemeClr val="tx1"/>
                </a:solidFill>
                <a:sym typeface="Wingdings 3"/>
              </a:rPr>
              <a:t> not insert the picture with Format Background</a:t>
            </a:r>
            <a:endParaRPr lang="en-GB" sz="1200" u="none" noProof="0" dirty="0" smtClean="0">
              <a:solidFill>
                <a:schemeClr val="tx1"/>
              </a:solidFill>
            </a:endParaRPr>
          </a:p>
        </p:txBody>
      </p:sp>
      <p:pic>
        <p:nvPicPr>
          <p:cNvPr id="9220" name="Picture 4" descr="http://www.google.fr/url?source=imglanding&amp;ct=img&amp;q=http://www.mydigitallife.info/wp-content/uploads/2010/06/ppt-master-slide.jpg&amp;sa=X&amp;ei=qWJoVcaVKMzeUbS3gIgE&amp;ved=0CAkQ8wc4Ig&amp;usg=AFQjCNFRVOwtBibdUtmdbmupjDYh2rvQk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249492"/>
            <a:ext cx="2616795" cy="534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e 1"/>
          <p:cNvGrpSpPr/>
          <p:nvPr userDrawn="1"/>
        </p:nvGrpSpPr>
        <p:grpSpPr>
          <a:xfrm>
            <a:off x="5148064" y="1421950"/>
            <a:ext cx="3624907" cy="3107084"/>
            <a:chOff x="4633595" y="1895912"/>
            <a:chExt cx="4402901" cy="3846138"/>
          </a:xfrm>
        </p:grpSpPr>
        <p:pic>
          <p:nvPicPr>
            <p:cNvPr id="9224" name="Picture 8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8" t="7968" r="4848"/>
            <a:stretch/>
          </p:blipFill>
          <p:spPr bwMode="auto">
            <a:xfrm>
              <a:off x="4633597" y="1895912"/>
              <a:ext cx="4402899" cy="308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26" t="23950" r="1315"/>
            <a:stretch/>
          </p:blipFill>
          <p:spPr bwMode="auto">
            <a:xfrm>
              <a:off x="4633595" y="2675364"/>
              <a:ext cx="4402901" cy="3066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226" name="Picture 10" descr="C:\Users\ChristineB\Desktop\Sans titre 6.pn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385" y="2596050"/>
            <a:ext cx="2241298" cy="1670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0" name="Picture 14" descr="http://www.google.fr/url?source=imglanding&amp;ct=img&amp;q=http://www.dvd-ppt-slideshow.com/blog/wp-content/uploads/2012/08/texture-powerpoint-theme-2.png&amp;sa=X&amp;ei=Gm1oVc2wJcu3Ub-DgMgF&amp;ved=0CAkQ8wc&amp;usg=AFQjCNFmMM-KW7TpX3rDpuxzu9nx4s4UTw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44131" y="3588316"/>
            <a:ext cx="1584176" cy="931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348711" y="3465304"/>
            <a:ext cx="1775017" cy="310090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800" b="1" noProof="0" dirty="0" smtClean="0">
                <a:solidFill>
                  <a:schemeClr val="accent6"/>
                </a:solidFill>
                <a:sym typeface="Wingdings 3"/>
              </a:rPr>
              <a:t></a:t>
            </a:r>
            <a:r>
              <a:rPr lang="en-GB" sz="1400" noProof="0" dirty="0" smtClean="0">
                <a:solidFill>
                  <a:schemeClr val="bg1"/>
                </a:solidFill>
                <a:sym typeface="Wingdings 3"/>
              </a:rPr>
              <a:t>   </a:t>
            </a:r>
            <a:r>
              <a:rPr lang="en-GB" sz="1400" noProof="0" dirty="0" smtClean="0">
                <a:solidFill>
                  <a:schemeClr val="bg1"/>
                </a:solidFill>
              </a:rPr>
              <a:t>NOT TO DO</a:t>
            </a:r>
            <a:r>
              <a:rPr lang="en-GB" sz="1800" b="1" noProof="0" dirty="0" smtClean="0">
                <a:solidFill>
                  <a:schemeClr val="accent6"/>
                </a:solidFill>
                <a:sym typeface="Wingdings 3"/>
              </a:rPr>
              <a:t></a:t>
            </a:r>
            <a:endParaRPr lang="en-GB" sz="1800" noProof="0" dirty="0" smtClean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0112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Users\ChristineB\Seenk-D\BNPP\2015-05\fond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38" y="1"/>
            <a:ext cx="9144001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0" y="3811776"/>
            <a:ext cx="9147738" cy="133172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097941" y="3586720"/>
            <a:ext cx="3492000" cy="452496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000" dirty="0" smtClean="0">
              <a:solidFill>
                <a:schemeClr val="accent5"/>
              </a:solidFill>
            </a:endParaRPr>
          </a:p>
        </p:txBody>
      </p:sp>
      <p:sp>
        <p:nvSpPr>
          <p:cNvPr id="15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359119"/>
            <a:ext cx="5328592" cy="1001007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presentation title </a:t>
            </a:r>
            <a:br>
              <a:rPr lang="en-GB" noProof="0" dirty="0" smtClean="0"/>
            </a:br>
            <a:r>
              <a:rPr lang="en-GB" noProof="0" dirty="0" smtClean="0"/>
              <a:t>on multi-lines</a:t>
            </a:r>
            <a:endParaRPr lang="en-GB" noProof="0" dirty="0"/>
          </a:p>
        </p:txBody>
      </p:sp>
      <p:sp>
        <p:nvSpPr>
          <p:cNvPr id="1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350283"/>
            <a:ext cx="5328000" cy="324000"/>
          </a:xfrm>
        </p:spPr>
        <p:txBody>
          <a:bodyPr anchor="ctr">
            <a:normAutofit/>
          </a:bodyPr>
          <a:lstStyle>
            <a:lvl1pPr marL="0" indent="0" algn="l">
              <a:buNone/>
              <a:defRPr sz="2500" cap="all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</a:t>
            </a:r>
            <a:endParaRPr lang="en-GB" noProof="0" dirty="0"/>
          </a:p>
        </p:txBody>
      </p:sp>
      <p:sp>
        <p:nvSpPr>
          <p:cNvPr id="19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31057" y="3653820"/>
            <a:ext cx="3168000" cy="162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GB" noProof="0" dirty="0" smtClean="0"/>
              <a:t>author’s name</a:t>
            </a:r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31057" y="3821460"/>
            <a:ext cx="3168000" cy="162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GB" noProof="0" dirty="0" smtClean="0"/>
              <a:t>Location, 00/00/2015</a:t>
            </a:r>
          </a:p>
        </p:txBody>
      </p:sp>
      <p:pic>
        <p:nvPicPr>
          <p:cNvPr id="12" name="Picture 3" descr="BNPP_CARDIF_BL_Q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059678"/>
            <a:ext cx="4641866" cy="816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 descr="C:\Users\995472\Desktop\BNP PARIBAS CARDIF TEMPLATES NLLE CHARTE\SIGNATURE DECLINAISON CARDIF\SIGNATURE DECLINAISON CARDIF\CARDIF_Sign_EN\CARDIF_Sign_EN_1l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4194332"/>
            <a:ext cx="3239468" cy="626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2678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2578" y="852985"/>
            <a:ext cx="8460000" cy="3554970"/>
          </a:xfrm>
        </p:spPr>
        <p:txBody>
          <a:bodyPr/>
          <a:lstStyle>
            <a:lvl1pPr>
              <a:defRPr/>
            </a:lvl1pPr>
            <a:lvl2pPr marL="358775" indent="-179388">
              <a:defRPr/>
            </a:lvl2pPr>
            <a:lvl3pPr marL="538163" indent="-182563">
              <a:defRPr/>
            </a:lvl3pPr>
            <a:lvl4pPr marL="719138" indent="-173038">
              <a:defRPr/>
            </a:lvl4pPr>
            <a:lvl5pPr marL="3175" indent="4763">
              <a:defRPr/>
            </a:lvl5pPr>
          </a:lstStyle>
          <a:p>
            <a:pPr lvl="0"/>
            <a:r>
              <a:rPr lang="en-GB" noProof="0" dirty="0" smtClean="0"/>
              <a:t>Level 1</a:t>
            </a:r>
          </a:p>
          <a:p>
            <a:pPr lvl="1"/>
            <a:r>
              <a:rPr lang="en-GB" noProof="0" dirty="0" smtClean="0"/>
              <a:t>Level 2</a:t>
            </a:r>
          </a:p>
          <a:p>
            <a:pPr lvl="2"/>
            <a:r>
              <a:rPr lang="en-GB" noProof="0" dirty="0" smtClean="0"/>
              <a:t>Level 3</a:t>
            </a:r>
          </a:p>
          <a:p>
            <a:pPr lvl="3"/>
            <a:r>
              <a:rPr lang="en-GB" noProof="0" dirty="0" smtClean="0"/>
              <a:t>Level 4</a:t>
            </a:r>
          </a:p>
          <a:p>
            <a:pPr lvl="4"/>
            <a:r>
              <a:rPr lang="en-GB" noProof="0" dirty="0" smtClean="0"/>
              <a:t>Level 5</a:t>
            </a:r>
            <a:endParaRPr lang="en-GB" noProof="0" dirty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342578" y="87144"/>
            <a:ext cx="8460000" cy="5592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Slide title</a:t>
            </a:r>
            <a:endParaRPr lang="en-GB" noProof="0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342578" y="65925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356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2061245" y="1621073"/>
            <a:ext cx="6183163" cy="2138809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 smtClean="0"/>
              <a:t>Part Title</a:t>
            </a:r>
            <a:endParaRPr lang="en-GB" noProof="0" dirty="0"/>
          </a:p>
        </p:txBody>
      </p:sp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432223" y="1132529"/>
            <a:ext cx="504000" cy="50400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36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0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7345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1420426" y="519522"/>
            <a:ext cx="7382152" cy="559248"/>
          </a:xfrm>
        </p:spPr>
        <p:txBody>
          <a:bodyPr>
            <a:normAutofit/>
          </a:bodyPr>
          <a:lstStyle>
            <a:lvl1pPr>
              <a:defRPr sz="3200" cap="all" baseline="0"/>
            </a:lvl1pPr>
          </a:lstStyle>
          <a:p>
            <a:r>
              <a:rPr lang="en-GB" noProof="0" dirty="0" smtClean="0"/>
              <a:t>Slide content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47383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1" name="Titre 1"/>
          <p:cNvSpPr>
            <a:spLocks noGrp="1"/>
          </p:cNvSpPr>
          <p:nvPr>
            <p:ph type="title" hasCustomPrompt="1"/>
          </p:nvPr>
        </p:nvSpPr>
        <p:spPr>
          <a:xfrm>
            <a:off x="1420426" y="519522"/>
            <a:ext cx="7382152" cy="559248"/>
          </a:xfrm>
        </p:spPr>
        <p:txBody>
          <a:bodyPr>
            <a:normAutofit/>
          </a:bodyPr>
          <a:lstStyle>
            <a:lvl1pPr>
              <a:defRPr sz="3200" cap="all" baseline="0"/>
            </a:lvl1pPr>
          </a:lstStyle>
          <a:p>
            <a:r>
              <a:rPr lang="en-GB" noProof="0" dirty="0" smtClean="0"/>
              <a:t>Slide contents</a:t>
            </a:r>
            <a:endParaRPr lang="en-GB" noProof="0" dirty="0"/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403648" y="1244170"/>
            <a:ext cx="7416352" cy="3001766"/>
          </a:xfrm>
        </p:spPr>
        <p:txBody>
          <a:bodyPr lIns="0" anchor="t">
            <a:normAutofit/>
          </a:bodyPr>
          <a:lstStyle>
            <a:lvl1pPr marL="720725" indent="-720725">
              <a:lnSpc>
                <a:spcPct val="150000"/>
              </a:lnSpc>
              <a:buClr>
                <a:schemeClr val="accent1"/>
              </a:buClr>
              <a:buSzPct val="100000"/>
              <a:buFont typeface="+mj-lt"/>
              <a:buAutoNum type="arabicPeriod"/>
              <a:tabLst>
                <a:tab pos="2690813" algn="l"/>
              </a:tabLst>
              <a:defRPr sz="3000" b="1" cap="all" baseline="0">
                <a:solidFill>
                  <a:schemeClr val="tx1"/>
                </a:solidFill>
              </a:defRPr>
            </a:lvl1pPr>
            <a:lvl2pPr marL="1073150" indent="-352425">
              <a:buFont typeface="+mj-lt"/>
              <a:buAutoNum type="alphaUcPeriod"/>
              <a:tabLst/>
              <a:defRPr sz="2000" b="1" baseline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Part Title</a:t>
            </a:r>
          </a:p>
          <a:p>
            <a:pPr lvl="1"/>
            <a:r>
              <a:rPr lang="en-GB" noProof="0" dirty="0" smtClean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702830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Slide title</a:t>
            </a:r>
            <a:endParaRPr lang="en-GB" noProof="0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342578" y="65925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142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 smtClean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smtClean="0"/>
              <a:t>Presentation title</a:t>
            </a:r>
            <a:endParaRPr lang="en-GB" noProof="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009281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42578" y="74265"/>
            <a:ext cx="8460000" cy="55924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 noProof="0" dirty="0" err="1" smtClean="0"/>
              <a:t>Modifiez</a:t>
            </a:r>
            <a:r>
              <a:rPr lang="en-GB" noProof="0" dirty="0" smtClean="0"/>
              <a:t> le style du titre</a:t>
            </a:r>
            <a:endParaRPr lang="en-GB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2578" y="1059582"/>
            <a:ext cx="8460000" cy="334837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noProof="0" dirty="0" err="1" smtClean="0"/>
              <a:t>Modifiez</a:t>
            </a:r>
            <a:r>
              <a:rPr lang="en-GB" noProof="0" dirty="0" smtClean="0"/>
              <a:t> les styles du </a:t>
            </a:r>
            <a:r>
              <a:rPr lang="en-GB" noProof="0" dirty="0" err="1" smtClean="0"/>
              <a:t>texte</a:t>
            </a:r>
            <a:r>
              <a:rPr lang="en-GB" noProof="0" dirty="0" smtClean="0"/>
              <a:t> du masque</a:t>
            </a:r>
          </a:p>
          <a:p>
            <a:pPr lvl="1"/>
            <a:r>
              <a:rPr lang="en-GB" noProof="0" dirty="0" err="1" smtClean="0"/>
              <a:t>Deux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Trois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Quatr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Cinqu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/>
          </a:p>
        </p:txBody>
      </p:sp>
      <p:sp>
        <p:nvSpPr>
          <p:cNvPr id="13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602564" y="4796670"/>
            <a:ext cx="20160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Presentation title</a:t>
            </a:r>
            <a:endParaRPr lang="en-GB" dirty="0"/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670345" y="4796670"/>
            <a:ext cx="708555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fr-FR" smtClean="0"/>
              <a:t>|  00/00/0000  |</a:t>
            </a:r>
            <a:endParaRPr lang="en-GB" dirty="0"/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69768" y="4796670"/>
            <a:ext cx="1800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76219AF-F5ED-455B-A512-B03AB3602319}" type="slidenum">
              <a:rPr lang="en-GB" smtClean="0"/>
              <a:pPr>
                <a:defRPr/>
              </a:pPr>
              <a:t>‹Nº›</a:t>
            </a:fld>
            <a:endParaRPr lang="en-GB" dirty="0"/>
          </a:p>
        </p:txBody>
      </p:sp>
      <p:cxnSp>
        <p:nvCxnSpPr>
          <p:cNvPr id="15" name="Connecteur droit 14"/>
          <p:cNvCxnSpPr/>
          <p:nvPr/>
        </p:nvCxnSpPr>
        <p:spPr>
          <a:xfrm>
            <a:off x="342578" y="4576830"/>
            <a:ext cx="846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C:\Users\995472\Desktop\BNP PARIBAS CARDIF TEMPLATES NLLE CHARTE\SIGNATURE DECLINAISON CARDIF\SIGNATURE DECLINAISON CARDIF\CARDIF_Sign_EN\CARDIF_Sign_EN_1l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5" y="4687363"/>
            <a:ext cx="1944059" cy="375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BNPP_CARDIF_BL_Q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619891"/>
            <a:ext cx="276225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29651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85" r:id="rId2"/>
    <p:sldLayoutId id="2147483677" r:id="rId3"/>
    <p:sldLayoutId id="2147483663" r:id="rId4"/>
    <p:sldLayoutId id="2147483679" r:id="rId5"/>
    <p:sldLayoutId id="2147483686" r:id="rId6"/>
    <p:sldLayoutId id="2147483687" r:id="rId7"/>
    <p:sldLayoutId id="2147483666" r:id="rId8"/>
    <p:sldLayoutId id="2147483680" r:id="rId9"/>
    <p:sldLayoutId id="2147483681" r:id="rId10"/>
    <p:sldLayoutId id="2147483678" r:id="rId11"/>
    <p:sldLayoutId id="2147483682" r:id="rId12"/>
    <p:sldLayoutId id="2147483688" r:id="rId13"/>
    <p:sldLayoutId id="2147483683" r:id="rId14"/>
    <p:sldLayoutId id="2147483684" r:id="rId1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spcBef>
          <a:spcPts val="200"/>
        </a:spcBef>
        <a:buClr>
          <a:schemeClr val="accent4"/>
        </a:buClr>
        <a:buSzPct val="100000"/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-179388" algn="l" defTabSz="914400" rtl="0" eaLnBrk="1" latinLnBrk="0" hangingPunct="1">
        <a:spcBef>
          <a:spcPts val="200"/>
        </a:spcBef>
        <a:buClr>
          <a:schemeClr val="accent1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176213" algn="l" defTabSz="914400" rtl="0" eaLnBrk="1" latinLnBrk="0" hangingPunct="1">
        <a:spcBef>
          <a:spcPts val="200"/>
        </a:spcBef>
        <a:buFont typeface="Wingdings" panose="05000000000000000000" pitchFamily="2" charset="2"/>
        <a:buChar char="§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58875" indent="-168275" algn="l" defTabSz="914400" rtl="0" eaLnBrk="1" latinLnBrk="0" hangingPunct="1">
        <a:spcBef>
          <a:spcPts val="200"/>
        </a:spcBef>
        <a:buFont typeface="Wingdings" panose="05000000000000000000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200"/>
        </a:spcBef>
        <a:buFontTx/>
        <a:buNone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104.png"/><Relationship Id="rId18" Type="http://schemas.openxmlformats.org/officeDocument/2006/relationships/image" Target="../media/image109.png"/><Relationship Id="rId26" Type="http://schemas.openxmlformats.org/officeDocument/2006/relationships/image" Target="../media/image117.png"/><Relationship Id="rId3" Type="http://schemas.openxmlformats.org/officeDocument/2006/relationships/tags" Target="../tags/tag4.xml"/><Relationship Id="rId21" Type="http://schemas.openxmlformats.org/officeDocument/2006/relationships/image" Target="../media/image112.png"/><Relationship Id="rId34" Type="http://schemas.openxmlformats.org/officeDocument/2006/relationships/image" Target="../media/image122.png"/><Relationship Id="rId7" Type="http://schemas.openxmlformats.org/officeDocument/2006/relationships/image" Target="../media/image98.png"/><Relationship Id="rId12" Type="http://schemas.openxmlformats.org/officeDocument/2006/relationships/image" Target="../media/image103.jpeg"/><Relationship Id="rId17" Type="http://schemas.openxmlformats.org/officeDocument/2006/relationships/image" Target="../media/image108.png"/><Relationship Id="rId25" Type="http://schemas.openxmlformats.org/officeDocument/2006/relationships/image" Target="../media/image116.png"/><Relationship Id="rId33" Type="http://schemas.openxmlformats.org/officeDocument/2006/relationships/image" Target="../media/image95.emf"/><Relationship Id="rId2" Type="http://schemas.openxmlformats.org/officeDocument/2006/relationships/tags" Target="../tags/tag3.xml"/><Relationship Id="rId16" Type="http://schemas.openxmlformats.org/officeDocument/2006/relationships/image" Target="../media/image107.png"/><Relationship Id="rId20" Type="http://schemas.openxmlformats.org/officeDocument/2006/relationships/image" Target="../media/image111.png"/><Relationship Id="rId29" Type="http://schemas.openxmlformats.org/officeDocument/2006/relationships/image" Target="../media/image120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97.png"/><Relationship Id="rId11" Type="http://schemas.openxmlformats.org/officeDocument/2006/relationships/image" Target="../media/image102.png"/><Relationship Id="rId24" Type="http://schemas.openxmlformats.org/officeDocument/2006/relationships/image" Target="../media/image115.png"/><Relationship Id="rId32" Type="http://schemas.openxmlformats.org/officeDocument/2006/relationships/oleObject" Target="../embeddings/Microsoft_Excel_97-2003_Worksheet2.xls"/><Relationship Id="rId37" Type="http://schemas.openxmlformats.org/officeDocument/2006/relationships/image" Target="../media/image125.png"/><Relationship Id="rId5" Type="http://schemas.openxmlformats.org/officeDocument/2006/relationships/image" Target="../media/image96.png"/><Relationship Id="rId15" Type="http://schemas.openxmlformats.org/officeDocument/2006/relationships/image" Target="../media/image106.png"/><Relationship Id="rId23" Type="http://schemas.openxmlformats.org/officeDocument/2006/relationships/image" Target="../media/image114.png"/><Relationship Id="rId28" Type="http://schemas.openxmlformats.org/officeDocument/2006/relationships/image" Target="../media/image119.png"/><Relationship Id="rId36" Type="http://schemas.openxmlformats.org/officeDocument/2006/relationships/image" Target="../media/image124.png"/><Relationship Id="rId10" Type="http://schemas.openxmlformats.org/officeDocument/2006/relationships/image" Target="../media/image101.png"/><Relationship Id="rId19" Type="http://schemas.openxmlformats.org/officeDocument/2006/relationships/image" Target="../media/image110.png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0.png"/><Relationship Id="rId14" Type="http://schemas.openxmlformats.org/officeDocument/2006/relationships/image" Target="../media/image105.png"/><Relationship Id="rId22" Type="http://schemas.openxmlformats.org/officeDocument/2006/relationships/image" Target="../media/image113.png"/><Relationship Id="rId27" Type="http://schemas.openxmlformats.org/officeDocument/2006/relationships/image" Target="../media/image118.png"/><Relationship Id="rId30" Type="http://schemas.openxmlformats.org/officeDocument/2006/relationships/image" Target="../media/image121.jpeg"/><Relationship Id="rId35" Type="http://schemas.openxmlformats.org/officeDocument/2006/relationships/image" Target="../media/image1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13" Type="http://schemas.openxmlformats.org/officeDocument/2006/relationships/image" Target="../media/image136.png"/><Relationship Id="rId3" Type="http://schemas.microsoft.com/office/2007/relationships/hdphoto" Target="../media/hdphoto1.wdp"/><Relationship Id="rId7" Type="http://schemas.openxmlformats.org/officeDocument/2006/relationships/image" Target="../media/image130.png"/><Relationship Id="rId12" Type="http://schemas.openxmlformats.org/officeDocument/2006/relationships/image" Target="../media/image135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9.png"/><Relationship Id="rId11" Type="http://schemas.openxmlformats.org/officeDocument/2006/relationships/image" Target="../media/image134.png"/><Relationship Id="rId5" Type="http://schemas.openxmlformats.org/officeDocument/2006/relationships/image" Target="../media/image128.png"/><Relationship Id="rId10" Type="http://schemas.openxmlformats.org/officeDocument/2006/relationships/image" Target="../media/image133.png"/><Relationship Id="rId4" Type="http://schemas.openxmlformats.org/officeDocument/2006/relationships/image" Target="../media/image127.png"/><Relationship Id="rId9" Type="http://schemas.openxmlformats.org/officeDocument/2006/relationships/image" Target="../media/image13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3" Type="http://schemas.openxmlformats.org/officeDocument/2006/relationships/image" Target="../media/image137.png"/><Relationship Id="rId7" Type="http://schemas.openxmlformats.org/officeDocument/2006/relationships/image" Target="../media/image14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0.png"/><Relationship Id="rId11" Type="http://schemas.openxmlformats.org/officeDocument/2006/relationships/image" Target="../media/image145.png"/><Relationship Id="rId5" Type="http://schemas.openxmlformats.org/officeDocument/2006/relationships/image" Target="../media/image139.png"/><Relationship Id="rId10" Type="http://schemas.openxmlformats.org/officeDocument/2006/relationships/image" Target="../media/image144.png"/><Relationship Id="rId4" Type="http://schemas.openxmlformats.org/officeDocument/2006/relationships/image" Target="../media/image138.png"/><Relationship Id="rId9" Type="http://schemas.openxmlformats.org/officeDocument/2006/relationships/image" Target="../media/image1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9.png"/><Relationship Id="rId4" Type="http://schemas.openxmlformats.org/officeDocument/2006/relationships/image" Target="../media/image1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.co/url?sa=i&amp;rct=j&amp;q=&amp;esrc=s&amp;source=images&amp;cd=&amp;cad=rja&amp;uact=8&amp;ved=0ahUKEwiX7IOd0JDSAhVLRiYKHT7TAPwQjRwIBw&amp;url=http://meganservices.com/about-us.html&amp;bvm=bv.146786187,d.cGw&amp;psig=AFQjCNGSd9kNZhzKwPsOtQHbIM92Kyq7kw&amp;ust=1487197395849134" TargetMode="External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9.png"/><Relationship Id="rId4" Type="http://schemas.openxmlformats.org/officeDocument/2006/relationships/image" Target="../media/image15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13" Type="http://schemas.openxmlformats.org/officeDocument/2006/relationships/image" Target="../media/image160.jpeg"/><Relationship Id="rId18" Type="http://schemas.microsoft.com/office/2007/relationships/diagramDrawing" Target="../diagrams/drawing1.xml"/><Relationship Id="rId3" Type="http://schemas.openxmlformats.org/officeDocument/2006/relationships/tags" Target="../tags/tag7.xml"/><Relationship Id="rId7" Type="http://schemas.openxmlformats.org/officeDocument/2006/relationships/image" Target="../media/image154.png"/><Relationship Id="rId12" Type="http://schemas.openxmlformats.org/officeDocument/2006/relationships/image" Target="../media/image159.jpeg"/><Relationship Id="rId17" Type="http://schemas.openxmlformats.org/officeDocument/2006/relationships/diagramColors" Target="../diagrams/colors1.xml"/><Relationship Id="rId2" Type="http://schemas.openxmlformats.org/officeDocument/2006/relationships/tags" Target="../tags/tag6.xml"/><Relationship Id="rId16" Type="http://schemas.openxmlformats.org/officeDocument/2006/relationships/diagramQuickStyle" Target="../diagrams/quickStyle1.xml"/><Relationship Id="rId1" Type="http://schemas.openxmlformats.org/officeDocument/2006/relationships/tags" Target="../tags/tag5.xml"/><Relationship Id="rId6" Type="http://schemas.openxmlformats.org/officeDocument/2006/relationships/image" Target="../media/image153.png"/><Relationship Id="rId11" Type="http://schemas.openxmlformats.org/officeDocument/2006/relationships/image" Target="../media/image158.png"/><Relationship Id="rId5" Type="http://schemas.openxmlformats.org/officeDocument/2006/relationships/image" Target="../media/image152.png"/><Relationship Id="rId15" Type="http://schemas.openxmlformats.org/officeDocument/2006/relationships/diagramLayout" Target="../diagrams/layout1.xml"/><Relationship Id="rId10" Type="http://schemas.openxmlformats.org/officeDocument/2006/relationships/image" Target="../media/image157.png"/><Relationship Id="rId19" Type="http://schemas.openxmlformats.org/officeDocument/2006/relationships/image" Target="../media/image161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56.png"/><Relationship Id="rId14" Type="http://schemas.openxmlformats.org/officeDocument/2006/relationships/diagramData" Target="../diagrams/data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6.png"/><Relationship Id="rId13" Type="http://schemas.openxmlformats.org/officeDocument/2006/relationships/hyperlink" Target="https://www.google.com.pe/url?sa=i&amp;rct=j&amp;q=&amp;esrc=s&amp;source=images&amp;cd=&amp;cad=rja&amp;uact=8&amp;ved=2ahUKEwj4rrPEgaHaAhUE0lMKHeLsC4cQjRx6BAgAEAU&amp;url=https://pixabay.com/es/bot%C3%B3n-quitar-eliminar-s%C3%ADmbolo-304223/&amp;psig=AOvVaw2WWhRTiS_BFVrpbWfLNcyG&amp;ust=1522944758101099" TargetMode="External"/><Relationship Id="rId3" Type="http://schemas.openxmlformats.org/officeDocument/2006/relationships/chart" Target="../charts/chart10.xml"/><Relationship Id="rId7" Type="http://schemas.openxmlformats.org/officeDocument/2006/relationships/image" Target="../media/image165.png"/><Relationship Id="rId12" Type="http://schemas.openxmlformats.org/officeDocument/2006/relationships/image" Target="../media/image17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4.png"/><Relationship Id="rId11" Type="http://schemas.openxmlformats.org/officeDocument/2006/relationships/image" Target="../media/image169.png"/><Relationship Id="rId5" Type="http://schemas.openxmlformats.org/officeDocument/2006/relationships/chart" Target="../charts/chart12.xml"/><Relationship Id="rId15" Type="http://schemas.openxmlformats.org/officeDocument/2006/relationships/chart" Target="../charts/chart13.xml"/><Relationship Id="rId10" Type="http://schemas.openxmlformats.org/officeDocument/2006/relationships/image" Target="../media/image168.png"/><Relationship Id="rId4" Type="http://schemas.openxmlformats.org/officeDocument/2006/relationships/chart" Target="../charts/chart11.xml"/><Relationship Id="rId9" Type="http://schemas.openxmlformats.org/officeDocument/2006/relationships/image" Target="../media/image167.png"/><Relationship Id="rId14" Type="http://schemas.openxmlformats.org/officeDocument/2006/relationships/image" Target="../media/image171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8.png"/><Relationship Id="rId13" Type="http://schemas.openxmlformats.org/officeDocument/2006/relationships/image" Target="../media/image183.png"/><Relationship Id="rId3" Type="http://schemas.openxmlformats.org/officeDocument/2006/relationships/image" Target="../media/image173.png"/><Relationship Id="rId7" Type="http://schemas.openxmlformats.org/officeDocument/2006/relationships/image" Target="../media/image177.png"/><Relationship Id="rId12" Type="http://schemas.openxmlformats.org/officeDocument/2006/relationships/image" Target="../media/image182.png"/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6.png"/><Relationship Id="rId11" Type="http://schemas.openxmlformats.org/officeDocument/2006/relationships/image" Target="../media/image181.png"/><Relationship Id="rId5" Type="http://schemas.openxmlformats.org/officeDocument/2006/relationships/image" Target="../media/image175.png"/><Relationship Id="rId15" Type="http://schemas.openxmlformats.org/officeDocument/2006/relationships/image" Target="../media/image170.png"/><Relationship Id="rId10" Type="http://schemas.openxmlformats.org/officeDocument/2006/relationships/image" Target="../media/image180.png"/><Relationship Id="rId4" Type="http://schemas.openxmlformats.org/officeDocument/2006/relationships/image" Target="../media/image174.png"/><Relationship Id="rId9" Type="http://schemas.openxmlformats.org/officeDocument/2006/relationships/image" Target="../media/image179.jpeg"/><Relationship Id="rId14" Type="http://schemas.openxmlformats.org/officeDocument/2006/relationships/image" Target="../media/image18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" Type="http://schemas.openxmlformats.org/officeDocument/2006/relationships/image" Target="../media/image19.png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26" Type="http://schemas.openxmlformats.org/officeDocument/2006/relationships/image" Target="../media/image62.png"/><Relationship Id="rId39" Type="http://schemas.openxmlformats.org/officeDocument/2006/relationships/image" Target="../media/image75.png"/><Relationship Id="rId3" Type="http://schemas.openxmlformats.org/officeDocument/2006/relationships/image" Target="../media/image39.png"/><Relationship Id="rId21" Type="http://schemas.openxmlformats.org/officeDocument/2006/relationships/image" Target="../media/image57.png"/><Relationship Id="rId34" Type="http://schemas.openxmlformats.org/officeDocument/2006/relationships/image" Target="../media/image70.png"/><Relationship Id="rId42" Type="http://schemas.openxmlformats.org/officeDocument/2006/relationships/image" Target="../media/image78.png"/><Relationship Id="rId47" Type="http://schemas.openxmlformats.org/officeDocument/2006/relationships/image" Target="../media/image83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jpeg"/><Relationship Id="rId25" Type="http://schemas.openxmlformats.org/officeDocument/2006/relationships/image" Target="../media/image61.png"/><Relationship Id="rId33" Type="http://schemas.openxmlformats.org/officeDocument/2006/relationships/image" Target="../media/image69.png"/><Relationship Id="rId38" Type="http://schemas.openxmlformats.org/officeDocument/2006/relationships/image" Target="../media/image74.png"/><Relationship Id="rId46" Type="http://schemas.openxmlformats.org/officeDocument/2006/relationships/image" Target="../media/image82.png"/><Relationship Id="rId2" Type="http://schemas.openxmlformats.org/officeDocument/2006/relationships/image" Target="../media/image38.png"/><Relationship Id="rId16" Type="http://schemas.openxmlformats.org/officeDocument/2006/relationships/image" Target="../media/image52.png"/><Relationship Id="rId20" Type="http://schemas.openxmlformats.org/officeDocument/2006/relationships/image" Target="../media/image56.png"/><Relationship Id="rId29" Type="http://schemas.openxmlformats.org/officeDocument/2006/relationships/image" Target="../media/image65.png"/><Relationship Id="rId41" Type="http://schemas.openxmlformats.org/officeDocument/2006/relationships/image" Target="../media/image7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24" Type="http://schemas.openxmlformats.org/officeDocument/2006/relationships/image" Target="../media/image60.png"/><Relationship Id="rId32" Type="http://schemas.openxmlformats.org/officeDocument/2006/relationships/image" Target="../media/image68.png"/><Relationship Id="rId37" Type="http://schemas.openxmlformats.org/officeDocument/2006/relationships/image" Target="../media/image73.png"/><Relationship Id="rId40" Type="http://schemas.openxmlformats.org/officeDocument/2006/relationships/image" Target="../media/image76.png"/><Relationship Id="rId45" Type="http://schemas.openxmlformats.org/officeDocument/2006/relationships/image" Target="../media/image81.jpeg"/><Relationship Id="rId5" Type="http://schemas.openxmlformats.org/officeDocument/2006/relationships/image" Target="../media/image41.jpeg"/><Relationship Id="rId15" Type="http://schemas.openxmlformats.org/officeDocument/2006/relationships/image" Target="../media/image51.png"/><Relationship Id="rId23" Type="http://schemas.openxmlformats.org/officeDocument/2006/relationships/image" Target="../media/image59.png"/><Relationship Id="rId28" Type="http://schemas.openxmlformats.org/officeDocument/2006/relationships/image" Target="../media/image64.png"/><Relationship Id="rId36" Type="http://schemas.openxmlformats.org/officeDocument/2006/relationships/image" Target="../media/image72.png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31" Type="http://schemas.openxmlformats.org/officeDocument/2006/relationships/image" Target="../media/image67.png"/><Relationship Id="rId44" Type="http://schemas.openxmlformats.org/officeDocument/2006/relationships/image" Target="../media/image80.jpeg"/><Relationship Id="rId4" Type="http://schemas.openxmlformats.org/officeDocument/2006/relationships/image" Target="../media/image40.png"/><Relationship Id="rId9" Type="http://schemas.openxmlformats.org/officeDocument/2006/relationships/image" Target="../media/image45.png"/><Relationship Id="rId14" Type="http://schemas.openxmlformats.org/officeDocument/2006/relationships/image" Target="../media/image50.png"/><Relationship Id="rId22" Type="http://schemas.openxmlformats.org/officeDocument/2006/relationships/image" Target="../media/image58.jpeg"/><Relationship Id="rId27" Type="http://schemas.openxmlformats.org/officeDocument/2006/relationships/image" Target="../media/image63.png"/><Relationship Id="rId30" Type="http://schemas.openxmlformats.org/officeDocument/2006/relationships/image" Target="../media/image66.png"/><Relationship Id="rId35" Type="http://schemas.openxmlformats.org/officeDocument/2006/relationships/image" Target="../media/image71.png"/><Relationship Id="rId43" Type="http://schemas.openxmlformats.org/officeDocument/2006/relationships/image" Target="../media/image7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20"/>
          <a:stretch/>
        </p:blipFill>
        <p:spPr bwMode="auto">
          <a:xfrm>
            <a:off x="0" y="0"/>
            <a:ext cx="9143999" cy="3795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Espace réservé du texte 7"/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endParaRPr lang="fr-FR"/>
          </a:p>
        </p:txBody>
      </p:sp>
      <p:sp>
        <p:nvSpPr>
          <p:cNvPr id="3" name="2 CuadroTexto"/>
          <p:cNvSpPr txBox="1"/>
          <p:nvPr/>
        </p:nvSpPr>
        <p:spPr>
          <a:xfrm>
            <a:off x="1187624" y="3403307"/>
            <a:ext cx="2664296" cy="2845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b="1" dirty="0" smtClean="0">
                <a:solidFill>
                  <a:schemeClr val="bg1"/>
                </a:solidFill>
                <a:latin typeface="BNPP Sans" pitchFamily="50" charset="0"/>
              </a:rPr>
              <a:t>Desayuno Falabella </a:t>
            </a:r>
          </a:p>
        </p:txBody>
      </p:sp>
      <p:sp>
        <p:nvSpPr>
          <p:cNvPr id="2" name="1 Rectángulo"/>
          <p:cNvSpPr/>
          <p:nvPr/>
        </p:nvSpPr>
        <p:spPr>
          <a:xfrm>
            <a:off x="1043608" y="3435846"/>
            <a:ext cx="3546031" cy="648072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187624" y="3871359"/>
            <a:ext cx="2664296" cy="2845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400" b="1" dirty="0" smtClean="0">
                <a:solidFill>
                  <a:schemeClr val="bg1"/>
                </a:solidFill>
                <a:latin typeface="BNPP Sans" pitchFamily="50" charset="0"/>
              </a:rPr>
              <a:t>22 de junio 2018 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1187624" y="3511319"/>
            <a:ext cx="2664296" cy="2845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b="1" dirty="0" smtClean="0">
                <a:solidFill>
                  <a:schemeClr val="bg1"/>
                </a:solidFill>
                <a:latin typeface="BNPP Sans" pitchFamily="50" charset="0"/>
              </a:rPr>
              <a:t>Negocio Cardif Falabella </a:t>
            </a:r>
          </a:p>
        </p:txBody>
      </p:sp>
    </p:spTree>
    <p:extLst>
      <p:ext uri="{BB962C8B-B14F-4D97-AF65-F5344CB8AC3E}">
        <p14:creationId xmlns:p14="http://schemas.microsoft.com/office/powerpoint/2010/main" val="38315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0</a:t>
            </a:fld>
            <a:endParaRPr lang="en-GB" noProof="0" dirty="0"/>
          </a:p>
        </p:txBody>
      </p:sp>
      <p:sp>
        <p:nvSpPr>
          <p:cNvPr id="9" name="Isosceles Triangle 59">
            <a:extLst>
              <a:ext uri="{FF2B5EF4-FFF2-40B4-BE49-F238E27FC236}"/>
            </a:extLst>
          </p:cNvPr>
          <p:cNvSpPr/>
          <p:nvPr/>
        </p:nvSpPr>
        <p:spPr>
          <a:xfrm rot="16200000">
            <a:off x="1149862" y="1500935"/>
            <a:ext cx="1278844" cy="656446"/>
          </a:xfrm>
          <a:prstGeom prst="triangle">
            <a:avLst/>
          </a:prstGeom>
          <a:gradFill flip="none" rotWithShape="1">
            <a:gsLst>
              <a:gs pos="100000">
                <a:schemeClr val="bg1"/>
              </a:gs>
              <a:gs pos="0">
                <a:srgbClr val="FFB481">
                  <a:lumMod val="86000"/>
                  <a:alpha val="58000"/>
                </a:srgbClr>
              </a:gs>
            </a:gsLst>
            <a:lin ang="162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algn="ctr">
              <a:defRPr/>
            </a:pPr>
            <a:endParaRPr lang="en-US" altLang="es-ES" sz="110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0" name="84 Conector recto">
            <a:extLst>
              <a:ext uri="{FF2B5EF4-FFF2-40B4-BE49-F238E27FC236}"/>
            </a:extLst>
          </p:cNvPr>
          <p:cNvCxnSpPr/>
          <p:nvPr/>
        </p:nvCxnSpPr>
        <p:spPr>
          <a:xfrm>
            <a:off x="4632325" y="3832225"/>
            <a:ext cx="487363" cy="0"/>
          </a:xfrm>
          <a:prstGeom prst="line">
            <a:avLst/>
          </a:prstGeom>
          <a:ln w="381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re 1"/>
          <p:cNvSpPr txBox="1">
            <a:spLocks/>
          </p:cNvSpPr>
          <p:nvPr/>
        </p:nvSpPr>
        <p:spPr bwMode="auto">
          <a:xfrm>
            <a:off x="365125" y="87313"/>
            <a:ext cx="8535988" cy="56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444500" indent="-177800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803275" indent="-174625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155700" indent="-1666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Capacidad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 </a:t>
            </a: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comprobada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 </a:t>
            </a: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en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 </a:t>
            </a: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desarrollar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 </a:t>
            </a: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negocios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 </a:t>
            </a: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en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 </a:t>
            </a: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distintas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 </a:t>
            </a: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industrias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: </a:t>
            </a:r>
            <a:endParaRPr lang="en-US" altLang="es-PE" sz="1800" b="1" dirty="0" smtClean="0">
              <a:solidFill>
                <a:srgbClr val="339966"/>
              </a:solidFill>
              <a:latin typeface="BNPP Sans" pitchFamily="50" charset="0"/>
            </a:endParaRP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es-PE" sz="1800" b="1" dirty="0" smtClean="0">
                <a:solidFill>
                  <a:srgbClr val="339966"/>
                </a:solidFill>
                <a:latin typeface="BNPP Sans" pitchFamily="50" charset="0"/>
              </a:rPr>
              <a:t>Magazine </a:t>
            </a: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Luiza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 ha </a:t>
            </a:r>
            <a:r>
              <a:rPr lang="en-US" altLang="es-PE" sz="1800" b="1" dirty="0" err="1">
                <a:solidFill>
                  <a:srgbClr val="339966"/>
                </a:solidFill>
                <a:latin typeface="BNPP Sans" pitchFamily="50" charset="0"/>
              </a:rPr>
              <a:t>desarrollado</a:t>
            </a:r>
            <a:r>
              <a:rPr lang="en-US" altLang="es-PE" sz="1800" b="1" dirty="0">
                <a:solidFill>
                  <a:srgbClr val="339966"/>
                </a:solidFill>
                <a:latin typeface="BNPP Sans" pitchFamily="50" charset="0"/>
              </a:rPr>
              <a:t> EUR 188M GWP</a:t>
            </a:r>
            <a:endParaRPr lang="en-GB" altLang="es-PE" sz="1800" b="1" dirty="0">
              <a:solidFill>
                <a:srgbClr val="339966"/>
              </a:solidFill>
              <a:latin typeface="BNPP Sans" pitchFamily="50" charset="0"/>
            </a:endParaRPr>
          </a:p>
        </p:txBody>
      </p:sp>
      <p:graphicFrame>
        <p:nvGraphicFramePr>
          <p:cNvPr id="12" name="1 Gráfico">
            <a:extLst>
              <a:ext uri="{FF2B5EF4-FFF2-40B4-BE49-F238E27FC236}"/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3484553"/>
              </p:ext>
            </p:extLst>
          </p:nvPr>
        </p:nvGraphicFramePr>
        <p:xfrm>
          <a:off x="5095104" y="1278876"/>
          <a:ext cx="3427648" cy="1361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ZoneTexte 4">
            <a:extLst>
              <a:ext uri="{FF2B5EF4-FFF2-40B4-BE49-F238E27FC236}"/>
            </a:extLst>
          </p:cNvPr>
          <p:cNvSpPr txBox="1"/>
          <p:nvPr/>
        </p:nvSpPr>
        <p:spPr>
          <a:xfrm>
            <a:off x="617538" y="739775"/>
            <a:ext cx="3941762" cy="268288"/>
          </a:xfrm>
          <a:prstGeom prst="rect">
            <a:avLst/>
          </a:prstGeom>
          <a:solidFill>
            <a:srgbClr val="33996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45517" tIns="0" rIns="0" bIns="0" anchor="ctr"/>
          <a:lstStyle>
            <a:defPPr>
              <a:defRPr lang="fr-FR"/>
            </a:defPPr>
            <a:lvl1pPr algn="ctr">
              <a:defRPr sz="1400">
                <a:solidFill>
                  <a:schemeClr val="bg1"/>
                </a:solidFill>
                <a:latin typeface="BNPP Sans" pitchFamily="50" charset="0"/>
              </a:defRPr>
            </a:lvl1pPr>
          </a:lstStyle>
          <a:p>
            <a:pPr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 err="1">
                <a:cs typeface="+mn-cs"/>
              </a:rPr>
              <a:t>Líder</a:t>
            </a:r>
            <a:r>
              <a:rPr lang="en-US" b="1" dirty="0">
                <a:cs typeface="+mn-cs"/>
              </a:rPr>
              <a:t> </a:t>
            </a:r>
            <a:r>
              <a:rPr lang="en-US" b="1" dirty="0" err="1">
                <a:cs typeface="+mn-cs"/>
              </a:rPr>
              <a:t>en</a:t>
            </a:r>
            <a:r>
              <a:rPr lang="en-US" b="1" dirty="0">
                <a:cs typeface="+mn-cs"/>
              </a:rPr>
              <a:t> el sector Retail </a:t>
            </a:r>
            <a:r>
              <a:rPr lang="en-US" b="1" dirty="0" err="1">
                <a:cs typeface="+mn-cs"/>
              </a:rPr>
              <a:t>en</a:t>
            </a:r>
            <a:r>
              <a:rPr lang="en-US" b="1" dirty="0">
                <a:cs typeface="+mn-cs"/>
              </a:rPr>
              <a:t> </a:t>
            </a:r>
            <a:r>
              <a:rPr lang="en-US" b="1" dirty="0" err="1" smtClean="0">
                <a:cs typeface="+mn-cs"/>
              </a:rPr>
              <a:t>Brasil</a:t>
            </a:r>
            <a:endParaRPr lang="en-US" b="1" dirty="0">
              <a:cs typeface="+mn-cs"/>
            </a:endParaRPr>
          </a:p>
        </p:txBody>
      </p:sp>
      <p:sp>
        <p:nvSpPr>
          <p:cNvPr id="14" name="ZoneTexte 5">
            <a:extLst>
              <a:ext uri="{FF2B5EF4-FFF2-40B4-BE49-F238E27FC236}"/>
            </a:extLst>
          </p:cNvPr>
          <p:cNvSpPr txBox="1"/>
          <p:nvPr/>
        </p:nvSpPr>
        <p:spPr>
          <a:xfrm>
            <a:off x="5059363" y="739775"/>
            <a:ext cx="3657600" cy="268288"/>
          </a:xfrm>
          <a:prstGeom prst="rect">
            <a:avLst/>
          </a:prstGeom>
          <a:solidFill>
            <a:srgbClr val="33996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45517" tIns="0" rIns="0" bIns="0" anchor="ctr"/>
          <a:lstStyle>
            <a:defPPr>
              <a:defRPr lang="fr-FR"/>
            </a:defPPr>
            <a:lvl1pPr algn="ctr">
              <a:defRPr sz="1400">
                <a:solidFill>
                  <a:schemeClr val="bg1"/>
                </a:solidFill>
                <a:latin typeface="BNPP Sans" pitchFamily="50" charset="0"/>
              </a:defRPr>
            </a:lvl1pPr>
          </a:lstStyle>
          <a:p>
            <a:pPr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 err="1">
                <a:cs typeface="+mn-cs"/>
              </a:rPr>
              <a:t>Creciendo</a:t>
            </a:r>
            <a:r>
              <a:rPr lang="en-US" b="1" dirty="0">
                <a:cs typeface="+mn-cs"/>
              </a:rPr>
              <a:t> </a:t>
            </a:r>
            <a:r>
              <a:rPr lang="en-US" b="1" dirty="0" err="1" smtClean="0">
                <a:cs typeface="+mn-cs"/>
              </a:rPr>
              <a:t>Juntos</a:t>
            </a:r>
            <a:r>
              <a:rPr lang="en-US" b="1" dirty="0" smtClean="0">
                <a:cs typeface="+mn-cs"/>
              </a:rPr>
              <a:t> (</a:t>
            </a:r>
            <a:r>
              <a:rPr lang="en-US" b="1" dirty="0">
                <a:cs typeface="+mn-cs"/>
              </a:rPr>
              <a:t>GWP in USD million)</a:t>
            </a:r>
          </a:p>
        </p:txBody>
      </p:sp>
      <p:sp>
        <p:nvSpPr>
          <p:cNvPr id="15" name="14 Rectángulo">
            <a:extLst>
              <a:ext uri="{FF2B5EF4-FFF2-40B4-BE49-F238E27FC236}"/>
            </a:extLst>
          </p:cNvPr>
          <p:cNvSpPr/>
          <p:nvPr/>
        </p:nvSpPr>
        <p:spPr>
          <a:xfrm>
            <a:off x="426780" y="1133762"/>
            <a:ext cx="1362505" cy="413202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73925" tIns="36963" rIns="73925" bIns="36963">
            <a:spAutoFit/>
          </a:bodyPr>
          <a:lstStyle/>
          <a:p>
            <a:pPr algn="ctr" defTabSz="739237">
              <a:defRPr/>
            </a:pPr>
            <a:r>
              <a:rPr lang="en-US" sz="1100" b="1" kern="0" dirty="0">
                <a:solidFill>
                  <a:srgbClr val="FF6600"/>
                </a:solidFill>
                <a:latin typeface="BNPP Sans" pitchFamily="50" charset="0"/>
              </a:rPr>
              <a:t>3er  retailer </a:t>
            </a:r>
            <a:r>
              <a:rPr lang="en-US" sz="1100" b="1" kern="0" dirty="0" err="1">
                <a:solidFill>
                  <a:srgbClr val="FF6600"/>
                </a:solidFill>
                <a:latin typeface="BNPP Sans" pitchFamily="50" charset="0"/>
              </a:rPr>
              <a:t>más</a:t>
            </a:r>
            <a:r>
              <a:rPr lang="en-US" sz="1100" b="1" kern="0" dirty="0">
                <a:solidFill>
                  <a:srgbClr val="FF6600"/>
                </a:solidFill>
                <a:latin typeface="BNPP Sans" pitchFamily="50" charset="0"/>
              </a:rPr>
              <a:t> </a:t>
            </a:r>
            <a:r>
              <a:rPr lang="en-US" sz="1100" b="1" kern="0" dirty="0" err="1">
                <a:solidFill>
                  <a:srgbClr val="FF6600"/>
                </a:solidFill>
                <a:latin typeface="BNPP Sans" pitchFamily="50" charset="0"/>
              </a:rPr>
              <a:t>importante</a:t>
            </a:r>
            <a:endParaRPr lang="en-US" sz="1100" b="1" kern="0" dirty="0">
              <a:solidFill>
                <a:srgbClr val="FF6600"/>
              </a:solidFill>
              <a:latin typeface="BNPP Sans" pitchFamily="50" charset="0"/>
            </a:endParaRPr>
          </a:p>
        </p:txBody>
      </p:sp>
      <p:sp>
        <p:nvSpPr>
          <p:cNvPr id="16" name="17 Rectángulo">
            <a:extLst>
              <a:ext uri="{FF2B5EF4-FFF2-40B4-BE49-F238E27FC236}"/>
            </a:extLst>
          </p:cNvPr>
          <p:cNvSpPr/>
          <p:nvPr/>
        </p:nvSpPr>
        <p:spPr>
          <a:xfrm>
            <a:off x="365125" y="1604963"/>
            <a:ext cx="1514475" cy="412750"/>
          </a:xfrm>
          <a:prstGeom prst="rect">
            <a:avLst/>
          </a:prstGeom>
          <a:noFill/>
        </p:spPr>
        <p:txBody>
          <a:bodyPr lIns="73925" tIns="36963" rIns="73925" bIns="36963">
            <a:spAutoFit/>
          </a:bodyPr>
          <a:lstStyle/>
          <a:p>
            <a:pPr algn="ctr"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>
                <a:solidFill>
                  <a:srgbClr val="FF6600"/>
                </a:solidFill>
                <a:latin typeface="BNPP Sans" pitchFamily="50" charset="0"/>
              </a:rPr>
              <a:t>1/3 de las  </a:t>
            </a:r>
            <a:r>
              <a:rPr lang="en-US" sz="1100" b="1" kern="0" dirty="0" err="1">
                <a:solidFill>
                  <a:srgbClr val="FF6600"/>
                </a:solidFill>
                <a:latin typeface="BNPP Sans" pitchFamily="50" charset="0"/>
              </a:rPr>
              <a:t>ventas</a:t>
            </a:r>
            <a:r>
              <a:rPr lang="en-US" sz="1100" b="1" kern="0" dirty="0">
                <a:solidFill>
                  <a:srgbClr val="FF6600"/>
                </a:solidFill>
                <a:latin typeface="BNPP Sans" pitchFamily="50" charset="0"/>
              </a:rPr>
              <a:t> son online</a:t>
            </a:r>
          </a:p>
        </p:txBody>
      </p:sp>
      <p:sp>
        <p:nvSpPr>
          <p:cNvPr id="17" name="18 Rectángulo">
            <a:extLst>
              <a:ext uri="{FF2B5EF4-FFF2-40B4-BE49-F238E27FC236}"/>
            </a:extLst>
          </p:cNvPr>
          <p:cNvSpPr/>
          <p:nvPr/>
        </p:nvSpPr>
        <p:spPr>
          <a:xfrm>
            <a:off x="703263" y="2076450"/>
            <a:ext cx="766762" cy="412750"/>
          </a:xfrm>
          <a:prstGeom prst="rect">
            <a:avLst/>
          </a:prstGeom>
        </p:spPr>
        <p:txBody>
          <a:bodyPr lIns="73925" tIns="36963" rIns="73925" bIns="36963">
            <a:spAutoFit/>
          </a:bodyPr>
          <a:lstStyle/>
          <a:p>
            <a:pPr algn="ctr" defTabSz="739237">
              <a:defRPr/>
            </a:pPr>
            <a:r>
              <a:rPr lang="en-US" sz="1100" b="1" kern="0" dirty="0">
                <a:solidFill>
                  <a:srgbClr val="FF6600"/>
                </a:solidFill>
                <a:latin typeface="BNPP Sans" pitchFamily="50" charset="0"/>
              </a:rPr>
              <a:t>858 </a:t>
            </a:r>
            <a:r>
              <a:rPr lang="en-US" sz="1100" b="1" kern="0" dirty="0" err="1">
                <a:solidFill>
                  <a:srgbClr val="FF6600"/>
                </a:solidFill>
                <a:latin typeface="BNPP Sans" pitchFamily="50" charset="0"/>
              </a:rPr>
              <a:t>tiendas</a:t>
            </a:r>
            <a:endParaRPr lang="en-US" sz="1100" b="1" kern="0" dirty="0">
              <a:solidFill>
                <a:srgbClr val="FF6600"/>
              </a:solidFill>
              <a:latin typeface="BNPP Sans" pitchFamily="50" charset="0"/>
            </a:endParaRPr>
          </a:p>
        </p:txBody>
      </p:sp>
      <p:pic>
        <p:nvPicPr>
          <p:cNvPr id="18" name="Picture 7">
            <a:extLst>
              <a:ext uri="{FF2B5EF4-FFF2-40B4-BE49-F238E27FC236}"/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20913" y="1190625"/>
            <a:ext cx="1795462" cy="12747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5546725" y="3005138"/>
            <a:ext cx="3232150" cy="155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925" tIns="36963" rIns="73925" bIns="36963">
            <a:spAutoFit/>
          </a:bodyPr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ClrTx/>
              <a:buSzTx/>
            </a:pPr>
            <a:r>
              <a:rPr lang="en-US" altLang="es-ES" sz="900">
                <a:solidFill>
                  <a:srgbClr val="404040"/>
                </a:solidFill>
                <a:latin typeface="BNPP Sans" pitchFamily="50" charset="0"/>
              </a:rPr>
              <a:t>Alianza Estratégica, renovada y extendida hasta el 2026 basada en 2 pilares:</a:t>
            </a:r>
          </a:p>
          <a:p>
            <a:pPr algn="just" eaLnBrk="1" hangingPunct="1">
              <a:spcBef>
                <a:spcPct val="0"/>
              </a:spcBef>
              <a:buClrTx/>
              <a:buSzTx/>
            </a:pPr>
            <a:endParaRPr lang="en-US" altLang="es-ES" sz="200" b="1">
              <a:solidFill>
                <a:srgbClr val="404040"/>
              </a:solidFill>
              <a:latin typeface="BNPP Sans" pitchFamily="50" charset="0"/>
            </a:endParaRPr>
          </a:p>
          <a:p>
            <a:pPr algn="just" eaLnBrk="1" hangingPunct="1">
              <a:spcBef>
                <a:spcPct val="0"/>
              </a:spcBef>
              <a:buClrTx/>
              <a:buSzTx/>
              <a:buFont typeface="Wingdings" pitchFamily="2" charset="2"/>
              <a:buChar char="§"/>
            </a:pPr>
            <a:r>
              <a:rPr lang="en-US" altLang="es-ES" sz="900" b="1">
                <a:solidFill>
                  <a:srgbClr val="404040"/>
                </a:solidFill>
                <a:latin typeface="BNPP Sans" pitchFamily="50" charset="0"/>
              </a:rPr>
              <a:t>Acuerdo Exclusivo de dsitribución </a:t>
            </a:r>
            <a:r>
              <a:rPr lang="en-US" altLang="es-ES" sz="900">
                <a:solidFill>
                  <a:srgbClr val="404040"/>
                </a:solidFill>
                <a:latin typeface="BNPP Sans" pitchFamily="50" charset="0"/>
              </a:rPr>
              <a:t>con ML.</a:t>
            </a:r>
          </a:p>
          <a:p>
            <a:pPr algn="just" eaLnBrk="1" hangingPunct="1">
              <a:spcBef>
                <a:spcPct val="0"/>
              </a:spcBef>
              <a:buClrTx/>
              <a:buSzTx/>
            </a:pPr>
            <a:endParaRPr lang="en-US" altLang="es-ES" sz="900">
              <a:solidFill>
                <a:srgbClr val="404040"/>
              </a:solidFill>
              <a:latin typeface="BNPP Sans" pitchFamily="50" charset="0"/>
            </a:endParaRPr>
          </a:p>
          <a:p>
            <a:pPr algn="just" eaLnBrk="1" hangingPunct="1">
              <a:spcBef>
                <a:spcPct val="0"/>
              </a:spcBef>
              <a:buClrTx/>
              <a:buSzTx/>
            </a:pPr>
            <a:endParaRPr lang="en-US" altLang="es-ES" sz="200" b="1">
              <a:solidFill>
                <a:srgbClr val="404040"/>
              </a:solidFill>
              <a:latin typeface="BNPP Sans" pitchFamily="50" charset="0"/>
            </a:endParaRPr>
          </a:p>
          <a:p>
            <a:pPr algn="just" eaLnBrk="1" hangingPunct="1">
              <a:spcBef>
                <a:spcPct val="0"/>
              </a:spcBef>
              <a:buClrTx/>
              <a:buSzTx/>
              <a:buFont typeface="Wingdings" pitchFamily="2" charset="2"/>
              <a:buChar char="§"/>
            </a:pPr>
            <a:r>
              <a:rPr lang="en-US" altLang="es-ES" sz="900" b="1">
                <a:solidFill>
                  <a:srgbClr val="404040"/>
                </a:solidFill>
                <a:latin typeface="BNPP Sans" pitchFamily="50" charset="0"/>
              </a:rPr>
              <a:t>Un Joint Venture, Luizaseg, dedicado a Garantía Extendida </a:t>
            </a:r>
            <a:r>
              <a:rPr lang="en-US" altLang="es-ES" sz="900">
                <a:solidFill>
                  <a:srgbClr val="404040"/>
                </a:solidFill>
                <a:latin typeface="BNPP Sans" pitchFamily="50" charset="0"/>
              </a:rPr>
              <a:t>con el uso de </a:t>
            </a:r>
            <a:r>
              <a:rPr lang="en-US" altLang="es-ES" sz="900" b="1">
                <a:solidFill>
                  <a:srgbClr val="404040"/>
                </a:solidFill>
                <a:latin typeface="BNPP Sans" pitchFamily="50" charset="0"/>
              </a:rPr>
              <a:t>customer journey</a:t>
            </a:r>
            <a:r>
              <a:rPr lang="en-US" altLang="es-ES" sz="900">
                <a:solidFill>
                  <a:srgbClr val="404040"/>
                </a:solidFill>
                <a:latin typeface="BNPP Sans" pitchFamily="50" charset="0"/>
              </a:rPr>
              <a:t> e implementación de una experiencia omnicanal (desarrollo digital)</a:t>
            </a:r>
          </a:p>
          <a:p>
            <a:pPr algn="just" eaLnBrk="1" hangingPunct="1">
              <a:spcBef>
                <a:spcPct val="0"/>
              </a:spcBef>
              <a:buClrTx/>
              <a:buSzTx/>
            </a:pPr>
            <a:endParaRPr lang="en-US" altLang="es-ES" sz="900">
              <a:solidFill>
                <a:srgbClr val="404040"/>
              </a:solidFill>
              <a:latin typeface="BNPP Sans" pitchFamily="50" charset="0"/>
            </a:endParaRPr>
          </a:p>
          <a:p>
            <a:pPr algn="just" eaLnBrk="1" hangingPunct="1">
              <a:spcBef>
                <a:spcPct val="0"/>
              </a:spcBef>
              <a:buClrTx/>
              <a:buSzTx/>
            </a:pPr>
            <a:endParaRPr lang="en-US" altLang="es-ES" sz="200">
              <a:solidFill>
                <a:srgbClr val="404040"/>
              </a:solidFill>
              <a:latin typeface="BNPP Sans" pitchFamily="50" charset="0"/>
            </a:endParaRPr>
          </a:p>
          <a:p>
            <a:pPr algn="just" eaLnBrk="1" hangingPunct="1">
              <a:spcBef>
                <a:spcPct val="0"/>
              </a:spcBef>
              <a:buClrTx/>
              <a:buSzTx/>
            </a:pPr>
            <a:r>
              <a:rPr lang="en-US" altLang="es-ES" sz="900">
                <a:solidFill>
                  <a:srgbClr val="404040"/>
                </a:solidFill>
                <a:latin typeface="BNPP Sans" pitchFamily="50" charset="0"/>
              </a:rPr>
              <a:t>A través de los años, Cardif  acompañó a ML en la innovación y distribución de productos.</a:t>
            </a:r>
          </a:p>
        </p:txBody>
      </p:sp>
      <p:sp>
        <p:nvSpPr>
          <p:cNvPr id="20" name="ZoneTexte 3">
            <a:extLst>
              <a:ext uri="{FF2B5EF4-FFF2-40B4-BE49-F238E27FC236}"/>
            </a:extLst>
          </p:cNvPr>
          <p:cNvSpPr txBox="1"/>
          <p:nvPr/>
        </p:nvSpPr>
        <p:spPr>
          <a:xfrm>
            <a:off x="617538" y="2625725"/>
            <a:ext cx="8099425" cy="244475"/>
          </a:xfrm>
          <a:prstGeom prst="rect">
            <a:avLst/>
          </a:prstGeom>
          <a:solidFill>
            <a:srgbClr val="33996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45517" tIns="0" rIns="0" bIns="0" anchor="ctr"/>
          <a:lstStyle>
            <a:defPPr>
              <a:defRPr lang="fr-FR"/>
            </a:defPPr>
            <a:lvl1pPr algn="ctr">
              <a:defRPr sz="1400">
                <a:solidFill>
                  <a:schemeClr val="bg1"/>
                </a:solidFill>
                <a:latin typeface="BNPP Sans" pitchFamily="50" charset="0"/>
              </a:defRPr>
            </a:lvl1pPr>
          </a:lstStyle>
          <a:p>
            <a:pPr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cs typeface="+mn-cs"/>
              </a:rPr>
              <a:t>22 </a:t>
            </a:r>
            <a:r>
              <a:rPr lang="en-US" b="1" dirty="0" err="1">
                <a:cs typeface="+mn-cs"/>
              </a:rPr>
              <a:t>años</a:t>
            </a:r>
            <a:r>
              <a:rPr lang="en-US" b="1" dirty="0">
                <a:cs typeface="+mn-cs"/>
              </a:rPr>
              <a:t> de </a:t>
            </a:r>
            <a:r>
              <a:rPr lang="en-US" b="1" dirty="0" err="1">
                <a:cs typeface="+mn-cs"/>
              </a:rPr>
              <a:t>acuerdos</a:t>
            </a:r>
            <a:r>
              <a:rPr lang="en-US" b="1" dirty="0">
                <a:cs typeface="+mn-cs"/>
              </a:rPr>
              <a:t> </a:t>
            </a:r>
            <a:r>
              <a:rPr lang="en-US" b="1" dirty="0" err="1">
                <a:cs typeface="+mn-cs"/>
              </a:rPr>
              <a:t>exclusivos</a:t>
            </a:r>
            <a:endParaRPr lang="en-US" b="1" dirty="0">
              <a:cs typeface="+mn-cs"/>
            </a:endParaRPr>
          </a:p>
        </p:txBody>
      </p:sp>
      <p:cxnSp>
        <p:nvCxnSpPr>
          <p:cNvPr id="21" name="84 Conector recto">
            <a:extLst>
              <a:ext uri="{FF2B5EF4-FFF2-40B4-BE49-F238E27FC236}"/>
            </a:extLst>
          </p:cNvPr>
          <p:cNvCxnSpPr>
            <a:endCxn id="51" idx="6"/>
          </p:cNvCxnSpPr>
          <p:nvPr/>
        </p:nvCxnSpPr>
        <p:spPr>
          <a:xfrm flipV="1">
            <a:off x="854075" y="3827463"/>
            <a:ext cx="3827463" cy="952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85 Grupo"/>
          <p:cNvGrpSpPr>
            <a:grpSpLocks/>
          </p:cNvGrpSpPr>
          <p:nvPr/>
        </p:nvGrpSpPr>
        <p:grpSpPr bwMode="auto">
          <a:xfrm>
            <a:off x="617538" y="3068638"/>
            <a:ext cx="708025" cy="820737"/>
            <a:chOff x="221102" y="3793028"/>
            <a:chExt cx="836475" cy="1091722"/>
          </a:xfrm>
        </p:grpSpPr>
        <p:sp>
          <p:nvSpPr>
            <p:cNvPr id="23" name="86 Conector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73697" y="4732711"/>
              <a:ext cx="148164" cy="152039"/>
            </a:xfrm>
            <a:prstGeom prst="flowChartConnector">
              <a:avLst/>
            </a:prstGeom>
            <a:solidFill>
              <a:srgbClr val="FF66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en-GB" altLang="es-ES" sz="1100">
                <a:solidFill>
                  <a:srgbClr val="000000"/>
                </a:solidFill>
                <a:latin typeface="BNPP Sans" pitchFamily="50" charset="0"/>
                <a:cs typeface="Arial" pitchFamily="34" charset="0"/>
              </a:endParaRPr>
            </a:p>
          </p:txBody>
        </p:sp>
        <p:sp>
          <p:nvSpPr>
            <p:cNvPr id="24" name="87 CuadroTexto"/>
            <p:cNvSpPr txBox="1">
              <a:spLocks noChangeArrowheads="1"/>
            </p:cNvSpPr>
            <p:nvPr/>
          </p:nvSpPr>
          <p:spPr bwMode="auto">
            <a:xfrm>
              <a:off x="221102" y="3793028"/>
              <a:ext cx="836475" cy="675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Seguros asociados a créditos</a:t>
              </a:r>
            </a:p>
          </p:txBody>
        </p:sp>
        <p:cxnSp>
          <p:nvCxnSpPr>
            <p:cNvPr id="25" name="88 Conector recto">
              <a:extLst>
                <a:ext uri="{FF2B5EF4-FFF2-40B4-BE49-F238E27FC236}"/>
              </a:extLst>
            </p:cNvPr>
            <p:cNvCxnSpPr/>
            <p:nvPr/>
          </p:nvCxnSpPr>
          <p:spPr>
            <a:xfrm>
              <a:off x="639339" y="4333610"/>
              <a:ext cx="0" cy="190048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6" name="89 CuadroTexto"/>
            <p:cNvSpPr txBox="1">
              <a:spLocks noChangeArrowheads="1"/>
            </p:cNvSpPr>
            <p:nvPr/>
          </p:nvSpPr>
          <p:spPr bwMode="auto">
            <a:xfrm>
              <a:off x="387623" y="4523049"/>
              <a:ext cx="519385" cy="307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 b="1">
                  <a:solidFill>
                    <a:srgbClr val="000000"/>
                  </a:solidFill>
                  <a:latin typeface="BNPP Sans" pitchFamily="50" charset="0"/>
                </a:rPr>
                <a:t>2004</a:t>
              </a:r>
            </a:p>
          </p:txBody>
        </p:sp>
      </p:grpSp>
      <p:grpSp>
        <p:nvGrpSpPr>
          <p:cNvPr id="27" name="90 Grupo"/>
          <p:cNvGrpSpPr>
            <a:grpSpLocks/>
          </p:cNvGrpSpPr>
          <p:nvPr/>
        </p:nvGrpSpPr>
        <p:grpSpPr bwMode="auto">
          <a:xfrm>
            <a:off x="1401763" y="3067050"/>
            <a:ext cx="1300162" cy="822325"/>
            <a:chOff x="784383" y="4006919"/>
            <a:chExt cx="1534859" cy="1092194"/>
          </a:xfrm>
        </p:grpSpPr>
        <p:sp>
          <p:nvSpPr>
            <p:cNvPr id="28" name="91 Conector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485283" y="4947302"/>
              <a:ext cx="146177" cy="151811"/>
            </a:xfrm>
            <a:prstGeom prst="flowChartConnector">
              <a:avLst/>
            </a:prstGeom>
            <a:solidFill>
              <a:srgbClr val="FF66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en-GB" altLang="es-ES" sz="1100">
                <a:solidFill>
                  <a:srgbClr val="000000"/>
                </a:solidFill>
                <a:latin typeface="BNPP Sans" pitchFamily="50" charset="0"/>
                <a:cs typeface="Arial" pitchFamily="34" charset="0"/>
              </a:endParaRPr>
            </a:p>
          </p:txBody>
        </p:sp>
        <p:sp>
          <p:nvSpPr>
            <p:cNvPr id="29" name="92 CuadroTexto"/>
            <p:cNvSpPr txBox="1">
              <a:spLocks noChangeArrowheads="1"/>
            </p:cNvSpPr>
            <p:nvPr/>
          </p:nvSpPr>
          <p:spPr bwMode="auto">
            <a:xfrm>
              <a:off x="1523381" y="4736920"/>
              <a:ext cx="519385" cy="306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 b="1">
                  <a:solidFill>
                    <a:srgbClr val="000000"/>
                  </a:solidFill>
                  <a:latin typeface="BNPP Sans" pitchFamily="50" charset="0"/>
                </a:rPr>
                <a:t>2006</a:t>
              </a:r>
            </a:p>
          </p:txBody>
        </p:sp>
        <p:sp>
          <p:nvSpPr>
            <p:cNvPr id="30" name="93 CuadroTexto"/>
            <p:cNvSpPr txBox="1">
              <a:spLocks noChangeArrowheads="1"/>
            </p:cNvSpPr>
            <p:nvPr/>
          </p:nvSpPr>
          <p:spPr bwMode="auto">
            <a:xfrm>
              <a:off x="784383" y="4006919"/>
              <a:ext cx="1534859" cy="674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Garantía Extendida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+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Protección Individual</a:t>
              </a:r>
            </a:p>
          </p:txBody>
        </p:sp>
        <p:cxnSp>
          <p:nvCxnSpPr>
            <p:cNvPr id="31" name="94 Conector recto">
              <a:extLst>
                <a:ext uri="{FF2B5EF4-FFF2-40B4-BE49-F238E27FC236}"/>
              </a:extLst>
            </p:cNvPr>
            <p:cNvCxnSpPr/>
            <p:nvPr/>
          </p:nvCxnSpPr>
          <p:spPr>
            <a:xfrm>
              <a:off x="1775763" y="4578318"/>
              <a:ext cx="0" cy="189763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32" name="95 Grupo"/>
          <p:cNvGrpSpPr>
            <a:grpSpLocks/>
          </p:cNvGrpSpPr>
          <p:nvPr/>
        </p:nvGrpSpPr>
        <p:grpSpPr bwMode="auto">
          <a:xfrm>
            <a:off x="2805113" y="3059113"/>
            <a:ext cx="1169987" cy="830262"/>
            <a:chOff x="1083632" y="3784739"/>
            <a:chExt cx="1382710" cy="1102960"/>
          </a:xfrm>
        </p:grpSpPr>
        <p:sp>
          <p:nvSpPr>
            <p:cNvPr id="33" name="96 Conector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699004" y="4735857"/>
              <a:ext cx="148214" cy="151842"/>
            </a:xfrm>
            <a:prstGeom prst="flowChartConnector">
              <a:avLst/>
            </a:prstGeom>
            <a:solidFill>
              <a:srgbClr val="FF66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en-GB" altLang="es-ES" sz="1100">
                <a:solidFill>
                  <a:srgbClr val="000000"/>
                </a:solidFill>
                <a:latin typeface="BNPP Sans" pitchFamily="50" charset="0"/>
                <a:cs typeface="Arial" pitchFamily="34" charset="0"/>
              </a:endParaRPr>
            </a:p>
          </p:txBody>
        </p:sp>
        <p:sp>
          <p:nvSpPr>
            <p:cNvPr id="34" name="97 CuadroTexto"/>
            <p:cNvSpPr txBox="1">
              <a:spLocks noChangeArrowheads="1"/>
            </p:cNvSpPr>
            <p:nvPr/>
          </p:nvSpPr>
          <p:spPr bwMode="auto">
            <a:xfrm>
              <a:off x="1523381" y="4532647"/>
              <a:ext cx="519385" cy="306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 b="1">
                  <a:solidFill>
                    <a:srgbClr val="000000"/>
                  </a:solidFill>
                  <a:latin typeface="BNPP Sans" pitchFamily="50" charset="0"/>
                </a:rPr>
                <a:t>2008</a:t>
              </a:r>
            </a:p>
          </p:txBody>
        </p:sp>
        <p:sp>
          <p:nvSpPr>
            <p:cNvPr id="35" name="98 CuadroTexto"/>
            <p:cNvSpPr txBox="1">
              <a:spLocks noChangeArrowheads="1"/>
            </p:cNvSpPr>
            <p:nvPr/>
          </p:nvSpPr>
          <p:spPr bwMode="auto">
            <a:xfrm>
              <a:off x="1083632" y="3784739"/>
              <a:ext cx="1382710" cy="6746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Domiciliario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+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Robo</a:t>
              </a:r>
            </a:p>
          </p:txBody>
        </p:sp>
        <p:cxnSp>
          <p:nvCxnSpPr>
            <p:cNvPr id="36" name="99 Conector recto">
              <a:extLst>
                <a:ext uri="{FF2B5EF4-FFF2-40B4-BE49-F238E27FC236}"/>
              </a:extLst>
            </p:cNvPr>
            <p:cNvCxnSpPr/>
            <p:nvPr/>
          </p:nvCxnSpPr>
          <p:spPr>
            <a:xfrm>
              <a:off x="1774049" y="4358363"/>
              <a:ext cx="0" cy="189802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37" name="100 Grupo"/>
          <p:cNvGrpSpPr>
            <a:grpSpLocks/>
          </p:cNvGrpSpPr>
          <p:nvPr/>
        </p:nvGrpSpPr>
        <p:grpSpPr bwMode="auto">
          <a:xfrm>
            <a:off x="3595688" y="3775075"/>
            <a:ext cx="709612" cy="754063"/>
            <a:chOff x="1359261" y="4735634"/>
            <a:chExt cx="836475" cy="1004838"/>
          </a:xfrm>
        </p:grpSpPr>
        <p:sp>
          <p:nvSpPr>
            <p:cNvPr id="38" name="101 Conector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699839" y="4735634"/>
              <a:ext cx="145962" cy="152312"/>
            </a:xfrm>
            <a:prstGeom prst="flowChartConnector">
              <a:avLst/>
            </a:prstGeom>
            <a:solidFill>
              <a:srgbClr val="FF66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en-GB" altLang="es-ES" sz="1100">
                <a:solidFill>
                  <a:srgbClr val="000000"/>
                </a:solidFill>
                <a:latin typeface="BNPP Sans" pitchFamily="50" charset="0"/>
                <a:cs typeface="Arial" pitchFamily="34" charset="0"/>
              </a:endParaRPr>
            </a:p>
          </p:txBody>
        </p:sp>
        <p:sp>
          <p:nvSpPr>
            <p:cNvPr id="39" name="102 CuadroTexto"/>
            <p:cNvSpPr txBox="1">
              <a:spLocks noChangeArrowheads="1"/>
            </p:cNvSpPr>
            <p:nvPr/>
          </p:nvSpPr>
          <p:spPr bwMode="auto">
            <a:xfrm>
              <a:off x="1523382" y="4894938"/>
              <a:ext cx="519385" cy="307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 b="1">
                  <a:solidFill>
                    <a:srgbClr val="000000"/>
                  </a:solidFill>
                  <a:latin typeface="BNPP Sans" pitchFamily="50" charset="0"/>
                </a:rPr>
                <a:t>2011</a:t>
              </a:r>
            </a:p>
          </p:txBody>
        </p:sp>
        <p:sp>
          <p:nvSpPr>
            <p:cNvPr id="40" name="103 CuadroTexto"/>
            <p:cNvSpPr txBox="1">
              <a:spLocks noChangeArrowheads="1"/>
            </p:cNvSpPr>
            <p:nvPr/>
          </p:nvSpPr>
          <p:spPr bwMode="auto">
            <a:xfrm>
              <a:off x="1359261" y="5248767"/>
              <a:ext cx="836475" cy="491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Daño &amp; Robo</a:t>
              </a:r>
            </a:p>
          </p:txBody>
        </p:sp>
        <p:cxnSp>
          <p:nvCxnSpPr>
            <p:cNvPr id="41" name="104 Conector recto">
              <a:extLst>
                <a:ext uri="{FF2B5EF4-FFF2-40B4-BE49-F238E27FC236}"/>
              </a:extLst>
            </p:cNvPr>
            <p:cNvCxnSpPr/>
            <p:nvPr/>
          </p:nvCxnSpPr>
          <p:spPr>
            <a:xfrm>
              <a:off x="1776563" y="5088914"/>
              <a:ext cx="0" cy="188274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42" name="105 Grupo"/>
          <p:cNvGrpSpPr>
            <a:grpSpLocks/>
          </p:cNvGrpSpPr>
          <p:nvPr/>
        </p:nvGrpSpPr>
        <p:grpSpPr bwMode="auto">
          <a:xfrm>
            <a:off x="1052513" y="3775075"/>
            <a:ext cx="815975" cy="688975"/>
            <a:chOff x="5111892" y="2340831"/>
            <a:chExt cx="963336" cy="916735"/>
          </a:xfrm>
        </p:grpSpPr>
        <p:grpSp>
          <p:nvGrpSpPr>
            <p:cNvPr id="43" name="106 Grupo"/>
            <p:cNvGrpSpPr>
              <a:grpSpLocks/>
            </p:cNvGrpSpPr>
            <p:nvPr/>
          </p:nvGrpSpPr>
          <p:grpSpPr bwMode="auto">
            <a:xfrm>
              <a:off x="5312184" y="2340831"/>
              <a:ext cx="519385" cy="555423"/>
              <a:chOff x="1523381" y="5062562"/>
              <a:chExt cx="519385" cy="555423"/>
            </a:xfrm>
          </p:grpSpPr>
          <p:sp>
            <p:nvSpPr>
              <p:cNvPr id="45" name="108 Conector">
                <a:extLst>
                  <a:ext uri="{FF2B5EF4-FFF2-40B4-BE49-F238E27FC236}"/>
                </a:extLst>
              </p:cNvPr>
              <p:cNvSpPr/>
              <p:nvPr/>
            </p:nvSpPr>
            <p:spPr>
              <a:xfrm>
                <a:off x="1699802" y="5062562"/>
                <a:ext cx="146187" cy="152085"/>
              </a:xfrm>
              <a:prstGeom prst="flowChartConnector">
                <a:avLst/>
              </a:prstGeom>
              <a:solidFill>
                <a:srgbClr val="FF66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anchor="ctr"/>
              <a:lstStyle/>
              <a:p>
                <a:pPr algn="ctr">
                  <a:defRPr/>
                </a:pPr>
                <a:endParaRPr lang="en-GB" altLang="es-ES" sz="1100">
                  <a:solidFill>
                    <a:srgbClr val="000000"/>
                  </a:solidFill>
                  <a:latin typeface="BNPP Sans" pitchFamily="50" charset="0"/>
                  <a:cs typeface="Arial" pitchFamily="34" charset="0"/>
                </a:endParaRPr>
              </a:p>
            </p:txBody>
          </p:sp>
          <p:sp>
            <p:nvSpPr>
              <p:cNvPr id="46" name="109 CuadroTexto"/>
              <p:cNvSpPr txBox="1">
                <a:spLocks noChangeArrowheads="1"/>
              </p:cNvSpPr>
              <p:nvPr/>
            </p:nvSpPr>
            <p:spPr bwMode="auto">
              <a:xfrm>
                <a:off x="1523381" y="5202949"/>
                <a:ext cx="519385" cy="3070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spcBef>
                    <a:spcPts val="163"/>
                  </a:spcBef>
                  <a:buClr>
                    <a:srgbClr val="008578"/>
                  </a:buClr>
                  <a:buSzPct val="100000"/>
                  <a:defRPr sz="15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ts val="163"/>
                  </a:spcBef>
                  <a:buClr>
                    <a:schemeClr val="accent1"/>
                  </a:buClr>
                  <a:buSzPct val="90000"/>
                  <a:buFont typeface="Wingdings" pitchFamily="2" charset="2"/>
                  <a:buChar char="§"/>
                  <a:defRPr sz="13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ts val="163"/>
                  </a:spcBef>
                  <a:buFont typeface="Wingdings" pitchFamily="2" charset="2"/>
                  <a:buChar char="§"/>
                  <a:defRPr sz="1100">
                    <a:solidFill>
                      <a:schemeClr val="accent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ts val="163"/>
                  </a:spcBef>
                  <a:buFont typeface="Wingdings" pitchFamily="2" charset="2"/>
                  <a:buChar char="§"/>
                  <a:defRPr sz="1000">
                    <a:solidFill>
                      <a:schemeClr val="tx2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ts val="163"/>
                  </a:spcBef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5pPr>
                <a:lvl6pPr marL="25146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6pPr>
                <a:lvl7pPr marL="29718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7pPr>
                <a:lvl8pPr marL="34290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8pPr>
                <a:lvl9pPr marL="38862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</a:pPr>
                <a:r>
                  <a:rPr lang="en-GB" altLang="es-PE" sz="900" b="1">
                    <a:solidFill>
                      <a:srgbClr val="000000"/>
                    </a:solidFill>
                    <a:latin typeface="BNPP Sans" pitchFamily="50" charset="0"/>
                  </a:rPr>
                  <a:t>2005</a:t>
                </a:r>
              </a:p>
            </p:txBody>
          </p:sp>
          <p:cxnSp>
            <p:nvCxnSpPr>
              <p:cNvPr id="47" name="110 Conector recto">
                <a:extLst>
                  <a:ext uri="{FF2B5EF4-FFF2-40B4-BE49-F238E27FC236}"/>
                </a:extLst>
              </p:cNvPr>
              <p:cNvCxnSpPr/>
              <p:nvPr/>
            </p:nvCxnSpPr>
            <p:spPr>
              <a:xfrm>
                <a:off x="1784141" y="5430101"/>
                <a:ext cx="0" cy="187995"/>
              </a:xfrm>
              <a:prstGeom prst="line">
                <a:avLst/>
              </a:prstGeom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  <p:sp>
          <p:nvSpPr>
            <p:cNvPr id="44" name="107 CuadroTexto"/>
            <p:cNvSpPr txBox="1">
              <a:spLocks noChangeArrowheads="1"/>
            </p:cNvSpPr>
            <p:nvPr/>
          </p:nvSpPr>
          <p:spPr bwMode="auto">
            <a:xfrm>
              <a:off x="5111892" y="2950487"/>
              <a:ext cx="963336" cy="307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JV: Luizaseg</a:t>
              </a:r>
            </a:p>
          </p:txBody>
        </p:sp>
      </p:grpSp>
      <p:grpSp>
        <p:nvGrpSpPr>
          <p:cNvPr id="48" name="111 Grupo"/>
          <p:cNvGrpSpPr>
            <a:grpSpLocks/>
          </p:cNvGrpSpPr>
          <p:nvPr/>
        </p:nvGrpSpPr>
        <p:grpSpPr bwMode="auto">
          <a:xfrm>
            <a:off x="4084638" y="3067050"/>
            <a:ext cx="1116012" cy="817563"/>
            <a:chOff x="4929192" y="1406037"/>
            <a:chExt cx="1318644" cy="1086859"/>
          </a:xfrm>
        </p:grpSpPr>
        <p:grpSp>
          <p:nvGrpSpPr>
            <p:cNvPr id="49" name="112 Grupo"/>
            <p:cNvGrpSpPr>
              <a:grpSpLocks/>
            </p:cNvGrpSpPr>
            <p:nvPr/>
          </p:nvGrpSpPr>
          <p:grpSpPr bwMode="auto">
            <a:xfrm>
              <a:off x="5296264" y="1954742"/>
              <a:ext cx="519385" cy="538154"/>
              <a:chOff x="1507461" y="4676473"/>
              <a:chExt cx="519385" cy="538154"/>
            </a:xfrm>
          </p:grpSpPr>
          <p:sp>
            <p:nvSpPr>
              <p:cNvPr id="51" name="114 Conector">
                <a:extLst>
                  <a:ext uri="{FF2B5EF4-FFF2-40B4-BE49-F238E27FC236}"/>
                </a:extLst>
              </p:cNvPr>
              <p:cNvSpPr/>
              <p:nvPr/>
            </p:nvSpPr>
            <p:spPr>
              <a:xfrm>
                <a:off x="1701234" y="5062678"/>
                <a:ext cx="148184" cy="151949"/>
              </a:xfrm>
              <a:prstGeom prst="flowChartConnector">
                <a:avLst/>
              </a:prstGeom>
              <a:solidFill>
                <a:srgbClr val="FF66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anchor="ctr"/>
              <a:lstStyle/>
              <a:p>
                <a:pPr algn="ctr">
                  <a:defRPr/>
                </a:pPr>
                <a:endParaRPr lang="en-GB" altLang="es-ES" sz="1100">
                  <a:solidFill>
                    <a:srgbClr val="000000"/>
                  </a:solidFill>
                  <a:latin typeface="BNPP Sans" pitchFamily="50" charset="0"/>
                  <a:cs typeface="Arial" pitchFamily="34" charset="0"/>
                </a:endParaRPr>
              </a:p>
            </p:txBody>
          </p:sp>
          <p:sp>
            <p:nvSpPr>
              <p:cNvPr id="52" name="115 CuadroTexto"/>
              <p:cNvSpPr txBox="1">
                <a:spLocks noChangeArrowheads="1"/>
              </p:cNvSpPr>
              <p:nvPr/>
            </p:nvSpPr>
            <p:spPr bwMode="auto">
              <a:xfrm>
                <a:off x="1507461" y="4865779"/>
                <a:ext cx="519385" cy="3068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spcBef>
                    <a:spcPts val="163"/>
                  </a:spcBef>
                  <a:buClr>
                    <a:srgbClr val="008578"/>
                  </a:buClr>
                  <a:buSzPct val="100000"/>
                  <a:defRPr sz="15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ts val="163"/>
                  </a:spcBef>
                  <a:buClr>
                    <a:schemeClr val="accent1"/>
                  </a:buClr>
                  <a:buSzPct val="90000"/>
                  <a:buFont typeface="Wingdings" pitchFamily="2" charset="2"/>
                  <a:buChar char="§"/>
                  <a:defRPr sz="13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ts val="163"/>
                  </a:spcBef>
                  <a:buFont typeface="Wingdings" pitchFamily="2" charset="2"/>
                  <a:buChar char="§"/>
                  <a:defRPr sz="1100">
                    <a:solidFill>
                      <a:schemeClr val="accent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ts val="163"/>
                  </a:spcBef>
                  <a:buFont typeface="Wingdings" pitchFamily="2" charset="2"/>
                  <a:buChar char="§"/>
                  <a:defRPr sz="1000">
                    <a:solidFill>
                      <a:schemeClr val="tx2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ts val="163"/>
                  </a:spcBef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5pPr>
                <a:lvl6pPr marL="25146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6pPr>
                <a:lvl7pPr marL="29718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7pPr>
                <a:lvl8pPr marL="34290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8pPr>
                <a:lvl9pPr marL="38862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</a:pPr>
                <a:r>
                  <a:rPr lang="en-GB" altLang="es-PE" sz="900" b="1">
                    <a:solidFill>
                      <a:srgbClr val="000000"/>
                    </a:solidFill>
                    <a:latin typeface="BNPP Sans" pitchFamily="50" charset="0"/>
                  </a:rPr>
                  <a:t>2016</a:t>
                </a:r>
              </a:p>
            </p:txBody>
          </p:sp>
          <p:cxnSp>
            <p:nvCxnSpPr>
              <p:cNvPr id="53" name="116 Conector recto">
                <a:extLst>
                  <a:ext uri="{FF2B5EF4-FFF2-40B4-BE49-F238E27FC236}"/>
                </a:extLst>
              </p:cNvPr>
              <p:cNvCxnSpPr/>
              <p:nvPr/>
            </p:nvCxnSpPr>
            <p:spPr>
              <a:xfrm>
                <a:off x="1768761" y="4676473"/>
                <a:ext cx="0" cy="189936"/>
              </a:xfrm>
              <a:prstGeom prst="line">
                <a:avLst/>
              </a:prstGeom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  <p:sp>
          <p:nvSpPr>
            <p:cNvPr id="50" name="113 CuadroTexto"/>
            <p:cNvSpPr txBox="1">
              <a:spLocks noChangeArrowheads="1"/>
            </p:cNvSpPr>
            <p:nvPr/>
          </p:nvSpPr>
          <p:spPr bwMode="auto">
            <a:xfrm>
              <a:off x="4929192" y="1406037"/>
              <a:ext cx="1318644" cy="675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Licitación ganada por los próximos 10 años</a:t>
              </a:r>
            </a:p>
          </p:txBody>
        </p:sp>
      </p:grpSp>
      <p:grpSp>
        <p:nvGrpSpPr>
          <p:cNvPr id="54" name="117 Grupo"/>
          <p:cNvGrpSpPr>
            <a:grpSpLocks/>
          </p:cNvGrpSpPr>
          <p:nvPr/>
        </p:nvGrpSpPr>
        <p:grpSpPr bwMode="auto">
          <a:xfrm>
            <a:off x="2255838" y="3779838"/>
            <a:ext cx="947737" cy="750887"/>
            <a:chOff x="6045234" y="2564303"/>
            <a:chExt cx="1120591" cy="996235"/>
          </a:xfrm>
        </p:grpSpPr>
        <p:grpSp>
          <p:nvGrpSpPr>
            <p:cNvPr id="55" name="118 Grupo"/>
            <p:cNvGrpSpPr>
              <a:grpSpLocks/>
            </p:cNvGrpSpPr>
            <p:nvPr/>
          </p:nvGrpSpPr>
          <p:grpSpPr bwMode="auto">
            <a:xfrm>
              <a:off x="6356871" y="2564303"/>
              <a:ext cx="519385" cy="458500"/>
              <a:chOff x="1523381" y="4735634"/>
              <a:chExt cx="519385" cy="458500"/>
            </a:xfrm>
          </p:grpSpPr>
          <p:sp>
            <p:nvSpPr>
              <p:cNvPr id="58" name="121 Conector">
                <a:extLst>
                  <a:ext uri="{FF2B5EF4-FFF2-40B4-BE49-F238E27FC236}"/>
                </a:extLst>
              </p:cNvPr>
              <p:cNvSpPr/>
              <p:nvPr/>
            </p:nvSpPr>
            <p:spPr>
              <a:xfrm>
                <a:off x="1701650" y="4735634"/>
                <a:ext cx="146409" cy="151647"/>
              </a:xfrm>
              <a:prstGeom prst="flowChartConnector">
                <a:avLst/>
              </a:prstGeom>
              <a:solidFill>
                <a:srgbClr val="FF66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anchor="ctr"/>
              <a:lstStyle/>
              <a:p>
                <a:pPr algn="ctr">
                  <a:defRPr/>
                </a:pPr>
                <a:endParaRPr lang="en-GB" altLang="es-ES" sz="1100">
                  <a:solidFill>
                    <a:srgbClr val="000000"/>
                  </a:solidFill>
                  <a:latin typeface="BNPP Sans" pitchFamily="50" charset="0"/>
                  <a:cs typeface="Arial" pitchFamily="34" charset="0"/>
                </a:endParaRPr>
              </a:p>
            </p:txBody>
          </p:sp>
          <p:sp>
            <p:nvSpPr>
              <p:cNvPr id="59" name="122 CuadroTexto"/>
              <p:cNvSpPr txBox="1">
                <a:spLocks noChangeArrowheads="1"/>
              </p:cNvSpPr>
              <p:nvPr/>
            </p:nvSpPr>
            <p:spPr bwMode="auto">
              <a:xfrm>
                <a:off x="1523381" y="4887623"/>
                <a:ext cx="519385" cy="3065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spcBef>
                    <a:spcPts val="163"/>
                  </a:spcBef>
                  <a:buClr>
                    <a:srgbClr val="008578"/>
                  </a:buClr>
                  <a:buSzPct val="100000"/>
                  <a:defRPr sz="15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ts val="163"/>
                  </a:spcBef>
                  <a:buClr>
                    <a:schemeClr val="accent1"/>
                  </a:buClr>
                  <a:buSzPct val="90000"/>
                  <a:buFont typeface="Wingdings" pitchFamily="2" charset="2"/>
                  <a:buChar char="§"/>
                  <a:defRPr sz="13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ts val="163"/>
                  </a:spcBef>
                  <a:buFont typeface="Wingdings" pitchFamily="2" charset="2"/>
                  <a:buChar char="§"/>
                  <a:defRPr sz="1100">
                    <a:solidFill>
                      <a:schemeClr val="accent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ts val="163"/>
                  </a:spcBef>
                  <a:buFont typeface="Wingdings" pitchFamily="2" charset="2"/>
                  <a:buChar char="§"/>
                  <a:defRPr sz="1000">
                    <a:solidFill>
                      <a:schemeClr val="tx2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ts val="163"/>
                  </a:spcBef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5pPr>
                <a:lvl6pPr marL="25146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6pPr>
                <a:lvl7pPr marL="29718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7pPr>
                <a:lvl8pPr marL="34290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8pPr>
                <a:lvl9pPr marL="3886200" indent="-228600" defTabSz="738188" eaLnBrk="0" fontAlgn="base" hangingPunct="0">
                  <a:spcBef>
                    <a:spcPts val="163"/>
                  </a:spcBef>
                  <a:spcAft>
                    <a:spcPct val="0"/>
                  </a:spcAft>
                  <a:defRPr sz="800">
                    <a:solidFill>
                      <a:schemeClr val="tx2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</a:pPr>
                <a:r>
                  <a:rPr lang="en-GB" altLang="es-PE" sz="900" b="1">
                    <a:solidFill>
                      <a:srgbClr val="000000"/>
                    </a:solidFill>
                    <a:latin typeface="BNPP Sans" pitchFamily="50" charset="0"/>
                  </a:rPr>
                  <a:t>2007</a:t>
                </a:r>
              </a:p>
            </p:txBody>
          </p:sp>
        </p:grpSp>
        <p:sp>
          <p:nvSpPr>
            <p:cNvPr id="56" name="119 CuadroTexto"/>
            <p:cNvSpPr txBox="1">
              <a:spLocks noChangeArrowheads="1"/>
            </p:cNvSpPr>
            <p:nvPr/>
          </p:nvSpPr>
          <p:spPr bwMode="auto">
            <a:xfrm>
              <a:off x="6045234" y="3070120"/>
              <a:ext cx="1120591" cy="4904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</a:pPr>
              <a:r>
                <a:rPr lang="en-GB" altLang="es-PE" sz="900">
                  <a:solidFill>
                    <a:srgbClr val="000000"/>
                  </a:solidFill>
                  <a:latin typeface="BNPP Sans" pitchFamily="50" charset="0"/>
                </a:rPr>
                <a:t>Rentas Hospitalarias</a:t>
              </a:r>
            </a:p>
          </p:txBody>
        </p:sp>
        <p:cxnSp>
          <p:nvCxnSpPr>
            <p:cNvPr id="57" name="120 Conector recto">
              <a:extLst>
                <a:ext uri="{FF2B5EF4-FFF2-40B4-BE49-F238E27FC236}"/>
              </a:extLst>
            </p:cNvPr>
            <p:cNvCxnSpPr/>
            <p:nvPr/>
          </p:nvCxnSpPr>
          <p:spPr>
            <a:xfrm>
              <a:off x="6606468" y="2909721"/>
              <a:ext cx="0" cy="189559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60" name="101 Conector">
            <a:extLst>
              <a:ext uri="{FF2B5EF4-FFF2-40B4-BE49-F238E27FC236}"/>
            </a:extLst>
          </p:cNvPr>
          <p:cNvSpPr/>
          <p:nvPr/>
        </p:nvSpPr>
        <p:spPr>
          <a:xfrm>
            <a:off x="5075238" y="3770313"/>
            <a:ext cx="125412" cy="114300"/>
          </a:xfrm>
          <a:prstGeom prst="flowChartConnector">
            <a:avLst/>
          </a:prstGeom>
          <a:solidFill>
            <a:srgbClr val="FF66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algn="ctr">
              <a:defRPr/>
            </a:pPr>
            <a:endParaRPr lang="en-GB" altLang="es-ES" sz="110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61" name="115 CuadroTexto"/>
          <p:cNvSpPr txBox="1">
            <a:spLocks noChangeArrowheads="1"/>
          </p:cNvSpPr>
          <p:nvPr/>
        </p:nvSpPr>
        <p:spPr bwMode="auto">
          <a:xfrm>
            <a:off x="4918075" y="3911600"/>
            <a:ext cx="4397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925" tIns="36963" rIns="73925" bIns="36963">
            <a:spAutoFit/>
          </a:bodyPr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n-GB" altLang="es-PE" sz="900" b="1">
                <a:solidFill>
                  <a:srgbClr val="000000"/>
                </a:solidFill>
                <a:latin typeface="BNPP Sans" pitchFamily="50" charset="0"/>
              </a:rPr>
              <a:t>2026</a:t>
            </a:r>
          </a:p>
        </p:txBody>
      </p:sp>
    </p:spTree>
    <p:extLst>
      <p:ext uri="{BB962C8B-B14F-4D97-AF65-F5344CB8AC3E}">
        <p14:creationId xmlns:p14="http://schemas.microsoft.com/office/powerpoint/2010/main" val="75761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1</a:t>
            </a:fld>
            <a:endParaRPr lang="en-GB" noProof="0" dirty="0"/>
          </a:p>
        </p:txBody>
      </p:sp>
      <p:sp>
        <p:nvSpPr>
          <p:cNvPr id="6" name="Rectangle 19"/>
          <p:cNvSpPr/>
          <p:nvPr/>
        </p:nvSpPr>
        <p:spPr>
          <a:xfrm>
            <a:off x="239362" y="1114994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 fontAlgn="base">
              <a:spcBef>
                <a:spcPct val="0"/>
              </a:spcBef>
              <a:spcAft>
                <a:spcPct val="0"/>
              </a:spcAft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1. BNP PARIBAS</a:t>
            </a:r>
          </a:p>
        </p:txBody>
      </p:sp>
      <p:sp>
        <p:nvSpPr>
          <p:cNvPr id="7" name="Rectangle 19"/>
          <p:cNvSpPr/>
          <p:nvPr/>
        </p:nvSpPr>
        <p:spPr>
          <a:xfrm>
            <a:off x="239362" y="1779662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 fontAlgn="base">
              <a:spcBef>
                <a:spcPct val="0"/>
              </a:spcBef>
              <a:spcAft>
                <a:spcPct val="0"/>
              </a:spcAft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2. BNP PARIBAS CARDIF SEGUROS EN EL MUNDO</a:t>
            </a:r>
            <a:endParaRPr lang="en-US" sz="1400" b="1" kern="0" dirty="0">
              <a:solidFill>
                <a:srgbClr val="000000"/>
              </a:solidFill>
              <a:latin typeface="BNPP Sans" pitchFamily="50" charset="0"/>
              <a:cs typeface="BNPP Sans Light"/>
            </a:endParaRPr>
          </a:p>
        </p:txBody>
      </p:sp>
      <p:sp>
        <p:nvSpPr>
          <p:cNvPr id="8" name="Rectangle 19"/>
          <p:cNvSpPr/>
          <p:nvPr/>
        </p:nvSpPr>
        <p:spPr>
          <a:xfrm>
            <a:off x="239713" y="2427734"/>
            <a:ext cx="4679950" cy="320675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 fontAlgn="base">
              <a:spcBef>
                <a:spcPct val="0"/>
              </a:spcBef>
              <a:spcAft>
                <a:spcPct val="0"/>
              </a:spcAft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chemeClr val="bg1"/>
                </a:solidFill>
                <a:latin typeface="BNPP Sans" pitchFamily="50" charset="0"/>
                <a:cs typeface="BNPP Sans Light"/>
              </a:rPr>
              <a:t>3. </a:t>
            </a:r>
            <a:r>
              <a:rPr lang="en-US" sz="1400" b="1" kern="0" spc="36" dirty="0" smtClean="0">
                <a:solidFill>
                  <a:schemeClr val="bg1"/>
                </a:solidFill>
                <a:latin typeface="BNPP Sans" pitchFamily="50" charset="0"/>
                <a:cs typeface="BNPP Sans Light"/>
              </a:rPr>
              <a:t>CARDIF PERÚ</a:t>
            </a:r>
            <a:endParaRPr lang="en-US" sz="1400" b="1" kern="0" spc="36" dirty="0">
              <a:solidFill>
                <a:schemeClr val="bg1"/>
              </a:solidFill>
              <a:latin typeface="BNPP Sans" pitchFamily="50" charset="0"/>
              <a:cs typeface="BNPP Sans Light"/>
            </a:endParaRPr>
          </a:p>
        </p:txBody>
      </p:sp>
      <p:sp>
        <p:nvSpPr>
          <p:cNvPr id="11" name="Rectangle 19"/>
          <p:cNvSpPr/>
          <p:nvPr/>
        </p:nvSpPr>
        <p:spPr>
          <a:xfrm>
            <a:off x="251520" y="3043431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>
            <a:lvl1pPr marL="9525"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351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3923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495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067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Clr>
                <a:srgbClr val="008851"/>
              </a:buClr>
              <a:defRPr/>
            </a:pPr>
            <a:r>
              <a:rPr lang="en-US" altLang="es-PE" sz="1400" b="1" dirty="0">
                <a:solidFill>
                  <a:srgbClr val="000000"/>
                </a:solidFill>
                <a:latin typeface="BNPP Sans" pitchFamily="50" charset="0"/>
              </a:rPr>
              <a:t>4</a:t>
            </a:r>
            <a:r>
              <a:rPr lang="en-US" altLang="es-PE" sz="1400" b="1" dirty="0" smtClean="0">
                <a:solidFill>
                  <a:srgbClr val="000000"/>
                </a:solidFill>
                <a:latin typeface="BNPP Sans" pitchFamily="50" charset="0"/>
              </a:rPr>
              <a:t>. NEGOCIO FALABELLA - CARDIF</a:t>
            </a:r>
            <a:endParaRPr lang="en-US" altLang="es-PE" sz="1400" b="1" dirty="0">
              <a:solidFill>
                <a:srgbClr val="000000"/>
              </a:solidFill>
              <a:latin typeface="BNPP Sans" pitchFamily="50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0" t="18431" r="47913" b="5507"/>
          <a:stretch>
            <a:fillRect/>
          </a:stretch>
        </p:blipFill>
        <p:spPr bwMode="auto">
          <a:xfrm>
            <a:off x="5724128" y="884907"/>
            <a:ext cx="2376264" cy="3027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744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2</a:t>
            </a:fld>
            <a:endParaRPr lang="en-GB" noProof="0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12" t="26471" r="22357" b="17035"/>
          <a:stretch/>
        </p:blipFill>
        <p:spPr bwMode="auto">
          <a:xfrm>
            <a:off x="827584" y="780058"/>
            <a:ext cx="7488832" cy="3659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2 Rectángulo"/>
          <p:cNvSpPr>
            <a:spLocks noChangeArrowheads="1"/>
          </p:cNvSpPr>
          <p:nvPr/>
        </p:nvSpPr>
        <p:spPr bwMode="auto">
          <a:xfrm>
            <a:off x="251520" y="267494"/>
            <a:ext cx="7804315" cy="4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3945" tIns="36973" rIns="73945" bIns="36973">
            <a:spAutoFit/>
          </a:bodyPr>
          <a:lstStyle>
            <a:lvl1pPr defTabSz="112712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12712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12712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defTabSz="112712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712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712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712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712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712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ES_tradnl" altLang="es-PE" sz="2400" b="1" dirty="0" smtClean="0">
                <a:solidFill>
                  <a:srgbClr val="00915A"/>
                </a:solidFill>
                <a:latin typeface="BNPP Sans" pitchFamily="50" charset="0"/>
                <a:cs typeface="Arial" pitchFamily="34" charset="0"/>
              </a:rPr>
              <a:t>BNP Paribas Cardif: Cobertura regional en Latinoamérica</a:t>
            </a:r>
            <a:endParaRPr lang="es-PE" altLang="es-PE" sz="2400" b="1" dirty="0" smtClean="0">
              <a:solidFill>
                <a:srgbClr val="00915A"/>
              </a:solidFill>
              <a:latin typeface="BNPP Sans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3173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3</a:t>
            </a:fld>
            <a:endParaRPr lang="en-GB" noProof="0" dirty="0"/>
          </a:p>
        </p:txBody>
      </p:sp>
      <p:sp>
        <p:nvSpPr>
          <p:cNvPr id="11" name="Rectángulo: esquinas redondeadas 37">
            <a:extLst>
              <a:ext uri="{FF2B5EF4-FFF2-40B4-BE49-F238E27FC236}"/>
            </a:extLst>
          </p:cNvPr>
          <p:cNvSpPr/>
          <p:nvPr/>
        </p:nvSpPr>
        <p:spPr>
          <a:xfrm>
            <a:off x="7042150" y="2016125"/>
            <a:ext cx="1055688" cy="1851025"/>
          </a:xfrm>
          <a:prstGeom prst="round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Rectángulo: esquinas redondeadas 28">
            <a:extLst>
              <a:ext uri="{FF2B5EF4-FFF2-40B4-BE49-F238E27FC236}"/>
            </a:extLst>
          </p:cNvPr>
          <p:cNvSpPr/>
          <p:nvPr/>
        </p:nvSpPr>
        <p:spPr>
          <a:xfrm>
            <a:off x="6589084" y="3194294"/>
            <a:ext cx="1627904" cy="53657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ángulo: esquinas redondeadas 17">
            <a:extLst>
              <a:ext uri="{FF2B5EF4-FFF2-40B4-BE49-F238E27FC236}"/>
            </a:extLst>
          </p:cNvPr>
          <p:cNvSpPr/>
          <p:nvPr/>
        </p:nvSpPr>
        <p:spPr>
          <a:xfrm>
            <a:off x="4330700" y="1927225"/>
            <a:ext cx="1055688" cy="2373313"/>
          </a:xfrm>
          <a:prstGeom prst="round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2 Rectángulo"/>
          <p:cNvSpPr>
            <a:spLocks noChangeArrowheads="1"/>
          </p:cNvSpPr>
          <p:nvPr/>
        </p:nvSpPr>
        <p:spPr bwMode="auto">
          <a:xfrm>
            <a:off x="395288" y="147638"/>
            <a:ext cx="8023225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3945" tIns="36973" rIns="73945" bIns="36973">
            <a:spAutoFit/>
          </a:bodyPr>
          <a:lstStyle>
            <a:lvl1pPr defTabSz="112712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12712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12712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defTabSz="112712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112712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112712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112712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112712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112712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ES_tradnl" altLang="es-PE" sz="2400" b="1" dirty="0" smtClean="0">
                <a:solidFill>
                  <a:srgbClr val="00915A"/>
                </a:solidFill>
                <a:latin typeface="BNPP Sans" pitchFamily="50" charset="0"/>
                <a:cs typeface="Arial" pitchFamily="34" charset="0"/>
              </a:rPr>
              <a:t>BNP Paribas Cardif Perú: Una compañía líder en bancaseguros</a:t>
            </a:r>
            <a:endParaRPr lang="es-PE" altLang="es-PE" sz="2400" b="1" dirty="0" smtClean="0">
              <a:solidFill>
                <a:srgbClr val="00915A"/>
              </a:solidFill>
              <a:latin typeface="BNPP Sans" pitchFamily="50" charset="0"/>
              <a:cs typeface="Arial" pitchFamily="34" charset="0"/>
            </a:endParaRP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38" t="21478" r="52774" b="21487"/>
          <a:stretch>
            <a:fillRect/>
          </a:stretch>
        </p:blipFill>
        <p:spPr bwMode="auto">
          <a:xfrm>
            <a:off x="611188" y="842963"/>
            <a:ext cx="3097212" cy="370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ángulo: esquinas redondeadas 1">
            <a:extLst>
              <a:ext uri="{FF2B5EF4-FFF2-40B4-BE49-F238E27FC236}"/>
            </a:extLst>
          </p:cNvPr>
          <p:cNvSpPr/>
          <p:nvPr/>
        </p:nvSpPr>
        <p:spPr>
          <a:xfrm>
            <a:off x="4096224" y="2070891"/>
            <a:ext cx="1627904" cy="53657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Rectángulo: esquinas redondeadas 5">
            <a:extLst>
              <a:ext uri="{FF2B5EF4-FFF2-40B4-BE49-F238E27FC236}"/>
            </a:extLst>
          </p:cNvPr>
          <p:cNvSpPr/>
          <p:nvPr/>
        </p:nvSpPr>
        <p:spPr>
          <a:xfrm>
            <a:off x="4096224" y="2751921"/>
            <a:ext cx="1627904" cy="53657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" name="Rectángulo: esquinas redondeadas 6">
            <a:extLst>
              <a:ext uri="{FF2B5EF4-FFF2-40B4-BE49-F238E27FC236}"/>
            </a:extLst>
          </p:cNvPr>
          <p:cNvSpPr/>
          <p:nvPr/>
        </p:nvSpPr>
        <p:spPr>
          <a:xfrm>
            <a:off x="4096224" y="3432951"/>
            <a:ext cx="1627904" cy="53657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" name="CuadroTexto 2"/>
          <p:cNvSpPr txBox="1">
            <a:spLocks noChangeArrowheads="1"/>
          </p:cNvSpPr>
          <p:nvPr/>
        </p:nvSpPr>
        <p:spPr bwMode="auto">
          <a:xfrm>
            <a:off x="4171950" y="2127250"/>
            <a:ext cx="1362075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400" b="1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GWP</a:t>
            </a:r>
          </a:p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400" b="1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 </a:t>
            </a:r>
            <a:r>
              <a:rPr lang="es-PE" altLang="es-PE" sz="140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61 M EUR</a:t>
            </a:r>
          </a:p>
        </p:txBody>
      </p:sp>
      <p:sp>
        <p:nvSpPr>
          <p:cNvPr id="20" name="CuadroTexto 9"/>
          <p:cNvSpPr txBox="1">
            <a:spLocks noChangeArrowheads="1"/>
          </p:cNvSpPr>
          <p:nvPr/>
        </p:nvSpPr>
        <p:spPr bwMode="auto">
          <a:xfrm>
            <a:off x="4254500" y="2795588"/>
            <a:ext cx="136207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400" b="1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Empleados</a:t>
            </a:r>
          </a:p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40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 170</a:t>
            </a:r>
          </a:p>
        </p:txBody>
      </p:sp>
      <p:sp>
        <p:nvSpPr>
          <p:cNvPr id="21" name="CuadroTexto 10"/>
          <p:cNvSpPr txBox="1">
            <a:spLocks noChangeArrowheads="1"/>
          </p:cNvSpPr>
          <p:nvPr/>
        </p:nvSpPr>
        <p:spPr bwMode="auto">
          <a:xfrm>
            <a:off x="4254500" y="3486150"/>
            <a:ext cx="1362075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400" b="1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Pólizas Vigentes</a:t>
            </a:r>
          </a:p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400" b="1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 </a:t>
            </a:r>
            <a:r>
              <a:rPr lang="es-PE" altLang="es-PE" sz="140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4 Millones</a:t>
            </a:r>
          </a:p>
        </p:txBody>
      </p:sp>
      <p:sp>
        <p:nvSpPr>
          <p:cNvPr id="22" name="Rectangle 25"/>
          <p:cNvSpPr>
            <a:spLocks noChangeArrowheads="1"/>
          </p:cNvSpPr>
          <p:nvPr/>
        </p:nvSpPr>
        <p:spPr bwMode="auto">
          <a:xfrm>
            <a:off x="7027863" y="3219822"/>
            <a:ext cx="10239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339966"/>
              </a:buClr>
              <a:buSzTx/>
            </a:pPr>
            <a:r>
              <a:rPr lang="en-GB" altLang="es-PE" sz="1400" b="1" dirty="0" smtClean="0">
                <a:solidFill>
                  <a:srgbClr val="404040"/>
                </a:solidFill>
                <a:latin typeface="BNPP Sans" pitchFamily="50" charset="0"/>
                <a:cs typeface="Arial" pitchFamily="34" charset="0"/>
              </a:rPr>
              <a:t>A (</a:t>
            </a:r>
            <a:r>
              <a:rPr lang="en-GB" altLang="es-PE" sz="1400" b="1" dirty="0" err="1" smtClean="0">
                <a:solidFill>
                  <a:srgbClr val="404040"/>
                </a:solidFill>
                <a:latin typeface="BNPP Sans" pitchFamily="50" charset="0"/>
                <a:cs typeface="Arial" pitchFamily="34" charset="0"/>
              </a:rPr>
              <a:t>Estable</a:t>
            </a:r>
            <a:r>
              <a:rPr lang="en-GB" altLang="es-PE" sz="1400" b="1" dirty="0" smtClean="0">
                <a:solidFill>
                  <a:srgbClr val="404040"/>
                </a:solidFill>
                <a:latin typeface="BNPP Sans" pitchFamily="50" charset="0"/>
                <a:cs typeface="Arial" pitchFamily="34" charset="0"/>
              </a:rPr>
              <a:t>)</a:t>
            </a:r>
          </a:p>
        </p:txBody>
      </p:sp>
      <p:grpSp>
        <p:nvGrpSpPr>
          <p:cNvPr id="23" name="Grupo 11"/>
          <p:cNvGrpSpPr>
            <a:grpSpLocks/>
          </p:cNvGrpSpPr>
          <p:nvPr/>
        </p:nvGrpSpPr>
        <p:grpSpPr bwMode="auto">
          <a:xfrm>
            <a:off x="4232275" y="781050"/>
            <a:ext cx="1235075" cy="1023938"/>
            <a:chOff x="4968098" y="702404"/>
            <a:chExt cx="936000" cy="936000"/>
          </a:xfrm>
        </p:grpSpPr>
        <p:sp>
          <p:nvSpPr>
            <p:cNvPr id="24" name="Elipse 16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968098" y="702404"/>
              <a:ext cx="936000" cy="936000"/>
            </a:xfrm>
            <a:prstGeom prst="ellipse">
              <a:avLst/>
            </a:prstGeom>
            <a:solidFill>
              <a:schemeClr val="accent1"/>
            </a:solidFill>
            <a:ln w="317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 defTabSz="73818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altLang="es-PE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Elipse 8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040283" y="774962"/>
              <a:ext cx="791630" cy="79088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 defTabSz="73818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altLang="es-PE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6" name="Triángulo isósceles 18">
            <a:extLst>
              <a:ext uri="{FF2B5EF4-FFF2-40B4-BE49-F238E27FC236}"/>
            </a:extLst>
          </p:cNvPr>
          <p:cNvSpPr/>
          <p:nvPr/>
        </p:nvSpPr>
        <p:spPr>
          <a:xfrm rot="10800000">
            <a:off x="4710113" y="1757363"/>
            <a:ext cx="277812" cy="212725"/>
          </a:xfrm>
          <a:prstGeom prst="triangle">
            <a:avLst/>
          </a:prstGeom>
          <a:solidFill>
            <a:schemeClr val="accent1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CuadroTexto 19"/>
          <p:cNvSpPr txBox="1">
            <a:spLocks noChangeArrowheads="1"/>
          </p:cNvSpPr>
          <p:nvPr/>
        </p:nvSpPr>
        <p:spPr bwMode="auto">
          <a:xfrm>
            <a:off x="4305300" y="1014413"/>
            <a:ext cx="10541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200" b="1" dirty="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Cifras </a:t>
            </a:r>
          </a:p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200" b="1" dirty="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Clave</a:t>
            </a:r>
          </a:p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200" b="1" dirty="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2017</a:t>
            </a:r>
          </a:p>
        </p:txBody>
      </p:sp>
      <p:sp>
        <p:nvSpPr>
          <p:cNvPr id="28" name="Elipse 20">
            <a:extLst>
              <a:ext uri="{FF2B5EF4-FFF2-40B4-BE49-F238E27FC236}"/>
            </a:extLst>
          </p:cNvPr>
          <p:cNvSpPr/>
          <p:nvPr/>
        </p:nvSpPr>
        <p:spPr>
          <a:xfrm>
            <a:off x="3707904" y="2127119"/>
            <a:ext cx="565137" cy="444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1400" dirty="0">
              <a:solidFill>
                <a:srgbClr val="000000"/>
              </a:solidFill>
            </a:endParaRPr>
          </a:p>
        </p:txBody>
      </p:sp>
      <p:sp>
        <p:nvSpPr>
          <p:cNvPr id="29" name="Elipse 25">
            <a:extLst>
              <a:ext uri="{FF2B5EF4-FFF2-40B4-BE49-F238E27FC236}"/>
            </a:extLst>
          </p:cNvPr>
          <p:cNvSpPr/>
          <p:nvPr/>
        </p:nvSpPr>
        <p:spPr>
          <a:xfrm>
            <a:off x="3707904" y="2787774"/>
            <a:ext cx="565137" cy="444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1400" dirty="0">
              <a:solidFill>
                <a:srgbClr val="000000"/>
              </a:solidFill>
            </a:endParaRPr>
          </a:p>
        </p:txBody>
      </p:sp>
      <p:sp>
        <p:nvSpPr>
          <p:cNvPr id="30" name="Elipse 26">
            <a:extLst>
              <a:ext uri="{FF2B5EF4-FFF2-40B4-BE49-F238E27FC236}"/>
            </a:extLst>
          </p:cNvPr>
          <p:cNvSpPr/>
          <p:nvPr/>
        </p:nvSpPr>
        <p:spPr>
          <a:xfrm>
            <a:off x="3707904" y="3435846"/>
            <a:ext cx="565137" cy="444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1400" dirty="0">
              <a:solidFill>
                <a:srgbClr val="000000"/>
              </a:solidFill>
            </a:endParaRPr>
          </a:p>
        </p:txBody>
      </p:sp>
      <p:sp>
        <p:nvSpPr>
          <p:cNvPr id="31" name="Elipse 27">
            <a:extLst>
              <a:ext uri="{FF2B5EF4-FFF2-40B4-BE49-F238E27FC236}"/>
            </a:extLst>
          </p:cNvPr>
          <p:cNvSpPr/>
          <p:nvPr/>
        </p:nvSpPr>
        <p:spPr>
          <a:xfrm>
            <a:off x="6401772" y="3157514"/>
            <a:ext cx="662138" cy="595674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1400" dirty="0">
              <a:solidFill>
                <a:srgbClr val="000000"/>
              </a:solidFill>
            </a:endParaRPr>
          </a:p>
        </p:txBody>
      </p:sp>
      <p:pic>
        <p:nvPicPr>
          <p:cNvPr id="32" name="Picture 5" descr="https://www.optimaseguros.com.pa/wp-content/uploads/2017/10/PCR-2017-300x18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74506" r="4375" b="952"/>
          <a:stretch>
            <a:fillRect/>
          </a:stretch>
        </p:blipFill>
        <p:spPr bwMode="auto">
          <a:xfrm>
            <a:off x="6438900" y="3368675"/>
            <a:ext cx="560388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ángulo: esquinas redondeadas 29">
            <a:extLst>
              <a:ext uri="{FF2B5EF4-FFF2-40B4-BE49-F238E27FC236}"/>
            </a:extLst>
          </p:cNvPr>
          <p:cNvSpPr/>
          <p:nvPr/>
        </p:nvSpPr>
        <p:spPr>
          <a:xfrm>
            <a:off x="6559512" y="2294909"/>
            <a:ext cx="1627904" cy="53657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6999288" y="2316956"/>
            <a:ext cx="10255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339966"/>
              </a:buClr>
              <a:buSzTx/>
            </a:pPr>
            <a:r>
              <a:rPr lang="en-GB" altLang="es-PE" sz="1400" b="1" dirty="0" smtClean="0">
                <a:solidFill>
                  <a:srgbClr val="404040"/>
                </a:solidFill>
                <a:latin typeface="BNPP Sans" pitchFamily="50" charset="0"/>
                <a:cs typeface="Arial" pitchFamily="34" charset="0"/>
              </a:rPr>
              <a:t>A (</a:t>
            </a:r>
            <a:r>
              <a:rPr lang="en-GB" altLang="es-PE" sz="1400" b="1" dirty="0" err="1" smtClean="0">
                <a:solidFill>
                  <a:srgbClr val="404040"/>
                </a:solidFill>
                <a:latin typeface="BNPP Sans" pitchFamily="50" charset="0"/>
                <a:cs typeface="Arial" pitchFamily="34" charset="0"/>
              </a:rPr>
              <a:t>Estable</a:t>
            </a:r>
            <a:r>
              <a:rPr lang="en-GB" altLang="es-PE" sz="1400" b="1" dirty="0" smtClean="0">
                <a:solidFill>
                  <a:srgbClr val="404040"/>
                </a:solidFill>
                <a:latin typeface="BNPP Sans" pitchFamily="50" charset="0"/>
                <a:cs typeface="Arial" pitchFamily="34" charset="0"/>
              </a:rPr>
              <a:t>)</a:t>
            </a:r>
          </a:p>
        </p:txBody>
      </p:sp>
      <p:sp>
        <p:nvSpPr>
          <p:cNvPr id="35" name="Elipse 31">
            <a:extLst>
              <a:ext uri="{FF2B5EF4-FFF2-40B4-BE49-F238E27FC236}"/>
            </a:extLst>
          </p:cNvPr>
          <p:cNvSpPr/>
          <p:nvPr/>
        </p:nvSpPr>
        <p:spPr>
          <a:xfrm>
            <a:off x="6372200" y="2258129"/>
            <a:ext cx="662138" cy="595674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6" name="Imagen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5" t="40196" r="55612" b="45270"/>
          <a:stretch>
            <a:fillRect/>
          </a:stretch>
        </p:blipFill>
        <p:spPr bwMode="auto">
          <a:xfrm>
            <a:off x="6437313" y="2465388"/>
            <a:ext cx="546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7" descr="https://image.flaticon.com/icons/png/512/216/216458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2700" y="2195513"/>
            <a:ext cx="2619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9" descr="https://www.remichel.com/WebServices/Content/Web-Images/team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125" y="2846388"/>
            <a:ext cx="392113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11" descr="https://cdn4.iconfinder.com/data/icons/documents-6/512/notarized-document-file-legal-paper-notary-512.png">
            <a:extLst>
              <a:ext uri="{FF2B5EF4-FFF2-40B4-BE49-F238E27FC236}"/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7625" y="3502724"/>
            <a:ext cx="310244" cy="310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0" name="Grupo 38"/>
          <p:cNvGrpSpPr>
            <a:grpSpLocks/>
          </p:cNvGrpSpPr>
          <p:nvPr/>
        </p:nvGrpSpPr>
        <p:grpSpPr bwMode="auto">
          <a:xfrm>
            <a:off x="6911975" y="739775"/>
            <a:ext cx="1255713" cy="1131888"/>
            <a:chOff x="4968098" y="702404"/>
            <a:chExt cx="936000" cy="936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1" name="Elipse 39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968098" y="702404"/>
              <a:ext cx="936000" cy="936000"/>
            </a:xfrm>
            <a:prstGeom prst="ellipse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 defTabSz="73818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altLang="es-PE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Elipse 40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040280" y="774606"/>
              <a:ext cx="791635" cy="791595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 defTabSz="73818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altLang="es-PE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030" y="1405040"/>
            <a:ext cx="377825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CuadroTexto 36"/>
          <p:cNvSpPr txBox="1">
            <a:spLocks noChangeArrowheads="1"/>
          </p:cNvSpPr>
          <p:nvPr/>
        </p:nvSpPr>
        <p:spPr bwMode="auto">
          <a:xfrm>
            <a:off x="7016750" y="1032695"/>
            <a:ext cx="10541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150" b="1" dirty="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Clasificación </a:t>
            </a:r>
          </a:p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150" b="1" dirty="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de Riesgo</a:t>
            </a:r>
          </a:p>
        </p:txBody>
      </p:sp>
      <p:sp>
        <p:nvSpPr>
          <p:cNvPr id="45" name="Triángulo isósceles 41">
            <a:extLst>
              <a:ext uri="{FF2B5EF4-FFF2-40B4-BE49-F238E27FC236}"/>
            </a:extLst>
          </p:cNvPr>
          <p:cNvSpPr/>
          <p:nvPr/>
        </p:nvSpPr>
        <p:spPr>
          <a:xfrm rot="10800000">
            <a:off x="7431088" y="1825625"/>
            <a:ext cx="277812" cy="214313"/>
          </a:xfrm>
          <a:prstGeom prst="triangle">
            <a:avLst/>
          </a:prstGeom>
          <a:solidFill>
            <a:schemeClr val="accent1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endParaRPr lang="es-PE" altLang="es-PE" sz="140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2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4</a:t>
            </a:fld>
            <a:endParaRPr lang="en-GB" noProof="0" dirty="0"/>
          </a:p>
        </p:txBody>
      </p:sp>
      <p:sp>
        <p:nvSpPr>
          <p:cNvPr id="7" name="6 Rectángulo"/>
          <p:cNvSpPr/>
          <p:nvPr/>
        </p:nvSpPr>
        <p:spPr>
          <a:xfrm>
            <a:off x="6732588" y="846138"/>
            <a:ext cx="2232025" cy="370363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s-PE" sz="1400" dirty="0">
              <a:solidFill>
                <a:srgbClr val="000000"/>
              </a:solidFill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2987675" y="842963"/>
            <a:ext cx="3654425" cy="2065337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s-PE" sz="1400" dirty="0">
              <a:solidFill>
                <a:srgbClr val="000000"/>
              </a:solidFill>
            </a:endParaRPr>
          </a:p>
        </p:txBody>
      </p:sp>
      <p:pic>
        <p:nvPicPr>
          <p:cNvPr id="9" name="132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292" y="2270035"/>
            <a:ext cx="576262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133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584" y="2631037"/>
            <a:ext cx="729569" cy="22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135 Imagen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7988" y="1152474"/>
            <a:ext cx="825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136 Image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7088" y="1870604"/>
            <a:ext cx="594280" cy="299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137 Imagen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1525" y="2323271"/>
            <a:ext cx="468312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138 Imagen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7105" y="1523965"/>
            <a:ext cx="782637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139 Imagen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3467" y="1930083"/>
            <a:ext cx="612775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142 Imagen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92" b="33017"/>
          <a:stretch>
            <a:fillRect/>
          </a:stretch>
        </p:blipFill>
        <p:spPr bwMode="auto">
          <a:xfrm>
            <a:off x="7157927" y="3530452"/>
            <a:ext cx="4127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143 Imagen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289" y="3467100"/>
            <a:ext cx="584199" cy="278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147 Imagen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2763" y="3422395"/>
            <a:ext cx="340409" cy="27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6" descr="Resultado de imagen para innovation icon 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963" y="3903663"/>
            <a:ext cx="288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19 Rectángulo"/>
          <p:cNvSpPr/>
          <p:nvPr/>
        </p:nvSpPr>
        <p:spPr>
          <a:xfrm>
            <a:off x="34925" y="3849688"/>
            <a:ext cx="1728788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s-PE" sz="1000" b="1" dirty="0">
                <a:solidFill>
                  <a:srgbClr val="00915A"/>
                </a:solidFill>
                <a:latin typeface="BNPP Sans" pitchFamily="50" charset="0"/>
                <a:cs typeface="Arial" pitchFamily="34" charset="0"/>
              </a:rPr>
              <a:t>Innovación en productos</a:t>
            </a:r>
          </a:p>
          <a:p>
            <a:pPr>
              <a:defRPr/>
            </a:pPr>
            <a:r>
              <a:rPr lang="es-PE" sz="900" dirty="0">
                <a:solidFill>
                  <a:srgbClr val="00915A"/>
                </a:solidFill>
                <a:latin typeface="BNPP Sans" pitchFamily="50" charset="0"/>
                <a:cs typeface="Arial" pitchFamily="34" charset="0"/>
              </a:rPr>
              <a:t>Primera iniciativa de venta de seguros por ATM </a:t>
            </a:r>
          </a:p>
        </p:txBody>
      </p:sp>
      <p:sp>
        <p:nvSpPr>
          <p:cNvPr id="21" name="20 CuadroTexto"/>
          <p:cNvSpPr txBox="1"/>
          <p:nvPr/>
        </p:nvSpPr>
        <p:spPr>
          <a:xfrm>
            <a:off x="107950" y="2595563"/>
            <a:ext cx="1655763" cy="4079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>
              <a:defRPr/>
            </a:pPr>
            <a:r>
              <a:rPr lang="es-PE" sz="1000" b="1" dirty="0">
                <a:solidFill>
                  <a:srgbClr val="00915A"/>
                </a:solidFill>
                <a:latin typeface="BNPP Sans" pitchFamily="50" charset="0"/>
                <a:cs typeface="Arial" pitchFamily="34" charset="0"/>
              </a:rPr>
              <a:t>Bancos y Financieras</a:t>
            </a:r>
          </a:p>
          <a:p>
            <a:pPr>
              <a:defRPr/>
            </a:pPr>
            <a:r>
              <a:rPr lang="es-PE" sz="900" dirty="0">
                <a:solidFill>
                  <a:srgbClr val="00915A"/>
                </a:solidFill>
                <a:latin typeface="BNPP Sans" pitchFamily="50" charset="0"/>
                <a:cs typeface="Arial" pitchFamily="34" charset="0"/>
              </a:rPr>
              <a:t>Principal comercializador de seguros de desempleo</a:t>
            </a:r>
          </a:p>
          <a:p>
            <a:pPr>
              <a:defRPr/>
            </a:pPr>
            <a:endParaRPr lang="es-PE" sz="1000" dirty="0">
              <a:solidFill>
                <a:srgbClr val="00915A"/>
              </a:solidFill>
              <a:latin typeface="BNPP Sans" pitchFamily="50" charset="0"/>
              <a:cs typeface="Arial" pitchFamily="34" charset="0"/>
            </a:endParaRPr>
          </a:p>
          <a:p>
            <a:pPr algn="ctr">
              <a:defRPr/>
            </a:pPr>
            <a:endParaRPr lang="es-PE" sz="1000" dirty="0">
              <a:solidFill>
                <a:srgbClr val="00915A"/>
              </a:solidFill>
              <a:latin typeface="BNPP Sans" pitchFamily="50" charset="0"/>
              <a:cs typeface="Arial" pitchFamily="34" charset="0"/>
            </a:endParaRPr>
          </a:p>
        </p:txBody>
      </p:sp>
      <p:pic>
        <p:nvPicPr>
          <p:cNvPr id="22" name="8201 Imagen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2663" y="2690813"/>
            <a:ext cx="2159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76 Rectángulo"/>
          <p:cNvSpPr/>
          <p:nvPr/>
        </p:nvSpPr>
        <p:spPr>
          <a:xfrm>
            <a:off x="33338" y="822325"/>
            <a:ext cx="2882900" cy="372745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s-PE" sz="1400" dirty="0">
              <a:solidFill>
                <a:srgbClr val="000000"/>
              </a:solidFill>
            </a:endParaRPr>
          </a:p>
        </p:txBody>
      </p:sp>
      <p:sp>
        <p:nvSpPr>
          <p:cNvPr id="24" name="23 CuadroTexto"/>
          <p:cNvSpPr txBox="1"/>
          <p:nvPr/>
        </p:nvSpPr>
        <p:spPr>
          <a:xfrm>
            <a:off x="3059113" y="766763"/>
            <a:ext cx="1908175" cy="1095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/>
          <a:p>
            <a:pPr marL="88900">
              <a:defRPr/>
            </a:pPr>
            <a:r>
              <a:rPr lang="es-PE" sz="1200" b="1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Evolución del negocio</a:t>
            </a:r>
          </a:p>
        </p:txBody>
      </p:sp>
      <p:sp>
        <p:nvSpPr>
          <p:cNvPr id="25" name="24 CuadroTexto"/>
          <p:cNvSpPr txBox="1"/>
          <p:nvPr/>
        </p:nvSpPr>
        <p:spPr>
          <a:xfrm>
            <a:off x="6834188" y="714375"/>
            <a:ext cx="1403350" cy="21590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/>
          <a:p>
            <a:pPr marL="88900">
              <a:defRPr/>
            </a:pPr>
            <a:r>
              <a:rPr lang="es-PE" sz="1200" b="1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Principales Socios</a:t>
            </a:r>
          </a:p>
        </p:txBody>
      </p:sp>
      <p:grpSp>
        <p:nvGrpSpPr>
          <p:cNvPr id="26" name="13 Grupo"/>
          <p:cNvGrpSpPr>
            <a:grpSpLocks/>
          </p:cNvGrpSpPr>
          <p:nvPr/>
        </p:nvGrpSpPr>
        <p:grpSpPr bwMode="auto">
          <a:xfrm>
            <a:off x="107950" y="2077721"/>
            <a:ext cx="1997579" cy="261610"/>
            <a:chOff x="-75523" y="2273656"/>
            <a:chExt cx="1997984" cy="348378"/>
          </a:xfrm>
        </p:grpSpPr>
        <p:sp>
          <p:nvSpPr>
            <p:cNvPr id="27" name="CuadroTexto 46"/>
            <p:cNvSpPr txBox="1">
              <a:spLocks noChangeArrowheads="1"/>
            </p:cNvSpPr>
            <p:nvPr/>
          </p:nvSpPr>
          <p:spPr bwMode="auto">
            <a:xfrm>
              <a:off x="-75523" y="2350030"/>
              <a:ext cx="1407441" cy="2646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1935163" indent="1588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392363" indent="1588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2849563" indent="1588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306763" indent="1588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CL" altLang="es-PE" sz="1100" b="1" dirty="0" smtClean="0">
                  <a:solidFill>
                    <a:srgbClr val="2B8A54"/>
                  </a:solidFill>
                  <a:latin typeface="BNPP Sans" pitchFamily="50" charset="0"/>
                </a:rPr>
                <a:t>Fraude y Robo</a:t>
              </a:r>
              <a:endParaRPr lang="es-ES" altLang="es-PE" sz="1100" b="1" dirty="0" smtClean="0">
                <a:solidFill>
                  <a:srgbClr val="2B8A54"/>
                </a:solidFill>
                <a:latin typeface="BNPP Sans" pitchFamily="50" charset="0"/>
              </a:endParaRPr>
            </a:p>
          </p:txBody>
        </p:sp>
        <p:sp>
          <p:nvSpPr>
            <p:cNvPr id="28" name="27 Rectángulo"/>
            <p:cNvSpPr/>
            <p:nvPr/>
          </p:nvSpPr>
          <p:spPr>
            <a:xfrm>
              <a:off x="1410678" y="2273656"/>
              <a:ext cx="511783" cy="3483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s-CL" sz="1100" b="1" kern="0" dirty="0" smtClean="0">
                  <a:solidFill>
                    <a:srgbClr val="2B8A54"/>
                  </a:solidFill>
                  <a:latin typeface="BNPP Sans" pitchFamily="50" charset="0"/>
                  <a:cs typeface="BNPP Sans"/>
                </a:rPr>
                <a:t>27%*</a:t>
              </a:r>
              <a:endParaRPr lang="es-PE" sz="110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endParaRPr>
            </a:p>
          </p:txBody>
        </p:sp>
      </p:grpSp>
      <p:sp>
        <p:nvSpPr>
          <p:cNvPr id="29" name="CuadroTexto 42"/>
          <p:cNvSpPr txBox="1">
            <a:spLocks noChangeArrowheads="1"/>
          </p:cNvSpPr>
          <p:nvPr/>
        </p:nvSpPr>
        <p:spPr bwMode="auto">
          <a:xfrm>
            <a:off x="107950" y="1612900"/>
            <a:ext cx="151130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eaLnBrk="0" hangingPunct="0"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eaLnBrk="0" hangingPunct="0"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eaLnBrk="0" hangingPunct="0"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35163" indent="15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392363" indent="15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49563" indent="15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06763" indent="15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CL" altLang="es-PE" sz="1100" b="1" dirty="0" smtClean="0">
                <a:solidFill>
                  <a:srgbClr val="2B8A54"/>
                </a:solidFill>
                <a:latin typeface="BNPP Sans" pitchFamily="50" charset="0"/>
              </a:rPr>
              <a:t>Desempleo </a:t>
            </a:r>
            <a:endParaRPr lang="es-ES" altLang="es-PE" sz="1100" b="1" dirty="0" smtClean="0">
              <a:solidFill>
                <a:srgbClr val="2B8A54"/>
              </a:solidFill>
              <a:latin typeface="BNPP Sans" pitchFamily="50" charset="0"/>
            </a:endParaRPr>
          </a:p>
        </p:txBody>
      </p:sp>
      <p:sp>
        <p:nvSpPr>
          <p:cNvPr id="30" name="29 Rectángulo"/>
          <p:cNvSpPr/>
          <p:nvPr/>
        </p:nvSpPr>
        <p:spPr>
          <a:xfrm>
            <a:off x="1593850" y="1616075"/>
            <a:ext cx="447675" cy="2619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CL" sz="1100" b="1" kern="0" dirty="0">
                <a:solidFill>
                  <a:srgbClr val="2B8A54"/>
                </a:solidFill>
                <a:latin typeface="BNPP Sans" pitchFamily="50" charset="0"/>
                <a:cs typeface="BNPP Sans"/>
              </a:rPr>
              <a:t>45%</a:t>
            </a:r>
            <a:endParaRPr lang="es-PE" sz="110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grpSp>
        <p:nvGrpSpPr>
          <p:cNvPr id="31" name="10 Grupo"/>
          <p:cNvGrpSpPr>
            <a:grpSpLocks/>
          </p:cNvGrpSpPr>
          <p:nvPr/>
        </p:nvGrpSpPr>
        <p:grpSpPr bwMode="auto">
          <a:xfrm>
            <a:off x="107950" y="1028700"/>
            <a:ext cx="1970088" cy="261938"/>
            <a:chOff x="-37278" y="4366070"/>
            <a:chExt cx="1970630" cy="348813"/>
          </a:xfrm>
        </p:grpSpPr>
        <p:sp>
          <p:nvSpPr>
            <p:cNvPr id="32" name="CuadroTexto 58"/>
            <p:cNvSpPr txBox="1">
              <a:spLocks noChangeArrowheads="1"/>
            </p:cNvSpPr>
            <p:nvPr/>
          </p:nvSpPr>
          <p:spPr bwMode="auto">
            <a:xfrm>
              <a:off x="-37278" y="4396843"/>
              <a:ext cx="1512168" cy="2562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eaLnBrk="0" hangingPunct="0"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1935163" indent="1588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392363" indent="1588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2849563" indent="1588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306763" indent="1588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CL" altLang="es-PE" sz="1100" b="1" smtClean="0">
                  <a:solidFill>
                    <a:srgbClr val="2B8A54"/>
                  </a:solidFill>
                  <a:latin typeface="BNPP Sans" pitchFamily="50" charset="0"/>
                </a:rPr>
                <a:t>Garantía Extendida</a:t>
              </a:r>
              <a:endParaRPr lang="es-ES" altLang="es-PE" sz="1100" b="1" smtClean="0">
                <a:solidFill>
                  <a:srgbClr val="2B8A54"/>
                </a:solidFill>
                <a:latin typeface="BNPP Sans" pitchFamily="50" charset="0"/>
              </a:endParaRPr>
            </a:p>
          </p:txBody>
        </p:sp>
        <p:sp>
          <p:nvSpPr>
            <p:cNvPr id="33" name="32 Rectángulo"/>
            <p:cNvSpPr/>
            <p:nvPr/>
          </p:nvSpPr>
          <p:spPr>
            <a:xfrm>
              <a:off x="1485554" y="4366070"/>
              <a:ext cx="447798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s-CL" sz="1100" b="1" kern="0" dirty="0">
                  <a:solidFill>
                    <a:srgbClr val="2B8A54"/>
                  </a:solidFill>
                  <a:latin typeface="BNPP Sans" pitchFamily="50" charset="0"/>
                  <a:cs typeface="BNPP Sans"/>
                </a:rPr>
                <a:t>89%</a:t>
              </a:r>
              <a:endParaRPr lang="es-PE" sz="110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endParaRPr>
            </a:p>
          </p:txBody>
        </p:sp>
      </p:grpSp>
      <p:sp>
        <p:nvSpPr>
          <p:cNvPr id="34" name="33 CuadroTexto"/>
          <p:cNvSpPr txBox="1"/>
          <p:nvPr/>
        </p:nvSpPr>
        <p:spPr>
          <a:xfrm>
            <a:off x="107950" y="3227388"/>
            <a:ext cx="1857375" cy="358775"/>
          </a:xfrm>
          <a:prstGeom prst="rect">
            <a:avLst/>
          </a:prstGeom>
          <a:noFill/>
        </p:spPr>
        <p:txBody>
          <a:bodyPr lIns="0" tIns="0" rIns="0" bIns="0"/>
          <a:lstStyle>
            <a:defPPr>
              <a:defRPr lang="fr-FR"/>
            </a:defPPr>
            <a:lvl1pPr>
              <a:defRPr sz="1000" b="1">
                <a:latin typeface="BNPP Sans" pitchFamily="50" charset="0"/>
              </a:defRPr>
            </a:lvl1pPr>
          </a:lstStyle>
          <a:p>
            <a:pPr>
              <a:defRPr/>
            </a:pPr>
            <a:r>
              <a:rPr lang="es-PE" dirty="0" err="1">
                <a:solidFill>
                  <a:srgbClr val="00915A"/>
                </a:solidFill>
                <a:cs typeface="Arial" pitchFamily="34" charset="0"/>
              </a:rPr>
              <a:t>Retail</a:t>
            </a:r>
            <a:endParaRPr lang="es-PE" dirty="0">
              <a:solidFill>
                <a:srgbClr val="00915A"/>
              </a:solidFill>
              <a:cs typeface="Arial" pitchFamily="34" charset="0"/>
            </a:endParaRPr>
          </a:p>
          <a:p>
            <a:pPr>
              <a:defRPr/>
            </a:pPr>
            <a:r>
              <a:rPr lang="es-PE" sz="900" b="0" dirty="0" smtClean="0">
                <a:solidFill>
                  <a:srgbClr val="00915A"/>
                </a:solidFill>
                <a:cs typeface="Arial" pitchFamily="34" charset="0"/>
              </a:rPr>
              <a:t>Principal oferta de Garantía Extendida</a:t>
            </a:r>
            <a:endParaRPr lang="es-PE" dirty="0">
              <a:solidFill>
                <a:srgbClr val="00915A"/>
              </a:solidFill>
              <a:cs typeface="Arial" pitchFamily="34" charset="0"/>
            </a:endParaRPr>
          </a:p>
          <a:p>
            <a:pPr>
              <a:defRPr/>
            </a:pPr>
            <a:endParaRPr lang="es-PE" dirty="0">
              <a:solidFill>
                <a:srgbClr val="00915A"/>
              </a:solidFill>
              <a:cs typeface="Arial" pitchFamily="34" charset="0"/>
            </a:endParaRPr>
          </a:p>
        </p:txBody>
      </p:sp>
      <p:pic>
        <p:nvPicPr>
          <p:cNvPr id="35" name="158 Imagen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1713" y="3257550"/>
            <a:ext cx="215900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35 CuadroTexto"/>
          <p:cNvSpPr txBox="1"/>
          <p:nvPr/>
        </p:nvSpPr>
        <p:spPr>
          <a:xfrm>
            <a:off x="179388" y="123825"/>
            <a:ext cx="5495925" cy="2159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>
              <a:defRPr/>
            </a:pPr>
            <a:r>
              <a:rPr lang="es-PE" sz="2400" b="1" dirty="0" err="1">
                <a:solidFill>
                  <a:srgbClr val="339966"/>
                </a:solidFill>
                <a:latin typeface="BNPP Sans" pitchFamily="50" charset="0"/>
                <a:cs typeface="Arial" pitchFamily="34" charset="0"/>
              </a:rPr>
              <a:t>Cardif</a:t>
            </a:r>
            <a:r>
              <a:rPr lang="es-PE" sz="2400" b="1" dirty="0">
                <a:solidFill>
                  <a:srgbClr val="339966"/>
                </a:solidFill>
                <a:latin typeface="BNPP Sans" pitchFamily="50" charset="0"/>
                <a:cs typeface="Arial" pitchFamily="34" charset="0"/>
              </a:rPr>
              <a:t> </a:t>
            </a:r>
            <a:r>
              <a:rPr lang="es-PE" sz="2400" b="1" dirty="0" err="1">
                <a:solidFill>
                  <a:srgbClr val="339966"/>
                </a:solidFill>
                <a:latin typeface="BNPP Sans" pitchFamily="50" charset="0"/>
                <a:cs typeface="Arial" pitchFamily="34" charset="0"/>
              </a:rPr>
              <a:t>Peru</a:t>
            </a:r>
            <a:r>
              <a:rPr lang="es-PE" sz="2400" b="1" dirty="0">
                <a:solidFill>
                  <a:srgbClr val="339966"/>
                </a:solidFill>
                <a:latin typeface="BNPP Sans" pitchFamily="50" charset="0"/>
                <a:cs typeface="Arial" pitchFamily="34" charset="0"/>
              </a:rPr>
              <a:t> Overview</a:t>
            </a:r>
          </a:p>
        </p:txBody>
      </p: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5" y="3054315"/>
            <a:ext cx="832074" cy="328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5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56" b="26416"/>
          <a:stretch>
            <a:fillRect/>
          </a:stretch>
        </p:blipFill>
        <p:spPr bwMode="auto">
          <a:xfrm>
            <a:off x="6762750" y="1142729"/>
            <a:ext cx="126523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8861" y="1516028"/>
            <a:ext cx="661988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 descr="Resultado de imagen para credit card icon 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2338" y="2049463"/>
            <a:ext cx="407987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" name="Group 10"/>
          <p:cNvGrpSpPr>
            <a:grpSpLocks/>
          </p:cNvGrpSpPr>
          <p:nvPr/>
        </p:nvGrpSpPr>
        <p:grpSpPr bwMode="auto">
          <a:xfrm>
            <a:off x="2206625" y="968375"/>
            <a:ext cx="395288" cy="247650"/>
            <a:chOff x="667226" y="1334864"/>
            <a:chExt cx="394968" cy="330662"/>
          </a:xfrm>
        </p:grpSpPr>
        <p:sp>
          <p:nvSpPr>
            <p:cNvPr id="42" name="Oval 9"/>
            <p:cNvSpPr/>
            <p:nvPr/>
          </p:nvSpPr>
          <p:spPr>
            <a:xfrm>
              <a:off x="667226" y="1334864"/>
              <a:ext cx="394968" cy="330662"/>
            </a:xfrm>
            <a:prstGeom prst="ellipse">
              <a:avLst/>
            </a:prstGeom>
            <a:solidFill>
              <a:srgbClr val="FFFFFF"/>
            </a:solidFill>
            <a:ln w="3175" cap="flat" cmpd="sng" algn="ctr">
              <a:noFill/>
              <a:prstDash val="solid"/>
            </a:ln>
            <a:effectLst/>
          </p:spPr>
          <p:txBody>
            <a:bodyPr tIns="90000" bIns="90000" anchor="ctr"/>
            <a:lstStyle/>
            <a:p>
              <a:pPr algn="ctr">
                <a:defRPr/>
              </a:pPr>
              <a:endParaRPr lang="en-US" sz="1400" kern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grpSp>
          <p:nvGrpSpPr>
            <p:cNvPr id="43" name="Group 143"/>
            <p:cNvGrpSpPr/>
            <p:nvPr>
              <p:custDataLst>
                <p:tags r:id="rId3"/>
              </p:custDataLst>
            </p:nvPr>
          </p:nvGrpSpPr>
          <p:grpSpPr>
            <a:xfrm>
              <a:off x="674303" y="1375513"/>
              <a:ext cx="311751" cy="285969"/>
              <a:chOff x="5748973" y="3356708"/>
              <a:chExt cx="1098550" cy="1007697"/>
            </a:xfrm>
            <a:solidFill>
              <a:srgbClr val="00915A"/>
            </a:solidFill>
          </p:grpSpPr>
          <p:sp>
            <p:nvSpPr>
              <p:cNvPr id="44" name="Text Box 217"/>
              <p:cNvSpPr txBox="1">
                <a:spLocks noChangeArrowheads="1"/>
              </p:cNvSpPr>
              <p:nvPr/>
            </p:nvSpPr>
            <p:spPr bwMode="auto">
              <a:xfrm>
                <a:off x="6132680" y="3356708"/>
                <a:ext cx="299383" cy="86763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FF9933"/>
                    </a:solidFill>
                    <a:miter lim="800000"/>
                    <a:headEnd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algn="ctr" eaLnBrk="0" hangingPunct="0">
                  <a:defRPr/>
                </a:pPr>
                <a:r>
                  <a:rPr lang="en-GB" sz="1200" b="1" kern="0" dirty="0">
                    <a:solidFill>
                      <a:srgbClr val="00915A"/>
                    </a:solidFill>
                    <a:ea typeface="KaiTi" panose="02010609060101010101" pitchFamily="49" charset="-122"/>
                    <a:cs typeface="Arial" charset="0"/>
                  </a:rPr>
                  <a:t>1</a:t>
                </a:r>
              </a:p>
            </p:txBody>
          </p:sp>
          <p:grpSp>
            <p:nvGrpSpPr>
              <p:cNvPr id="45" name="Group 219"/>
              <p:cNvGrpSpPr>
                <a:grpSpLocks/>
              </p:cNvGrpSpPr>
              <p:nvPr/>
            </p:nvGrpSpPr>
            <p:grpSpPr bwMode="auto">
              <a:xfrm>
                <a:off x="5748973" y="3400793"/>
                <a:ext cx="498475" cy="963612"/>
                <a:chOff x="708" y="1507"/>
                <a:chExt cx="324" cy="626"/>
              </a:xfrm>
              <a:grpFill/>
            </p:grpSpPr>
            <p:sp>
              <p:nvSpPr>
                <p:cNvPr id="65" name="Freeform 220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1907 w 5540"/>
                    <a:gd name="T1" fmla="*/ 8486 h 8668"/>
                    <a:gd name="T2" fmla="*/ 1615 w 5540"/>
                    <a:gd name="T3" fmla="*/ 8247 h 8668"/>
                    <a:gd name="T4" fmla="*/ 1345 w 5540"/>
                    <a:gd name="T5" fmla="*/ 7994 h 8668"/>
                    <a:gd name="T6" fmla="*/ 1096 w 5540"/>
                    <a:gd name="T7" fmla="*/ 7730 h 8668"/>
                    <a:gd name="T8" fmla="*/ 870 w 5540"/>
                    <a:gd name="T9" fmla="*/ 7454 h 8668"/>
                    <a:gd name="T10" fmla="*/ 668 w 5540"/>
                    <a:gd name="T11" fmla="*/ 7168 h 8668"/>
                    <a:gd name="T12" fmla="*/ 745 w 5540"/>
                    <a:gd name="T13" fmla="*/ 6969 h 8668"/>
                    <a:gd name="T14" fmla="*/ 931 w 5540"/>
                    <a:gd name="T15" fmla="*/ 7250 h 8668"/>
                    <a:gd name="T16" fmla="*/ 1141 w 5540"/>
                    <a:gd name="T17" fmla="*/ 7521 h 8668"/>
                    <a:gd name="T18" fmla="*/ 1372 w 5540"/>
                    <a:gd name="T19" fmla="*/ 7781 h 8668"/>
                    <a:gd name="T20" fmla="*/ 1627 w 5540"/>
                    <a:gd name="T21" fmla="*/ 8031 h 8668"/>
                    <a:gd name="T22" fmla="*/ 1902 w 5540"/>
                    <a:gd name="T23" fmla="*/ 8268 h 8668"/>
                    <a:gd name="T24" fmla="*/ 2195 w 5540"/>
                    <a:gd name="T25" fmla="*/ 8493 h 8668"/>
                    <a:gd name="T26" fmla="*/ 493 w 5540"/>
                    <a:gd name="T27" fmla="*/ 6876 h 8668"/>
                    <a:gd name="T28" fmla="*/ 346 w 5540"/>
                    <a:gd name="T29" fmla="*/ 6581 h 8668"/>
                    <a:gd name="T30" fmla="*/ 224 w 5540"/>
                    <a:gd name="T31" fmla="*/ 6279 h 8668"/>
                    <a:gd name="T32" fmla="*/ 127 w 5540"/>
                    <a:gd name="T33" fmla="*/ 5968 h 8668"/>
                    <a:gd name="T34" fmla="*/ 57 w 5540"/>
                    <a:gd name="T35" fmla="*/ 5651 h 8668"/>
                    <a:gd name="T36" fmla="*/ 15 w 5540"/>
                    <a:gd name="T37" fmla="*/ 5328 h 8668"/>
                    <a:gd name="T38" fmla="*/ 0 w 5540"/>
                    <a:gd name="T39" fmla="*/ 5000 h 8668"/>
                    <a:gd name="T40" fmla="*/ 182 w 5540"/>
                    <a:gd name="T41" fmla="*/ 5253 h 8668"/>
                    <a:gd name="T42" fmla="*/ 218 w 5540"/>
                    <a:gd name="T43" fmla="*/ 5563 h 8668"/>
                    <a:gd name="T44" fmla="*/ 280 w 5540"/>
                    <a:gd name="T45" fmla="*/ 5869 h 8668"/>
                    <a:gd name="T46" fmla="*/ 368 w 5540"/>
                    <a:gd name="T47" fmla="*/ 6168 h 8668"/>
                    <a:gd name="T48" fmla="*/ 481 w 5540"/>
                    <a:gd name="T49" fmla="*/ 6460 h 8668"/>
                    <a:gd name="T50" fmla="*/ 618 w 5540"/>
                    <a:gd name="T51" fmla="*/ 6745 h 8668"/>
                    <a:gd name="T52" fmla="*/ 0 w 5540"/>
                    <a:gd name="T53" fmla="*/ 5000 h 8668"/>
                    <a:gd name="T54" fmla="*/ 42 w 5540"/>
                    <a:gd name="T55" fmla="*/ 4444 h 8668"/>
                    <a:gd name="T56" fmla="*/ 163 w 5540"/>
                    <a:gd name="T57" fmla="*/ 3906 h 8668"/>
                    <a:gd name="T58" fmla="*/ 361 w 5540"/>
                    <a:gd name="T59" fmla="*/ 3387 h 8668"/>
                    <a:gd name="T60" fmla="*/ 631 w 5540"/>
                    <a:gd name="T61" fmla="*/ 2891 h 8668"/>
                    <a:gd name="T62" fmla="*/ 968 w 5540"/>
                    <a:gd name="T63" fmla="*/ 2422 h 8668"/>
                    <a:gd name="T64" fmla="*/ 1369 w 5540"/>
                    <a:gd name="T65" fmla="*/ 1983 h 8668"/>
                    <a:gd name="T66" fmla="*/ 1494 w 5540"/>
                    <a:gd name="T67" fmla="*/ 2096 h 8668"/>
                    <a:gd name="T68" fmla="*/ 1108 w 5540"/>
                    <a:gd name="T69" fmla="*/ 2520 h 8668"/>
                    <a:gd name="T70" fmla="*/ 783 w 5540"/>
                    <a:gd name="T71" fmla="*/ 2971 h 8668"/>
                    <a:gd name="T72" fmla="*/ 522 w 5540"/>
                    <a:gd name="T73" fmla="*/ 3449 h 8668"/>
                    <a:gd name="T74" fmla="*/ 331 w 5540"/>
                    <a:gd name="T75" fmla="*/ 3948 h 8668"/>
                    <a:gd name="T76" fmla="*/ 213 w 5540"/>
                    <a:gd name="T77" fmla="*/ 4466 h 8668"/>
                    <a:gd name="T78" fmla="*/ 173 w 5540"/>
                    <a:gd name="T79" fmla="*/ 5000 h 8668"/>
                    <a:gd name="T80" fmla="*/ 1832 w 5540"/>
                    <a:gd name="T81" fmla="*/ 1572 h 8668"/>
                    <a:gd name="T82" fmla="*/ 2355 w 5540"/>
                    <a:gd name="T83" fmla="*/ 1196 h 8668"/>
                    <a:gd name="T84" fmla="*/ 2930 w 5540"/>
                    <a:gd name="T85" fmla="*/ 859 h 8668"/>
                    <a:gd name="T86" fmla="*/ 3553 w 5540"/>
                    <a:gd name="T87" fmla="*/ 566 h 8668"/>
                    <a:gd name="T88" fmla="*/ 4218 w 5540"/>
                    <a:gd name="T89" fmla="*/ 319 h 8668"/>
                    <a:gd name="T90" fmla="*/ 4921 w 5540"/>
                    <a:gd name="T91" fmla="*/ 120 h 8668"/>
                    <a:gd name="T92" fmla="*/ 5540 w 5540"/>
                    <a:gd name="T93" fmla="*/ 162 h 8668"/>
                    <a:gd name="T94" fmla="*/ 4824 w 5540"/>
                    <a:gd name="T95" fmla="*/ 315 h 8668"/>
                    <a:gd name="T96" fmla="*/ 4143 w 5540"/>
                    <a:gd name="T97" fmla="*/ 518 h 8668"/>
                    <a:gd name="T98" fmla="*/ 3500 w 5540"/>
                    <a:gd name="T99" fmla="*/ 769 h 8668"/>
                    <a:gd name="T100" fmla="*/ 2902 w 5540"/>
                    <a:gd name="T101" fmla="*/ 1064 h 8668"/>
                    <a:gd name="T102" fmla="*/ 2349 w 5540"/>
                    <a:gd name="T103" fmla="*/ 1400 h 8668"/>
                    <a:gd name="T104" fmla="*/ 1849 w 5540"/>
                    <a:gd name="T105" fmla="*/ 1775 h 86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rgbClr val="D0DF00">
                    <a:lumMod val="60000"/>
                    <a:lumOff val="40000"/>
                  </a:srgbClr>
                </a:solidFill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66" name="Freeform 221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4"/>
                </a:xfrm>
                <a:custGeom>
                  <a:avLst/>
                  <a:gdLst>
                    <a:gd name="T0" fmla="*/ 34 w 2069"/>
                    <a:gd name="T1" fmla="*/ 211 h 976"/>
                    <a:gd name="T2" fmla="*/ 91 w 2069"/>
                    <a:gd name="T3" fmla="*/ 302 h 976"/>
                    <a:gd name="T4" fmla="*/ 155 w 2069"/>
                    <a:gd name="T5" fmla="*/ 389 h 976"/>
                    <a:gd name="T6" fmla="*/ 226 w 2069"/>
                    <a:gd name="T7" fmla="*/ 472 h 976"/>
                    <a:gd name="T8" fmla="*/ 302 w 2069"/>
                    <a:gd name="T9" fmla="*/ 550 h 976"/>
                    <a:gd name="T10" fmla="*/ 384 w 2069"/>
                    <a:gd name="T11" fmla="*/ 623 h 976"/>
                    <a:gd name="T12" fmla="*/ 474 w 2069"/>
                    <a:gd name="T13" fmla="*/ 690 h 976"/>
                    <a:gd name="T14" fmla="*/ 569 w 2069"/>
                    <a:gd name="T15" fmla="*/ 751 h 976"/>
                    <a:gd name="T16" fmla="*/ 670 w 2069"/>
                    <a:gd name="T17" fmla="*/ 806 h 976"/>
                    <a:gd name="T18" fmla="*/ 775 w 2069"/>
                    <a:gd name="T19" fmla="*/ 854 h 976"/>
                    <a:gd name="T20" fmla="*/ 886 w 2069"/>
                    <a:gd name="T21" fmla="*/ 895 h 976"/>
                    <a:gd name="T22" fmla="*/ 1000 w 2069"/>
                    <a:gd name="T23" fmla="*/ 928 h 976"/>
                    <a:gd name="T24" fmla="*/ 1115 w 2069"/>
                    <a:gd name="T25" fmla="*/ 952 h 976"/>
                    <a:gd name="T26" fmla="*/ 1230 w 2069"/>
                    <a:gd name="T27" fmla="*/ 968 h 976"/>
                    <a:gd name="T28" fmla="*/ 1344 w 2069"/>
                    <a:gd name="T29" fmla="*/ 975 h 976"/>
                    <a:gd name="T30" fmla="*/ 1458 w 2069"/>
                    <a:gd name="T31" fmla="*/ 975 h 976"/>
                    <a:gd name="T32" fmla="*/ 1571 w 2069"/>
                    <a:gd name="T33" fmla="*/ 966 h 976"/>
                    <a:gd name="T34" fmla="*/ 1682 w 2069"/>
                    <a:gd name="T35" fmla="*/ 950 h 976"/>
                    <a:gd name="T36" fmla="*/ 1791 w 2069"/>
                    <a:gd name="T37" fmla="*/ 926 h 976"/>
                    <a:gd name="T38" fmla="*/ 1898 w 2069"/>
                    <a:gd name="T39" fmla="*/ 895 h 976"/>
                    <a:gd name="T40" fmla="*/ 2002 w 2069"/>
                    <a:gd name="T41" fmla="*/ 857 h 976"/>
                    <a:gd name="T42" fmla="*/ 2053 w 2069"/>
                    <a:gd name="T43" fmla="*/ 796 h 976"/>
                    <a:gd name="T44" fmla="*/ 1998 w 2069"/>
                    <a:gd name="T45" fmla="*/ 704 h 976"/>
                    <a:gd name="T46" fmla="*/ 1936 w 2069"/>
                    <a:gd name="T47" fmla="*/ 615 h 976"/>
                    <a:gd name="T48" fmla="*/ 1868 w 2069"/>
                    <a:gd name="T49" fmla="*/ 531 h 976"/>
                    <a:gd name="T50" fmla="*/ 1794 w 2069"/>
                    <a:gd name="T51" fmla="*/ 452 h 976"/>
                    <a:gd name="T52" fmla="*/ 1713 w 2069"/>
                    <a:gd name="T53" fmla="*/ 377 h 976"/>
                    <a:gd name="T54" fmla="*/ 1625 w 2069"/>
                    <a:gd name="T55" fmla="*/ 308 h 976"/>
                    <a:gd name="T56" fmla="*/ 1533 w 2069"/>
                    <a:gd name="T57" fmla="*/ 245 h 976"/>
                    <a:gd name="T58" fmla="*/ 1434 w 2069"/>
                    <a:gd name="T59" fmla="*/ 188 h 976"/>
                    <a:gd name="T60" fmla="*/ 1330 w 2069"/>
                    <a:gd name="T61" fmla="*/ 137 h 976"/>
                    <a:gd name="T62" fmla="*/ 1220 w 2069"/>
                    <a:gd name="T63" fmla="*/ 94 h 976"/>
                    <a:gd name="T64" fmla="*/ 1106 w 2069"/>
                    <a:gd name="T65" fmla="*/ 58 h 976"/>
                    <a:gd name="T66" fmla="*/ 992 w 2069"/>
                    <a:gd name="T67" fmla="*/ 31 h 976"/>
                    <a:gd name="T68" fmla="*/ 877 w 2069"/>
                    <a:gd name="T69" fmla="*/ 12 h 976"/>
                    <a:gd name="T70" fmla="*/ 762 w 2069"/>
                    <a:gd name="T71" fmla="*/ 2 h 976"/>
                    <a:gd name="T72" fmla="*/ 649 w 2069"/>
                    <a:gd name="T73" fmla="*/ 0 h 976"/>
                    <a:gd name="T74" fmla="*/ 536 w 2069"/>
                    <a:gd name="T75" fmla="*/ 6 h 976"/>
                    <a:gd name="T76" fmla="*/ 424 w 2069"/>
                    <a:gd name="T77" fmla="*/ 20 h 976"/>
                    <a:gd name="T78" fmla="*/ 314 w 2069"/>
                    <a:gd name="T79" fmla="*/ 41 h 976"/>
                    <a:gd name="T80" fmla="*/ 207 w 2069"/>
                    <a:gd name="T81" fmla="*/ 70 h 976"/>
                    <a:gd name="T82" fmla="*/ 101 w 2069"/>
                    <a:gd name="T83" fmla="*/ 106 h 976"/>
                    <a:gd name="T84" fmla="*/ 0 w 2069"/>
                    <a:gd name="T85" fmla="*/ 148 h 9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67" name="Freeform 222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4" cy="104"/>
                </a:xfrm>
                <a:custGeom>
                  <a:avLst/>
                  <a:gdLst>
                    <a:gd name="T0" fmla="*/ 790 w 1020"/>
                    <a:gd name="T1" fmla="*/ 33 h 1975"/>
                    <a:gd name="T2" fmla="*/ 695 w 1020"/>
                    <a:gd name="T3" fmla="*/ 88 h 1975"/>
                    <a:gd name="T4" fmla="*/ 604 w 1020"/>
                    <a:gd name="T5" fmla="*/ 150 h 1975"/>
                    <a:gd name="T6" fmla="*/ 518 w 1020"/>
                    <a:gd name="T7" fmla="*/ 217 h 1975"/>
                    <a:gd name="T8" fmla="*/ 437 w 1020"/>
                    <a:gd name="T9" fmla="*/ 291 h 1975"/>
                    <a:gd name="T10" fmla="*/ 361 w 1020"/>
                    <a:gd name="T11" fmla="*/ 371 h 1975"/>
                    <a:gd name="T12" fmla="*/ 292 w 1020"/>
                    <a:gd name="T13" fmla="*/ 458 h 1975"/>
                    <a:gd name="T14" fmla="*/ 228 w 1020"/>
                    <a:gd name="T15" fmla="*/ 548 h 1975"/>
                    <a:gd name="T16" fmla="*/ 172 w 1020"/>
                    <a:gd name="T17" fmla="*/ 644 h 1975"/>
                    <a:gd name="T18" fmla="*/ 122 w 1020"/>
                    <a:gd name="T19" fmla="*/ 746 h 1975"/>
                    <a:gd name="T20" fmla="*/ 80 w 1020"/>
                    <a:gd name="T21" fmla="*/ 852 h 1975"/>
                    <a:gd name="T22" fmla="*/ 47 w 1020"/>
                    <a:gd name="T23" fmla="*/ 960 h 1975"/>
                    <a:gd name="T24" fmla="*/ 22 w 1020"/>
                    <a:gd name="T25" fmla="*/ 1070 h 1975"/>
                    <a:gd name="T26" fmla="*/ 8 w 1020"/>
                    <a:gd name="T27" fmla="*/ 1179 h 1975"/>
                    <a:gd name="T28" fmla="*/ 0 w 1020"/>
                    <a:gd name="T29" fmla="*/ 1288 h 1975"/>
                    <a:gd name="T30" fmla="*/ 2 w 1020"/>
                    <a:gd name="T31" fmla="*/ 1396 h 1975"/>
                    <a:gd name="T32" fmla="*/ 13 w 1020"/>
                    <a:gd name="T33" fmla="*/ 1503 h 1975"/>
                    <a:gd name="T34" fmla="*/ 31 w 1020"/>
                    <a:gd name="T35" fmla="*/ 1608 h 1975"/>
                    <a:gd name="T36" fmla="*/ 57 w 1020"/>
                    <a:gd name="T37" fmla="*/ 1711 h 1975"/>
                    <a:gd name="T38" fmla="*/ 92 w 1020"/>
                    <a:gd name="T39" fmla="*/ 1812 h 1975"/>
                    <a:gd name="T40" fmla="*/ 133 w 1020"/>
                    <a:gd name="T41" fmla="*/ 1911 h 1975"/>
                    <a:gd name="T42" fmla="*/ 197 w 1020"/>
                    <a:gd name="T43" fmla="*/ 1958 h 1975"/>
                    <a:gd name="T44" fmla="*/ 294 w 1020"/>
                    <a:gd name="T45" fmla="*/ 1905 h 1975"/>
                    <a:gd name="T46" fmla="*/ 386 w 1020"/>
                    <a:gd name="T47" fmla="*/ 1846 h 1975"/>
                    <a:gd name="T48" fmla="*/ 474 w 1020"/>
                    <a:gd name="T49" fmla="*/ 1780 h 1975"/>
                    <a:gd name="T50" fmla="*/ 557 w 1020"/>
                    <a:gd name="T51" fmla="*/ 1708 h 1975"/>
                    <a:gd name="T52" fmla="*/ 635 w 1020"/>
                    <a:gd name="T53" fmla="*/ 1630 h 1975"/>
                    <a:gd name="T54" fmla="*/ 706 w 1020"/>
                    <a:gd name="T55" fmla="*/ 1547 h 1975"/>
                    <a:gd name="T56" fmla="*/ 772 w 1020"/>
                    <a:gd name="T57" fmla="*/ 1458 h 1975"/>
                    <a:gd name="T58" fmla="*/ 831 w 1020"/>
                    <a:gd name="T59" fmla="*/ 1363 h 1975"/>
                    <a:gd name="T60" fmla="*/ 882 w 1020"/>
                    <a:gd name="T61" fmla="*/ 1264 h 1975"/>
                    <a:gd name="T62" fmla="*/ 927 w 1020"/>
                    <a:gd name="T63" fmla="*/ 1159 h 1975"/>
                    <a:gd name="T64" fmla="*/ 963 w 1020"/>
                    <a:gd name="T65" fmla="*/ 1051 h 1975"/>
                    <a:gd name="T66" fmla="*/ 991 w 1020"/>
                    <a:gd name="T67" fmla="*/ 942 h 1975"/>
                    <a:gd name="T68" fmla="*/ 1008 w 1020"/>
                    <a:gd name="T69" fmla="*/ 833 h 1975"/>
                    <a:gd name="T70" fmla="*/ 1018 w 1020"/>
                    <a:gd name="T71" fmla="*/ 724 h 1975"/>
                    <a:gd name="T72" fmla="*/ 1019 w 1020"/>
                    <a:gd name="T73" fmla="*/ 616 h 1975"/>
                    <a:gd name="T74" fmla="*/ 1012 w 1020"/>
                    <a:gd name="T75" fmla="*/ 508 h 1975"/>
                    <a:gd name="T76" fmla="*/ 996 w 1020"/>
                    <a:gd name="T77" fmla="*/ 401 h 1975"/>
                    <a:gd name="T78" fmla="*/ 973 w 1020"/>
                    <a:gd name="T79" fmla="*/ 297 h 1975"/>
                    <a:gd name="T80" fmla="*/ 941 w 1020"/>
                    <a:gd name="T81" fmla="*/ 195 h 1975"/>
                    <a:gd name="T82" fmla="*/ 902 w 1020"/>
                    <a:gd name="T83" fmla="*/ 96 h 1975"/>
                    <a:gd name="T84" fmla="*/ 856 w 1020"/>
                    <a:gd name="T85" fmla="*/ 0 h 1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68" name="Freeform 223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522 w 920"/>
                    <a:gd name="T1" fmla="*/ 46 h 2068"/>
                    <a:gd name="T2" fmla="*/ 441 w 920"/>
                    <a:gd name="T3" fmla="*/ 119 h 2068"/>
                    <a:gd name="T4" fmla="*/ 366 w 920"/>
                    <a:gd name="T5" fmla="*/ 197 h 2068"/>
                    <a:gd name="T6" fmla="*/ 297 w 920"/>
                    <a:gd name="T7" fmla="*/ 281 h 2068"/>
                    <a:gd name="T8" fmla="*/ 234 w 920"/>
                    <a:gd name="T9" fmla="*/ 369 h 2068"/>
                    <a:gd name="T10" fmla="*/ 178 w 920"/>
                    <a:gd name="T11" fmla="*/ 463 h 2068"/>
                    <a:gd name="T12" fmla="*/ 128 w 920"/>
                    <a:gd name="T13" fmla="*/ 560 h 2068"/>
                    <a:gd name="T14" fmla="*/ 86 w 920"/>
                    <a:gd name="T15" fmla="*/ 661 h 2068"/>
                    <a:gd name="T16" fmla="*/ 53 w 920"/>
                    <a:gd name="T17" fmla="*/ 767 h 2068"/>
                    <a:gd name="T18" fmla="*/ 26 w 920"/>
                    <a:gd name="T19" fmla="*/ 875 h 2068"/>
                    <a:gd name="T20" fmla="*/ 9 w 920"/>
                    <a:gd name="T21" fmla="*/ 987 h 2068"/>
                    <a:gd name="T22" fmla="*/ 1 w 920"/>
                    <a:gd name="T23" fmla="*/ 1100 h 2068"/>
                    <a:gd name="T24" fmla="*/ 1 w 920"/>
                    <a:gd name="T25" fmla="*/ 1212 h 2068"/>
                    <a:gd name="T26" fmla="*/ 10 w 920"/>
                    <a:gd name="T27" fmla="*/ 1322 h 2068"/>
                    <a:gd name="T28" fmla="*/ 28 w 920"/>
                    <a:gd name="T29" fmla="*/ 1430 h 2068"/>
                    <a:gd name="T30" fmla="*/ 54 w 920"/>
                    <a:gd name="T31" fmla="*/ 1535 h 2068"/>
                    <a:gd name="T32" fmla="*/ 87 w 920"/>
                    <a:gd name="T33" fmla="*/ 1637 h 2068"/>
                    <a:gd name="T34" fmla="*/ 128 w 920"/>
                    <a:gd name="T35" fmla="*/ 1737 h 2068"/>
                    <a:gd name="T36" fmla="*/ 178 w 920"/>
                    <a:gd name="T37" fmla="*/ 1832 h 2068"/>
                    <a:gd name="T38" fmla="*/ 233 w 920"/>
                    <a:gd name="T39" fmla="*/ 1924 h 2068"/>
                    <a:gd name="T40" fmla="*/ 296 w 920"/>
                    <a:gd name="T41" fmla="*/ 2012 h 2068"/>
                    <a:gd name="T42" fmla="*/ 369 w 920"/>
                    <a:gd name="T43" fmla="*/ 2046 h 2068"/>
                    <a:gd name="T44" fmla="*/ 451 w 920"/>
                    <a:gd name="T45" fmla="*/ 1975 h 2068"/>
                    <a:gd name="T46" fmla="*/ 528 w 920"/>
                    <a:gd name="T47" fmla="*/ 1898 h 2068"/>
                    <a:gd name="T48" fmla="*/ 600 w 920"/>
                    <a:gd name="T49" fmla="*/ 1816 h 2068"/>
                    <a:gd name="T50" fmla="*/ 665 w 920"/>
                    <a:gd name="T51" fmla="*/ 1730 h 2068"/>
                    <a:gd name="T52" fmla="*/ 724 w 920"/>
                    <a:gd name="T53" fmla="*/ 1638 h 2068"/>
                    <a:gd name="T54" fmla="*/ 776 w 920"/>
                    <a:gd name="T55" fmla="*/ 1542 h 2068"/>
                    <a:gd name="T56" fmla="*/ 820 w 920"/>
                    <a:gd name="T57" fmla="*/ 1442 h 2068"/>
                    <a:gd name="T58" fmla="*/ 857 w 920"/>
                    <a:gd name="T59" fmla="*/ 1338 h 2068"/>
                    <a:gd name="T60" fmla="*/ 885 w 920"/>
                    <a:gd name="T61" fmla="*/ 1230 h 2068"/>
                    <a:gd name="T62" fmla="*/ 905 w 920"/>
                    <a:gd name="T63" fmla="*/ 1119 h 2068"/>
                    <a:gd name="T64" fmla="*/ 917 w 920"/>
                    <a:gd name="T65" fmla="*/ 1006 h 2068"/>
                    <a:gd name="T66" fmla="*/ 919 w 920"/>
                    <a:gd name="T67" fmla="*/ 894 h 2068"/>
                    <a:gd name="T68" fmla="*/ 912 w 920"/>
                    <a:gd name="T69" fmla="*/ 783 h 2068"/>
                    <a:gd name="T70" fmla="*/ 898 w 920"/>
                    <a:gd name="T71" fmla="*/ 675 h 2068"/>
                    <a:gd name="T72" fmla="*/ 875 w 920"/>
                    <a:gd name="T73" fmla="*/ 569 h 2068"/>
                    <a:gd name="T74" fmla="*/ 844 w 920"/>
                    <a:gd name="T75" fmla="*/ 466 h 2068"/>
                    <a:gd name="T76" fmla="*/ 805 w 920"/>
                    <a:gd name="T77" fmla="*/ 365 h 2068"/>
                    <a:gd name="T78" fmla="*/ 759 w 920"/>
                    <a:gd name="T79" fmla="*/ 268 h 2068"/>
                    <a:gd name="T80" fmla="*/ 705 w 920"/>
                    <a:gd name="T81" fmla="*/ 175 h 2068"/>
                    <a:gd name="T82" fmla="*/ 645 w 920"/>
                    <a:gd name="T83" fmla="*/ 85 h 2068"/>
                    <a:gd name="T84" fmla="*/ 579 w 920"/>
                    <a:gd name="T85" fmla="*/ 0 h 20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69" name="Freeform 224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4" cy="103"/>
                </a:xfrm>
                <a:custGeom>
                  <a:avLst/>
                  <a:gdLst>
                    <a:gd name="T0" fmla="*/ 796 w 1022"/>
                    <a:gd name="T1" fmla="*/ 33 h 1973"/>
                    <a:gd name="T2" fmla="*/ 700 w 1022"/>
                    <a:gd name="T3" fmla="*/ 88 h 1973"/>
                    <a:gd name="T4" fmla="*/ 609 w 1022"/>
                    <a:gd name="T5" fmla="*/ 149 h 1973"/>
                    <a:gd name="T6" fmla="*/ 522 w 1022"/>
                    <a:gd name="T7" fmla="*/ 217 h 1973"/>
                    <a:gd name="T8" fmla="*/ 441 w 1022"/>
                    <a:gd name="T9" fmla="*/ 290 h 1973"/>
                    <a:gd name="T10" fmla="*/ 366 w 1022"/>
                    <a:gd name="T11" fmla="*/ 370 h 1973"/>
                    <a:gd name="T12" fmla="*/ 295 w 1022"/>
                    <a:gd name="T13" fmla="*/ 455 h 1973"/>
                    <a:gd name="T14" fmla="*/ 231 w 1022"/>
                    <a:gd name="T15" fmla="*/ 546 h 1973"/>
                    <a:gd name="T16" fmla="*/ 174 w 1022"/>
                    <a:gd name="T17" fmla="*/ 641 h 1973"/>
                    <a:gd name="T18" fmla="*/ 125 w 1022"/>
                    <a:gd name="T19" fmla="*/ 742 h 1973"/>
                    <a:gd name="T20" fmla="*/ 83 w 1022"/>
                    <a:gd name="T21" fmla="*/ 848 h 1973"/>
                    <a:gd name="T22" fmla="*/ 48 w 1022"/>
                    <a:gd name="T23" fmla="*/ 957 h 1973"/>
                    <a:gd name="T24" fmla="*/ 24 w 1022"/>
                    <a:gd name="T25" fmla="*/ 1067 h 1973"/>
                    <a:gd name="T26" fmla="*/ 8 w 1022"/>
                    <a:gd name="T27" fmla="*/ 1176 h 1973"/>
                    <a:gd name="T28" fmla="*/ 0 w 1022"/>
                    <a:gd name="T29" fmla="*/ 1285 h 1973"/>
                    <a:gd name="T30" fmla="*/ 3 w 1022"/>
                    <a:gd name="T31" fmla="*/ 1393 h 1973"/>
                    <a:gd name="T32" fmla="*/ 12 w 1022"/>
                    <a:gd name="T33" fmla="*/ 1500 h 1973"/>
                    <a:gd name="T34" fmla="*/ 30 w 1022"/>
                    <a:gd name="T35" fmla="*/ 1605 h 1973"/>
                    <a:gd name="T36" fmla="*/ 56 w 1022"/>
                    <a:gd name="T37" fmla="*/ 1709 h 1973"/>
                    <a:gd name="T38" fmla="*/ 89 w 1022"/>
                    <a:gd name="T39" fmla="*/ 1810 h 1973"/>
                    <a:gd name="T40" fmla="*/ 130 w 1022"/>
                    <a:gd name="T41" fmla="*/ 1909 h 1973"/>
                    <a:gd name="T42" fmla="*/ 194 w 1022"/>
                    <a:gd name="T43" fmla="*/ 1956 h 1973"/>
                    <a:gd name="T44" fmla="*/ 291 w 1022"/>
                    <a:gd name="T45" fmla="*/ 1904 h 1973"/>
                    <a:gd name="T46" fmla="*/ 384 w 1022"/>
                    <a:gd name="T47" fmla="*/ 1845 h 1973"/>
                    <a:gd name="T48" fmla="*/ 472 w 1022"/>
                    <a:gd name="T49" fmla="*/ 1779 h 1973"/>
                    <a:gd name="T50" fmla="*/ 555 w 1022"/>
                    <a:gd name="T51" fmla="*/ 1708 h 1973"/>
                    <a:gd name="T52" fmla="*/ 633 w 1022"/>
                    <a:gd name="T53" fmla="*/ 1630 h 1973"/>
                    <a:gd name="T54" fmla="*/ 706 w 1022"/>
                    <a:gd name="T55" fmla="*/ 1547 h 1973"/>
                    <a:gd name="T56" fmla="*/ 771 w 1022"/>
                    <a:gd name="T57" fmla="*/ 1458 h 1973"/>
                    <a:gd name="T58" fmla="*/ 831 w 1022"/>
                    <a:gd name="T59" fmla="*/ 1364 h 1973"/>
                    <a:gd name="T60" fmla="*/ 882 w 1022"/>
                    <a:gd name="T61" fmla="*/ 1265 h 1973"/>
                    <a:gd name="T62" fmla="*/ 928 w 1022"/>
                    <a:gd name="T63" fmla="*/ 1161 h 1973"/>
                    <a:gd name="T64" fmla="*/ 965 w 1022"/>
                    <a:gd name="T65" fmla="*/ 1052 h 1973"/>
                    <a:gd name="T66" fmla="*/ 992 w 1022"/>
                    <a:gd name="T67" fmla="*/ 942 h 1973"/>
                    <a:gd name="T68" fmla="*/ 1011 w 1022"/>
                    <a:gd name="T69" fmla="*/ 833 h 1973"/>
                    <a:gd name="T70" fmla="*/ 1021 w 1022"/>
                    <a:gd name="T71" fmla="*/ 724 h 1973"/>
                    <a:gd name="T72" fmla="*/ 1022 w 1022"/>
                    <a:gd name="T73" fmla="*/ 616 h 1973"/>
                    <a:gd name="T74" fmla="*/ 1015 w 1022"/>
                    <a:gd name="T75" fmla="*/ 509 h 1973"/>
                    <a:gd name="T76" fmla="*/ 1000 w 1022"/>
                    <a:gd name="T77" fmla="*/ 403 h 1973"/>
                    <a:gd name="T78" fmla="*/ 977 w 1022"/>
                    <a:gd name="T79" fmla="*/ 299 h 1973"/>
                    <a:gd name="T80" fmla="*/ 946 w 1022"/>
                    <a:gd name="T81" fmla="*/ 197 h 1973"/>
                    <a:gd name="T82" fmla="*/ 908 w 1022"/>
                    <a:gd name="T83" fmla="*/ 97 h 1973"/>
                    <a:gd name="T84" fmla="*/ 861 w 1022"/>
                    <a:gd name="T85" fmla="*/ 0 h 19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0" name="Freeform 225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264 w 929"/>
                    <a:gd name="T1" fmla="*/ 58 h 2060"/>
                    <a:gd name="T2" fmla="*/ 205 w 929"/>
                    <a:gd name="T3" fmla="*/ 148 h 2060"/>
                    <a:gd name="T4" fmla="*/ 154 w 929"/>
                    <a:gd name="T5" fmla="*/ 242 h 2060"/>
                    <a:gd name="T6" fmla="*/ 108 w 929"/>
                    <a:gd name="T7" fmla="*/ 339 h 2060"/>
                    <a:gd name="T8" fmla="*/ 70 w 929"/>
                    <a:gd name="T9" fmla="*/ 440 h 2060"/>
                    <a:gd name="T10" fmla="*/ 41 w 929"/>
                    <a:gd name="T11" fmla="*/ 543 h 2060"/>
                    <a:gd name="T12" fmla="*/ 19 w 929"/>
                    <a:gd name="T13" fmla="*/ 649 h 2060"/>
                    <a:gd name="T14" fmla="*/ 5 w 929"/>
                    <a:gd name="T15" fmla="*/ 758 h 2060"/>
                    <a:gd name="T16" fmla="*/ 0 w 929"/>
                    <a:gd name="T17" fmla="*/ 868 h 2060"/>
                    <a:gd name="T18" fmla="*/ 3 w 929"/>
                    <a:gd name="T19" fmla="*/ 979 h 2060"/>
                    <a:gd name="T20" fmla="*/ 16 w 929"/>
                    <a:gd name="T21" fmla="*/ 1092 h 2060"/>
                    <a:gd name="T22" fmla="*/ 37 w 929"/>
                    <a:gd name="T23" fmla="*/ 1203 h 2060"/>
                    <a:gd name="T24" fmla="*/ 67 w 929"/>
                    <a:gd name="T25" fmla="*/ 1311 h 2060"/>
                    <a:gd name="T26" fmla="*/ 105 w 929"/>
                    <a:gd name="T27" fmla="*/ 1415 h 2060"/>
                    <a:gd name="T28" fmla="*/ 150 w 929"/>
                    <a:gd name="T29" fmla="*/ 1515 h 2060"/>
                    <a:gd name="T30" fmla="*/ 203 w 929"/>
                    <a:gd name="T31" fmla="*/ 1611 h 2060"/>
                    <a:gd name="T32" fmla="*/ 263 w 929"/>
                    <a:gd name="T33" fmla="*/ 1702 h 2060"/>
                    <a:gd name="T34" fmla="*/ 329 w 929"/>
                    <a:gd name="T35" fmla="*/ 1788 h 2060"/>
                    <a:gd name="T36" fmla="*/ 401 w 929"/>
                    <a:gd name="T37" fmla="*/ 1871 h 2060"/>
                    <a:gd name="T38" fmla="*/ 479 w 929"/>
                    <a:gd name="T39" fmla="*/ 1947 h 2060"/>
                    <a:gd name="T40" fmla="*/ 563 w 929"/>
                    <a:gd name="T41" fmla="*/ 2017 h 2060"/>
                    <a:gd name="T42" fmla="*/ 643 w 929"/>
                    <a:gd name="T43" fmla="*/ 2032 h 2060"/>
                    <a:gd name="T44" fmla="*/ 704 w 929"/>
                    <a:gd name="T45" fmla="*/ 1943 h 2060"/>
                    <a:gd name="T46" fmla="*/ 759 w 929"/>
                    <a:gd name="T47" fmla="*/ 1851 h 2060"/>
                    <a:gd name="T48" fmla="*/ 806 w 929"/>
                    <a:gd name="T49" fmla="*/ 1754 h 2060"/>
                    <a:gd name="T50" fmla="*/ 846 w 929"/>
                    <a:gd name="T51" fmla="*/ 1654 h 2060"/>
                    <a:gd name="T52" fmla="*/ 879 w 929"/>
                    <a:gd name="T53" fmla="*/ 1551 h 2060"/>
                    <a:gd name="T54" fmla="*/ 903 w 929"/>
                    <a:gd name="T55" fmla="*/ 1446 h 2060"/>
                    <a:gd name="T56" fmla="*/ 920 w 929"/>
                    <a:gd name="T57" fmla="*/ 1339 h 2060"/>
                    <a:gd name="T58" fmla="*/ 928 w 929"/>
                    <a:gd name="T59" fmla="*/ 1229 h 2060"/>
                    <a:gd name="T60" fmla="*/ 927 w 929"/>
                    <a:gd name="T61" fmla="*/ 1118 h 2060"/>
                    <a:gd name="T62" fmla="*/ 918 w 929"/>
                    <a:gd name="T63" fmla="*/ 1006 h 2060"/>
                    <a:gd name="T64" fmla="*/ 900 w 929"/>
                    <a:gd name="T65" fmla="*/ 894 h 2060"/>
                    <a:gd name="T66" fmla="*/ 872 w 929"/>
                    <a:gd name="T67" fmla="*/ 784 h 2060"/>
                    <a:gd name="T68" fmla="*/ 837 w 929"/>
                    <a:gd name="T69" fmla="*/ 679 h 2060"/>
                    <a:gd name="T70" fmla="*/ 794 w 929"/>
                    <a:gd name="T71" fmla="*/ 578 h 2060"/>
                    <a:gd name="T72" fmla="*/ 744 w 929"/>
                    <a:gd name="T73" fmla="*/ 480 h 2060"/>
                    <a:gd name="T74" fmla="*/ 686 w 929"/>
                    <a:gd name="T75" fmla="*/ 388 h 2060"/>
                    <a:gd name="T76" fmla="*/ 622 w 929"/>
                    <a:gd name="T77" fmla="*/ 300 h 2060"/>
                    <a:gd name="T78" fmla="*/ 551 w 929"/>
                    <a:gd name="T79" fmla="*/ 217 h 2060"/>
                    <a:gd name="T80" fmla="*/ 476 w 929"/>
                    <a:gd name="T81" fmla="*/ 139 h 2060"/>
                    <a:gd name="T82" fmla="*/ 395 w 929"/>
                    <a:gd name="T83" fmla="*/ 67 h 2060"/>
                    <a:gd name="T84" fmla="*/ 307 w 929"/>
                    <a:gd name="T85" fmla="*/ 0 h 2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1" name="Freeform 226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9 w 1706"/>
                    <a:gd name="T1" fmla="*/ 78 h 1321"/>
                    <a:gd name="T2" fmla="*/ 31 w 1706"/>
                    <a:gd name="T3" fmla="*/ 182 h 1321"/>
                    <a:gd name="T4" fmla="*/ 60 w 1706"/>
                    <a:gd name="T5" fmla="*/ 285 h 1321"/>
                    <a:gd name="T6" fmla="*/ 97 w 1706"/>
                    <a:gd name="T7" fmla="*/ 385 h 1321"/>
                    <a:gd name="T8" fmla="*/ 142 w 1706"/>
                    <a:gd name="T9" fmla="*/ 483 h 1321"/>
                    <a:gd name="T10" fmla="*/ 194 w 1706"/>
                    <a:gd name="T11" fmla="*/ 578 h 1321"/>
                    <a:gd name="T12" fmla="*/ 254 w 1706"/>
                    <a:gd name="T13" fmla="*/ 670 h 1321"/>
                    <a:gd name="T14" fmla="*/ 321 w 1706"/>
                    <a:gd name="T15" fmla="*/ 758 h 1321"/>
                    <a:gd name="T16" fmla="*/ 397 w 1706"/>
                    <a:gd name="T17" fmla="*/ 842 h 1321"/>
                    <a:gd name="T18" fmla="*/ 479 w 1706"/>
                    <a:gd name="T19" fmla="*/ 921 h 1321"/>
                    <a:gd name="T20" fmla="*/ 569 w 1706"/>
                    <a:gd name="T21" fmla="*/ 995 h 1321"/>
                    <a:gd name="T22" fmla="*/ 665 w 1706"/>
                    <a:gd name="T23" fmla="*/ 1064 h 1321"/>
                    <a:gd name="T24" fmla="*/ 764 w 1706"/>
                    <a:gd name="T25" fmla="*/ 1124 h 1321"/>
                    <a:gd name="T26" fmla="*/ 866 w 1706"/>
                    <a:gd name="T27" fmla="*/ 1175 h 1321"/>
                    <a:gd name="T28" fmla="*/ 971 w 1706"/>
                    <a:gd name="T29" fmla="*/ 1219 h 1321"/>
                    <a:gd name="T30" fmla="*/ 1079 w 1706"/>
                    <a:gd name="T31" fmla="*/ 1255 h 1321"/>
                    <a:gd name="T32" fmla="*/ 1188 w 1706"/>
                    <a:gd name="T33" fmla="*/ 1283 h 1321"/>
                    <a:gd name="T34" fmla="*/ 1298 w 1706"/>
                    <a:gd name="T35" fmla="*/ 1303 h 1321"/>
                    <a:gd name="T36" fmla="*/ 1409 w 1706"/>
                    <a:gd name="T37" fmla="*/ 1316 h 1321"/>
                    <a:gd name="T38" fmla="*/ 1521 w 1706"/>
                    <a:gd name="T39" fmla="*/ 1321 h 1321"/>
                    <a:gd name="T40" fmla="*/ 1632 w 1706"/>
                    <a:gd name="T41" fmla="*/ 1318 h 1321"/>
                    <a:gd name="T42" fmla="*/ 1702 w 1706"/>
                    <a:gd name="T43" fmla="*/ 1278 h 1321"/>
                    <a:gd name="T44" fmla="*/ 1683 w 1706"/>
                    <a:gd name="T45" fmla="*/ 1173 h 1321"/>
                    <a:gd name="T46" fmla="*/ 1657 w 1706"/>
                    <a:gd name="T47" fmla="*/ 1070 h 1321"/>
                    <a:gd name="T48" fmla="*/ 1623 w 1706"/>
                    <a:gd name="T49" fmla="*/ 968 h 1321"/>
                    <a:gd name="T50" fmla="*/ 1581 w 1706"/>
                    <a:gd name="T51" fmla="*/ 869 h 1321"/>
                    <a:gd name="T52" fmla="*/ 1530 w 1706"/>
                    <a:gd name="T53" fmla="*/ 773 h 1321"/>
                    <a:gd name="T54" fmla="*/ 1474 w 1706"/>
                    <a:gd name="T55" fmla="*/ 680 h 1321"/>
                    <a:gd name="T56" fmla="*/ 1408 w 1706"/>
                    <a:gd name="T57" fmla="*/ 591 h 1321"/>
                    <a:gd name="T58" fmla="*/ 1336 w 1706"/>
                    <a:gd name="T59" fmla="*/ 505 h 1321"/>
                    <a:gd name="T60" fmla="*/ 1256 w 1706"/>
                    <a:gd name="T61" fmla="*/ 424 h 1321"/>
                    <a:gd name="T62" fmla="*/ 1168 w 1706"/>
                    <a:gd name="T63" fmla="*/ 348 h 1321"/>
                    <a:gd name="T64" fmla="*/ 1074 w 1706"/>
                    <a:gd name="T65" fmla="*/ 278 h 1321"/>
                    <a:gd name="T66" fmla="*/ 976 w 1706"/>
                    <a:gd name="T67" fmla="*/ 216 h 1321"/>
                    <a:gd name="T68" fmla="*/ 875 w 1706"/>
                    <a:gd name="T69" fmla="*/ 162 h 1321"/>
                    <a:gd name="T70" fmla="*/ 770 w 1706"/>
                    <a:gd name="T71" fmla="*/ 115 h 1321"/>
                    <a:gd name="T72" fmla="*/ 663 w 1706"/>
                    <a:gd name="T73" fmla="*/ 77 h 1321"/>
                    <a:gd name="T74" fmla="*/ 555 w 1706"/>
                    <a:gd name="T75" fmla="*/ 46 h 1321"/>
                    <a:gd name="T76" fmla="*/ 445 w 1706"/>
                    <a:gd name="T77" fmla="*/ 23 h 1321"/>
                    <a:gd name="T78" fmla="*/ 334 w 1706"/>
                    <a:gd name="T79" fmla="*/ 8 h 1321"/>
                    <a:gd name="T80" fmla="*/ 223 w 1706"/>
                    <a:gd name="T81" fmla="*/ 0 h 1321"/>
                    <a:gd name="T82" fmla="*/ 112 w 1706"/>
                    <a:gd name="T83" fmla="*/ 1 h 1321"/>
                    <a:gd name="T84" fmla="*/ 0 w 1706"/>
                    <a:gd name="T85" fmla="*/ 8 h 1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2" name="Freeform 227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108 w 1252"/>
                    <a:gd name="T1" fmla="*/ 1736 h 1753"/>
                    <a:gd name="T2" fmla="*/ 214 w 1252"/>
                    <a:gd name="T3" fmla="*/ 1705 h 1753"/>
                    <a:gd name="T4" fmla="*/ 318 w 1252"/>
                    <a:gd name="T5" fmla="*/ 1667 h 1753"/>
                    <a:gd name="T6" fmla="*/ 419 w 1252"/>
                    <a:gd name="T7" fmla="*/ 1621 h 1753"/>
                    <a:gd name="T8" fmla="*/ 517 w 1252"/>
                    <a:gd name="T9" fmla="*/ 1568 h 1753"/>
                    <a:gd name="T10" fmla="*/ 611 w 1252"/>
                    <a:gd name="T11" fmla="*/ 1509 h 1753"/>
                    <a:gd name="T12" fmla="*/ 702 w 1252"/>
                    <a:gd name="T13" fmla="*/ 1441 h 1753"/>
                    <a:gd name="T14" fmla="*/ 786 w 1252"/>
                    <a:gd name="T15" fmla="*/ 1368 h 1753"/>
                    <a:gd name="T16" fmla="*/ 866 w 1252"/>
                    <a:gd name="T17" fmla="*/ 1288 h 1753"/>
                    <a:gd name="T18" fmla="*/ 940 w 1252"/>
                    <a:gd name="T19" fmla="*/ 1201 h 1753"/>
                    <a:gd name="T20" fmla="*/ 1008 w 1252"/>
                    <a:gd name="T21" fmla="*/ 1108 h 1753"/>
                    <a:gd name="T22" fmla="*/ 1069 w 1252"/>
                    <a:gd name="T23" fmla="*/ 1011 h 1753"/>
                    <a:gd name="T24" fmla="*/ 1120 w 1252"/>
                    <a:gd name="T25" fmla="*/ 911 h 1753"/>
                    <a:gd name="T26" fmla="*/ 1164 w 1252"/>
                    <a:gd name="T27" fmla="*/ 808 h 1753"/>
                    <a:gd name="T28" fmla="*/ 1197 w 1252"/>
                    <a:gd name="T29" fmla="*/ 704 h 1753"/>
                    <a:gd name="T30" fmla="*/ 1224 w 1252"/>
                    <a:gd name="T31" fmla="*/ 599 h 1753"/>
                    <a:gd name="T32" fmla="*/ 1241 w 1252"/>
                    <a:gd name="T33" fmla="*/ 493 h 1753"/>
                    <a:gd name="T34" fmla="*/ 1251 w 1252"/>
                    <a:gd name="T35" fmla="*/ 387 h 1753"/>
                    <a:gd name="T36" fmla="*/ 1252 w 1252"/>
                    <a:gd name="T37" fmla="*/ 280 h 1753"/>
                    <a:gd name="T38" fmla="*/ 1246 w 1252"/>
                    <a:gd name="T39" fmla="*/ 174 h 1753"/>
                    <a:gd name="T40" fmla="*/ 1231 w 1252"/>
                    <a:gd name="T41" fmla="*/ 69 h 1753"/>
                    <a:gd name="T42" fmla="*/ 1180 w 1252"/>
                    <a:gd name="T43" fmla="*/ 8 h 1753"/>
                    <a:gd name="T44" fmla="*/ 1073 w 1252"/>
                    <a:gd name="T45" fmla="*/ 37 h 1753"/>
                    <a:gd name="T46" fmla="*/ 968 w 1252"/>
                    <a:gd name="T47" fmla="*/ 73 h 1753"/>
                    <a:gd name="T48" fmla="*/ 866 w 1252"/>
                    <a:gd name="T49" fmla="*/ 116 h 1753"/>
                    <a:gd name="T50" fmla="*/ 767 w 1252"/>
                    <a:gd name="T51" fmla="*/ 167 h 1753"/>
                    <a:gd name="T52" fmla="*/ 672 w 1252"/>
                    <a:gd name="T53" fmla="*/ 224 h 1753"/>
                    <a:gd name="T54" fmla="*/ 581 w 1252"/>
                    <a:gd name="T55" fmla="*/ 288 h 1753"/>
                    <a:gd name="T56" fmla="*/ 494 w 1252"/>
                    <a:gd name="T57" fmla="*/ 359 h 1753"/>
                    <a:gd name="T58" fmla="*/ 412 w 1252"/>
                    <a:gd name="T59" fmla="*/ 437 h 1753"/>
                    <a:gd name="T60" fmla="*/ 336 w 1252"/>
                    <a:gd name="T61" fmla="*/ 521 h 1753"/>
                    <a:gd name="T62" fmla="*/ 267 w 1252"/>
                    <a:gd name="T63" fmla="*/ 612 h 1753"/>
                    <a:gd name="T64" fmla="*/ 204 w 1252"/>
                    <a:gd name="T65" fmla="*/ 709 h 1753"/>
                    <a:gd name="T66" fmla="*/ 149 w 1252"/>
                    <a:gd name="T67" fmla="*/ 808 h 1753"/>
                    <a:gd name="T68" fmla="*/ 103 w 1252"/>
                    <a:gd name="T69" fmla="*/ 910 h 1753"/>
                    <a:gd name="T70" fmla="*/ 66 w 1252"/>
                    <a:gd name="T71" fmla="*/ 1013 h 1753"/>
                    <a:gd name="T72" fmla="*/ 36 w 1252"/>
                    <a:gd name="T73" fmla="*/ 1118 h 1753"/>
                    <a:gd name="T74" fmla="*/ 16 w 1252"/>
                    <a:gd name="T75" fmla="*/ 1224 h 1753"/>
                    <a:gd name="T76" fmla="*/ 4 w 1252"/>
                    <a:gd name="T77" fmla="*/ 1330 h 1753"/>
                    <a:gd name="T78" fmla="*/ 0 w 1252"/>
                    <a:gd name="T79" fmla="*/ 1437 h 1753"/>
                    <a:gd name="T80" fmla="*/ 4 w 1252"/>
                    <a:gd name="T81" fmla="*/ 1544 h 1753"/>
                    <a:gd name="T82" fmla="*/ 16 w 1252"/>
                    <a:gd name="T83" fmla="*/ 1649 h 1753"/>
                    <a:gd name="T84" fmla="*/ 36 w 1252"/>
                    <a:gd name="T85" fmla="*/ 1753 h 1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3" name="Freeform 228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4" cy="109"/>
                </a:xfrm>
                <a:custGeom>
                  <a:avLst/>
                  <a:gdLst>
                    <a:gd name="T0" fmla="*/ 572 w 931"/>
                    <a:gd name="T1" fmla="*/ 43 h 2057"/>
                    <a:gd name="T2" fmla="*/ 487 w 931"/>
                    <a:gd name="T3" fmla="*/ 114 h 2057"/>
                    <a:gd name="T4" fmla="*/ 408 w 931"/>
                    <a:gd name="T5" fmla="*/ 189 h 2057"/>
                    <a:gd name="T6" fmla="*/ 336 w 931"/>
                    <a:gd name="T7" fmla="*/ 270 h 2057"/>
                    <a:gd name="T8" fmla="*/ 269 w 931"/>
                    <a:gd name="T9" fmla="*/ 356 h 2057"/>
                    <a:gd name="T10" fmla="*/ 208 w 931"/>
                    <a:gd name="T11" fmla="*/ 447 h 2057"/>
                    <a:gd name="T12" fmla="*/ 156 w 931"/>
                    <a:gd name="T13" fmla="*/ 542 h 2057"/>
                    <a:gd name="T14" fmla="*/ 109 w 931"/>
                    <a:gd name="T15" fmla="*/ 642 h 2057"/>
                    <a:gd name="T16" fmla="*/ 71 w 931"/>
                    <a:gd name="T17" fmla="*/ 746 h 2057"/>
                    <a:gd name="T18" fmla="*/ 40 w 931"/>
                    <a:gd name="T19" fmla="*/ 853 h 2057"/>
                    <a:gd name="T20" fmla="*/ 17 w 931"/>
                    <a:gd name="T21" fmla="*/ 964 h 2057"/>
                    <a:gd name="T22" fmla="*/ 4 w 931"/>
                    <a:gd name="T23" fmla="*/ 1077 h 2057"/>
                    <a:gd name="T24" fmla="*/ 0 w 931"/>
                    <a:gd name="T25" fmla="*/ 1188 h 2057"/>
                    <a:gd name="T26" fmla="*/ 4 w 931"/>
                    <a:gd name="T27" fmla="*/ 1299 h 2057"/>
                    <a:gd name="T28" fmla="*/ 17 w 931"/>
                    <a:gd name="T29" fmla="*/ 1407 h 2057"/>
                    <a:gd name="T30" fmla="*/ 38 w 931"/>
                    <a:gd name="T31" fmla="*/ 1513 h 2057"/>
                    <a:gd name="T32" fmla="*/ 67 w 931"/>
                    <a:gd name="T33" fmla="*/ 1617 h 2057"/>
                    <a:gd name="T34" fmla="*/ 104 w 931"/>
                    <a:gd name="T35" fmla="*/ 1718 h 2057"/>
                    <a:gd name="T36" fmla="*/ 148 w 931"/>
                    <a:gd name="T37" fmla="*/ 1815 h 2057"/>
                    <a:gd name="T38" fmla="*/ 200 w 931"/>
                    <a:gd name="T39" fmla="*/ 1909 h 2057"/>
                    <a:gd name="T40" fmla="*/ 258 w 931"/>
                    <a:gd name="T41" fmla="*/ 2000 h 2057"/>
                    <a:gd name="T42" fmla="*/ 330 w 931"/>
                    <a:gd name="T43" fmla="*/ 2036 h 2057"/>
                    <a:gd name="T44" fmla="*/ 416 w 931"/>
                    <a:gd name="T45" fmla="*/ 1968 h 2057"/>
                    <a:gd name="T46" fmla="*/ 497 w 931"/>
                    <a:gd name="T47" fmla="*/ 1895 h 2057"/>
                    <a:gd name="T48" fmla="*/ 572 w 931"/>
                    <a:gd name="T49" fmla="*/ 1816 h 2057"/>
                    <a:gd name="T50" fmla="*/ 640 w 931"/>
                    <a:gd name="T51" fmla="*/ 1732 h 2057"/>
                    <a:gd name="T52" fmla="*/ 703 w 931"/>
                    <a:gd name="T53" fmla="*/ 1643 h 2057"/>
                    <a:gd name="T54" fmla="*/ 759 w 931"/>
                    <a:gd name="T55" fmla="*/ 1549 h 2057"/>
                    <a:gd name="T56" fmla="*/ 807 w 931"/>
                    <a:gd name="T57" fmla="*/ 1450 h 2057"/>
                    <a:gd name="T58" fmla="*/ 848 w 931"/>
                    <a:gd name="T59" fmla="*/ 1348 h 2057"/>
                    <a:gd name="T60" fmla="*/ 882 w 931"/>
                    <a:gd name="T61" fmla="*/ 1241 h 2057"/>
                    <a:gd name="T62" fmla="*/ 907 w 931"/>
                    <a:gd name="T63" fmla="*/ 1131 h 2057"/>
                    <a:gd name="T64" fmla="*/ 923 w 931"/>
                    <a:gd name="T65" fmla="*/ 1019 h 2057"/>
                    <a:gd name="T66" fmla="*/ 930 w 931"/>
                    <a:gd name="T67" fmla="*/ 907 h 2057"/>
                    <a:gd name="T68" fmla="*/ 929 w 931"/>
                    <a:gd name="T69" fmla="*/ 796 h 2057"/>
                    <a:gd name="T70" fmla="*/ 919 w 931"/>
                    <a:gd name="T71" fmla="*/ 687 h 2057"/>
                    <a:gd name="T72" fmla="*/ 901 w 931"/>
                    <a:gd name="T73" fmla="*/ 580 h 2057"/>
                    <a:gd name="T74" fmla="*/ 875 w 931"/>
                    <a:gd name="T75" fmla="*/ 476 h 2057"/>
                    <a:gd name="T76" fmla="*/ 840 w 931"/>
                    <a:gd name="T77" fmla="*/ 374 h 2057"/>
                    <a:gd name="T78" fmla="*/ 798 w 931"/>
                    <a:gd name="T79" fmla="*/ 275 h 2057"/>
                    <a:gd name="T80" fmla="*/ 748 w 931"/>
                    <a:gd name="T81" fmla="*/ 180 h 2057"/>
                    <a:gd name="T82" fmla="*/ 693 w 931"/>
                    <a:gd name="T83" fmla="*/ 87 h 2057"/>
                    <a:gd name="T84" fmla="*/ 630 w 931"/>
                    <a:gd name="T85" fmla="*/ 0 h 20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4" name="Freeform 229"/>
                <p:cNvSpPr>
                  <a:spLocks/>
                </p:cNvSpPr>
                <p:nvPr/>
              </p:nvSpPr>
              <p:spPr bwMode="auto">
                <a:xfrm rot="-2429734">
                  <a:off x="725" y="1881"/>
                  <a:ext cx="60" cy="97"/>
                </a:xfrm>
                <a:custGeom>
                  <a:avLst/>
                  <a:gdLst>
                    <a:gd name="T0" fmla="*/ 51 w 1153"/>
                    <a:gd name="T1" fmla="*/ 67 h 1847"/>
                    <a:gd name="T2" fmla="*/ 26 w 1153"/>
                    <a:gd name="T3" fmla="*/ 171 h 1847"/>
                    <a:gd name="T4" fmla="*/ 9 w 1153"/>
                    <a:gd name="T5" fmla="*/ 277 h 1847"/>
                    <a:gd name="T6" fmla="*/ 1 w 1153"/>
                    <a:gd name="T7" fmla="*/ 383 h 1847"/>
                    <a:gd name="T8" fmla="*/ 0 w 1153"/>
                    <a:gd name="T9" fmla="*/ 489 h 1847"/>
                    <a:gd name="T10" fmla="*/ 7 w 1153"/>
                    <a:gd name="T11" fmla="*/ 597 h 1847"/>
                    <a:gd name="T12" fmla="*/ 24 w 1153"/>
                    <a:gd name="T13" fmla="*/ 704 h 1847"/>
                    <a:gd name="T14" fmla="*/ 48 w 1153"/>
                    <a:gd name="T15" fmla="*/ 810 h 1847"/>
                    <a:gd name="T16" fmla="*/ 81 w 1153"/>
                    <a:gd name="T17" fmla="*/ 916 h 1847"/>
                    <a:gd name="T18" fmla="*/ 123 w 1153"/>
                    <a:gd name="T19" fmla="*/ 1020 h 1847"/>
                    <a:gd name="T20" fmla="*/ 173 w 1153"/>
                    <a:gd name="T21" fmla="*/ 1122 h 1847"/>
                    <a:gd name="T22" fmla="*/ 232 w 1153"/>
                    <a:gd name="T23" fmla="*/ 1221 h 1847"/>
                    <a:gd name="T24" fmla="*/ 299 w 1153"/>
                    <a:gd name="T25" fmla="*/ 1313 h 1847"/>
                    <a:gd name="T26" fmla="*/ 370 w 1153"/>
                    <a:gd name="T27" fmla="*/ 1400 h 1847"/>
                    <a:gd name="T28" fmla="*/ 448 w 1153"/>
                    <a:gd name="T29" fmla="*/ 1480 h 1847"/>
                    <a:gd name="T30" fmla="*/ 530 w 1153"/>
                    <a:gd name="T31" fmla="*/ 1554 h 1847"/>
                    <a:gd name="T32" fmla="*/ 619 w 1153"/>
                    <a:gd name="T33" fmla="*/ 1621 h 1847"/>
                    <a:gd name="T34" fmla="*/ 711 w 1153"/>
                    <a:gd name="T35" fmla="*/ 1682 h 1847"/>
                    <a:gd name="T36" fmla="*/ 807 w 1153"/>
                    <a:gd name="T37" fmla="*/ 1736 h 1847"/>
                    <a:gd name="T38" fmla="*/ 907 w 1153"/>
                    <a:gd name="T39" fmla="*/ 1784 h 1847"/>
                    <a:gd name="T40" fmla="*/ 1010 w 1153"/>
                    <a:gd name="T41" fmla="*/ 1824 h 1847"/>
                    <a:gd name="T42" fmla="*/ 1091 w 1153"/>
                    <a:gd name="T43" fmla="*/ 1813 h 1847"/>
                    <a:gd name="T44" fmla="*/ 1119 w 1153"/>
                    <a:gd name="T45" fmla="*/ 1711 h 1847"/>
                    <a:gd name="T46" fmla="*/ 1138 w 1153"/>
                    <a:gd name="T47" fmla="*/ 1606 h 1847"/>
                    <a:gd name="T48" fmla="*/ 1149 w 1153"/>
                    <a:gd name="T49" fmla="*/ 1500 h 1847"/>
                    <a:gd name="T50" fmla="*/ 1153 w 1153"/>
                    <a:gd name="T51" fmla="*/ 1394 h 1847"/>
                    <a:gd name="T52" fmla="*/ 1148 w 1153"/>
                    <a:gd name="T53" fmla="*/ 1287 h 1847"/>
                    <a:gd name="T54" fmla="*/ 1135 w 1153"/>
                    <a:gd name="T55" fmla="*/ 1180 h 1847"/>
                    <a:gd name="T56" fmla="*/ 1113 w 1153"/>
                    <a:gd name="T57" fmla="*/ 1073 h 1847"/>
                    <a:gd name="T58" fmla="*/ 1083 w 1153"/>
                    <a:gd name="T59" fmla="*/ 967 h 1847"/>
                    <a:gd name="T60" fmla="*/ 1044 w 1153"/>
                    <a:gd name="T61" fmla="*/ 862 h 1847"/>
                    <a:gd name="T62" fmla="*/ 997 w 1153"/>
                    <a:gd name="T63" fmla="*/ 759 h 1847"/>
                    <a:gd name="T64" fmla="*/ 940 w 1153"/>
                    <a:gd name="T65" fmla="*/ 659 h 1847"/>
                    <a:gd name="T66" fmla="*/ 877 w 1153"/>
                    <a:gd name="T67" fmla="*/ 565 h 1847"/>
                    <a:gd name="T68" fmla="*/ 807 w 1153"/>
                    <a:gd name="T69" fmla="*/ 476 h 1847"/>
                    <a:gd name="T70" fmla="*/ 731 w 1153"/>
                    <a:gd name="T71" fmla="*/ 394 h 1847"/>
                    <a:gd name="T72" fmla="*/ 650 w 1153"/>
                    <a:gd name="T73" fmla="*/ 318 h 1847"/>
                    <a:gd name="T74" fmla="*/ 564 w 1153"/>
                    <a:gd name="T75" fmla="*/ 248 h 1847"/>
                    <a:gd name="T76" fmla="*/ 472 w 1153"/>
                    <a:gd name="T77" fmla="*/ 185 h 1847"/>
                    <a:gd name="T78" fmla="*/ 378 w 1153"/>
                    <a:gd name="T79" fmla="*/ 127 h 1847"/>
                    <a:gd name="T80" fmla="*/ 279 w 1153"/>
                    <a:gd name="T81" fmla="*/ 78 h 1847"/>
                    <a:gd name="T82" fmla="*/ 177 w 1153"/>
                    <a:gd name="T83" fmla="*/ 35 h 1847"/>
                    <a:gd name="T84" fmla="*/ 71 w 1153"/>
                    <a:gd name="T85" fmla="*/ 0 h 18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5" name="Freeform 230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17 w 1849"/>
                    <a:gd name="T1" fmla="*/ 105 h 1185"/>
                    <a:gd name="T2" fmla="*/ 50 w 1849"/>
                    <a:gd name="T3" fmla="*/ 206 h 1185"/>
                    <a:gd name="T4" fmla="*/ 91 w 1849"/>
                    <a:gd name="T5" fmla="*/ 304 h 1185"/>
                    <a:gd name="T6" fmla="*/ 141 w 1849"/>
                    <a:gd name="T7" fmla="*/ 400 h 1185"/>
                    <a:gd name="T8" fmla="*/ 196 w 1849"/>
                    <a:gd name="T9" fmla="*/ 493 h 1185"/>
                    <a:gd name="T10" fmla="*/ 260 w 1849"/>
                    <a:gd name="T11" fmla="*/ 582 h 1185"/>
                    <a:gd name="T12" fmla="*/ 330 w 1849"/>
                    <a:gd name="T13" fmla="*/ 667 h 1185"/>
                    <a:gd name="T14" fmla="*/ 407 w 1849"/>
                    <a:gd name="T15" fmla="*/ 747 h 1185"/>
                    <a:gd name="T16" fmla="*/ 492 w 1849"/>
                    <a:gd name="T17" fmla="*/ 822 h 1185"/>
                    <a:gd name="T18" fmla="*/ 584 w 1849"/>
                    <a:gd name="T19" fmla="*/ 892 h 1185"/>
                    <a:gd name="T20" fmla="*/ 682 w 1849"/>
                    <a:gd name="T21" fmla="*/ 956 h 1185"/>
                    <a:gd name="T22" fmla="*/ 785 w 1849"/>
                    <a:gd name="T23" fmla="*/ 1013 h 1185"/>
                    <a:gd name="T24" fmla="*/ 890 w 1849"/>
                    <a:gd name="T25" fmla="*/ 1062 h 1185"/>
                    <a:gd name="T26" fmla="*/ 998 w 1849"/>
                    <a:gd name="T27" fmla="*/ 1102 h 1185"/>
                    <a:gd name="T28" fmla="*/ 1108 w 1849"/>
                    <a:gd name="T29" fmla="*/ 1134 h 1185"/>
                    <a:gd name="T30" fmla="*/ 1218 w 1849"/>
                    <a:gd name="T31" fmla="*/ 1159 h 1185"/>
                    <a:gd name="T32" fmla="*/ 1330 w 1849"/>
                    <a:gd name="T33" fmla="*/ 1175 h 1185"/>
                    <a:gd name="T34" fmla="*/ 1443 w 1849"/>
                    <a:gd name="T35" fmla="*/ 1183 h 1185"/>
                    <a:gd name="T36" fmla="*/ 1554 w 1849"/>
                    <a:gd name="T37" fmla="*/ 1184 h 1185"/>
                    <a:gd name="T38" fmla="*/ 1666 w 1849"/>
                    <a:gd name="T39" fmla="*/ 1177 h 1185"/>
                    <a:gd name="T40" fmla="*/ 1776 w 1849"/>
                    <a:gd name="T41" fmla="*/ 1163 h 1185"/>
                    <a:gd name="T42" fmla="*/ 1840 w 1849"/>
                    <a:gd name="T43" fmla="*/ 1114 h 1185"/>
                    <a:gd name="T44" fmla="*/ 1810 w 1849"/>
                    <a:gd name="T45" fmla="*/ 1013 h 1185"/>
                    <a:gd name="T46" fmla="*/ 1771 w 1849"/>
                    <a:gd name="T47" fmla="*/ 913 h 1185"/>
                    <a:gd name="T48" fmla="*/ 1725 w 1849"/>
                    <a:gd name="T49" fmla="*/ 816 h 1185"/>
                    <a:gd name="T50" fmla="*/ 1671 w 1849"/>
                    <a:gd name="T51" fmla="*/ 723 h 1185"/>
                    <a:gd name="T52" fmla="*/ 1611 w 1849"/>
                    <a:gd name="T53" fmla="*/ 632 h 1185"/>
                    <a:gd name="T54" fmla="*/ 1543 w 1849"/>
                    <a:gd name="T55" fmla="*/ 546 h 1185"/>
                    <a:gd name="T56" fmla="*/ 1468 w 1849"/>
                    <a:gd name="T57" fmla="*/ 464 h 1185"/>
                    <a:gd name="T58" fmla="*/ 1385 w 1849"/>
                    <a:gd name="T59" fmla="*/ 387 h 1185"/>
                    <a:gd name="T60" fmla="*/ 1296 w 1849"/>
                    <a:gd name="T61" fmla="*/ 315 h 1185"/>
                    <a:gd name="T62" fmla="*/ 1200 w 1849"/>
                    <a:gd name="T63" fmla="*/ 249 h 1185"/>
                    <a:gd name="T64" fmla="*/ 1098 w 1849"/>
                    <a:gd name="T65" fmla="*/ 190 h 1185"/>
                    <a:gd name="T66" fmla="*/ 993 w 1849"/>
                    <a:gd name="T67" fmla="*/ 138 h 1185"/>
                    <a:gd name="T68" fmla="*/ 886 w 1849"/>
                    <a:gd name="T69" fmla="*/ 95 h 1185"/>
                    <a:gd name="T70" fmla="*/ 777 w 1849"/>
                    <a:gd name="T71" fmla="*/ 60 h 1185"/>
                    <a:gd name="T72" fmla="*/ 667 w 1849"/>
                    <a:gd name="T73" fmla="*/ 33 h 1185"/>
                    <a:gd name="T74" fmla="*/ 555 w 1849"/>
                    <a:gd name="T75" fmla="*/ 14 h 1185"/>
                    <a:gd name="T76" fmla="*/ 443 w 1849"/>
                    <a:gd name="T77" fmla="*/ 3 h 1185"/>
                    <a:gd name="T78" fmla="*/ 331 w 1849"/>
                    <a:gd name="T79" fmla="*/ 0 h 1185"/>
                    <a:gd name="T80" fmla="*/ 220 w 1849"/>
                    <a:gd name="T81" fmla="*/ 5 h 1185"/>
                    <a:gd name="T82" fmla="*/ 109 w 1849"/>
                    <a:gd name="T83" fmla="*/ 17 h 1185"/>
                    <a:gd name="T84" fmla="*/ 0 w 1849"/>
                    <a:gd name="T85" fmla="*/ 36 h 1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6" name="Freeform 231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34 w 2066"/>
                    <a:gd name="T1" fmla="*/ 208 h 979"/>
                    <a:gd name="T2" fmla="*/ 91 w 2066"/>
                    <a:gd name="T3" fmla="*/ 299 h 979"/>
                    <a:gd name="T4" fmla="*/ 154 w 2066"/>
                    <a:gd name="T5" fmla="*/ 387 h 979"/>
                    <a:gd name="T6" fmla="*/ 224 w 2066"/>
                    <a:gd name="T7" fmla="*/ 470 h 979"/>
                    <a:gd name="T8" fmla="*/ 300 w 2066"/>
                    <a:gd name="T9" fmla="*/ 548 h 979"/>
                    <a:gd name="T10" fmla="*/ 383 w 2066"/>
                    <a:gd name="T11" fmla="*/ 621 h 979"/>
                    <a:gd name="T12" fmla="*/ 472 w 2066"/>
                    <a:gd name="T13" fmla="*/ 689 h 979"/>
                    <a:gd name="T14" fmla="*/ 566 w 2066"/>
                    <a:gd name="T15" fmla="*/ 750 h 979"/>
                    <a:gd name="T16" fmla="*/ 666 w 2066"/>
                    <a:gd name="T17" fmla="*/ 806 h 979"/>
                    <a:gd name="T18" fmla="*/ 772 w 2066"/>
                    <a:gd name="T19" fmla="*/ 854 h 979"/>
                    <a:gd name="T20" fmla="*/ 883 w 2066"/>
                    <a:gd name="T21" fmla="*/ 896 h 979"/>
                    <a:gd name="T22" fmla="*/ 997 w 2066"/>
                    <a:gd name="T23" fmla="*/ 929 h 979"/>
                    <a:gd name="T24" fmla="*/ 1112 w 2066"/>
                    <a:gd name="T25" fmla="*/ 954 h 979"/>
                    <a:gd name="T26" fmla="*/ 1226 w 2066"/>
                    <a:gd name="T27" fmla="*/ 970 h 979"/>
                    <a:gd name="T28" fmla="*/ 1340 w 2066"/>
                    <a:gd name="T29" fmla="*/ 979 h 979"/>
                    <a:gd name="T30" fmla="*/ 1455 w 2066"/>
                    <a:gd name="T31" fmla="*/ 978 h 979"/>
                    <a:gd name="T32" fmla="*/ 1567 w 2066"/>
                    <a:gd name="T33" fmla="*/ 970 h 979"/>
                    <a:gd name="T34" fmla="*/ 1678 w 2066"/>
                    <a:gd name="T35" fmla="*/ 955 h 979"/>
                    <a:gd name="T36" fmla="*/ 1787 w 2066"/>
                    <a:gd name="T37" fmla="*/ 931 h 979"/>
                    <a:gd name="T38" fmla="*/ 1895 w 2066"/>
                    <a:gd name="T39" fmla="*/ 901 h 979"/>
                    <a:gd name="T40" fmla="*/ 1999 w 2066"/>
                    <a:gd name="T41" fmla="*/ 863 h 979"/>
                    <a:gd name="T42" fmla="*/ 2049 w 2066"/>
                    <a:gd name="T43" fmla="*/ 803 h 979"/>
                    <a:gd name="T44" fmla="*/ 1996 w 2066"/>
                    <a:gd name="T45" fmla="*/ 710 h 979"/>
                    <a:gd name="T46" fmla="*/ 1935 w 2066"/>
                    <a:gd name="T47" fmla="*/ 621 h 979"/>
                    <a:gd name="T48" fmla="*/ 1866 w 2066"/>
                    <a:gd name="T49" fmla="*/ 537 h 979"/>
                    <a:gd name="T50" fmla="*/ 1793 w 2066"/>
                    <a:gd name="T51" fmla="*/ 457 h 979"/>
                    <a:gd name="T52" fmla="*/ 1712 w 2066"/>
                    <a:gd name="T53" fmla="*/ 382 h 979"/>
                    <a:gd name="T54" fmla="*/ 1625 w 2066"/>
                    <a:gd name="T55" fmla="*/ 312 h 979"/>
                    <a:gd name="T56" fmla="*/ 1533 w 2066"/>
                    <a:gd name="T57" fmla="*/ 249 h 979"/>
                    <a:gd name="T58" fmla="*/ 1434 w 2066"/>
                    <a:gd name="T59" fmla="*/ 191 h 979"/>
                    <a:gd name="T60" fmla="*/ 1331 w 2066"/>
                    <a:gd name="T61" fmla="*/ 140 h 979"/>
                    <a:gd name="T62" fmla="*/ 1221 w 2066"/>
                    <a:gd name="T63" fmla="*/ 96 h 979"/>
                    <a:gd name="T64" fmla="*/ 1107 w 2066"/>
                    <a:gd name="T65" fmla="*/ 60 h 979"/>
                    <a:gd name="T66" fmla="*/ 993 w 2066"/>
                    <a:gd name="T67" fmla="*/ 32 h 979"/>
                    <a:gd name="T68" fmla="*/ 879 w 2066"/>
                    <a:gd name="T69" fmla="*/ 13 h 979"/>
                    <a:gd name="T70" fmla="*/ 764 w 2066"/>
                    <a:gd name="T71" fmla="*/ 3 h 979"/>
                    <a:gd name="T72" fmla="*/ 650 w 2066"/>
                    <a:gd name="T73" fmla="*/ 0 h 979"/>
                    <a:gd name="T74" fmla="*/ 537 w 2066"/>
                    <a:gd name="T75" fmla="*/ 5 h 979"/>
                    <a:gd name="T76" fmla="*/ 425 w 2066"/>
                    <a:gd name="T77" fmla="*/ 18 h 979"/>
                    <a:gd name="T78" fmla="*/ 315 w 2066"/>
                    <a:gd name="T79" fmla="*/ 39 h 979"/>
                    <a:gd name="T80" fmla="*/ 208 w 2066"/>
                    <a:gd name="T81" fmla="*/ 67 h 979"/>
                    <a:gd name="T82" fmla="*/ 102 w 2066"/>
                    <a:gd name="T83" fmla="*/ 103 h 979"/>
                    <a:gd name="T84" fmla="*/ 0 w 2066"/>
                    <a:gd name="T85" fmla="*/ 145 h 9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7" name="Freeform 232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4"/>
                </a:xfrm>
                <a:custGeom>
                  <a:avLst/>
                  <a:gdLst>
                    <a:gd name="T0" fmla="*/ 45 w 2160"/>
                    <a:gd name="T1" fmla="*/ 331 h 889"/>
                    <a:gd name="T2" fmla="*/ 117 w 2160"/>
                    <a:gd name="T3" fmla="*/ 412 h 889"/>
                    <a:gd name="T4" fmla="*/ 195 w 2160"/>
                    <a:gd name="T5" fmla="*/ 487 h 889"/>
                    <a:gd name="T6" fmla="*/ 279 w 2160"/>
                    <a:gd name="T7" fmla="*/ 557 h 889"/>
                    <a:gd name="T8" fmla="*/ 369 w 2160"/>
                    <a:gd name="T9" fmla="*/ 622 h 889"/>
                    <a:gd name="T10" fmla="*/ 463 w 2160"/>
                    <a:gd name="T11" fmla="*/ 681 h 889"/>
                    <a:gd name="T12" fmla="*/ 563 w 2160"/>
                    <a:gd name="T13" fmla="*/ 733 h 889"/>
                    <a:gd name="T14" fmla="*/ 668 w 2160"/>
                    <a:gd name="T15" fmla="*/ 778 h 889"/>
                    <a:gd name="T16" fmla="*/ 776 w 2160"/>
                    <a:gd name="T17" fmla="*/ 816 h 889"/>
                    <a:gd name="T18" fmla="*/ 890 w 2160"/>
                    <a:gd name="T19" fmla="*/ 846 h 889"/>
                    <a:gd name="T20" fmla="*/ 1007 w 2160"/>
                    <a:gd name="T21" fmla="*/ 869 h 889"/>
                    <a:gd name="T22" fmla="*/ 1124 w 2160"/>
                    <a:gd name="T23" fmla="*/ 883 h 889"/>
                    <a:gd name="T24" fmla="*/ 1241 w 2160"/>
                    <a:gd name="T25" fmla="*/ 889 h 889"/>
                    <a:gd name="T26" fmla="*/ 1358 w 2160"/>
                    <a:gd name="T27" fmla="*/ 886 h 889"/>
                    <a:gd name="T28" fmla="*/ 1472 w 2160"/>
                    <a:gd name="T29" fmla="*/ 875 h 889"/>
                    <a:gd name="T30" fmla="*/ 1584 w 2160"/>
                    <a:gd name="T31" fmla="*/ 857 h 889"/>
                    <a:gd name="T32" fmla="*/ 1694 w 2160"/>
                    <a:gd name="T33" fmla="*/ 830 h 889"/>
                    <a:gd name="T34" fmla="*/ 1800 w 2160"/>
                    <a:gd name="T35" fmla="*/ 797 h 889"/>
                    <a:gd name="T36" fmla="*/ 1903 w 2160"/>
                    <a:gd name="T37" fmla="*/ 756 h 889"/>
                    <a:gd name="T38" fmla="*/ 2003 w 2160"/>
                    <a:gd name="T39" fmla="*/ 708 h 889"/>
                    <a:gd name="T40" fmla="*/ 2099 w 2160"/>
                    <a:gd name="T41" fmla="*/ 654 h 889"/>
                    <a:gd name="T42" fmla="*/ 2138 w 2160"/>
                    <a:gd name="T43" fmla="*/ 586 h 889"/>
                    <a:gd name="T44" fmla="*/ 2069 w 2160"/>
                    <a:gd name="T45" fmla="*/ 503 h 889"/>
                    <a:gd name="T46" fmla="*/ 1992 w 2160"/>
                    <a:gd name="T47" fmla="*/ 426 h 889"/>
                    <a:gd name="T48" fmla="*/ 1910 w 2160"/>
                    <a:gd name="T49" fmla="*/ 354 h 889"/>
                    <a:gd name="T50" fmla="*/ 1822 w 2160"/>
                    <a:gd name="T51" fmla="*/ 287 h 889"/>
                    <a:gd name="T52" fmla="*/ 1729 w 2160"/>
                    <a:gd name="T53" fmla="*/ 227 h 889"/>
                    <a:gd name="T54" fmla="*/ 1631 w 2160"/>
                    <a:gd name="T55" fmla="*/ 173 h 889"/>
                    <a:gd name="T56" fmla="*/ 1528 w 2160"/>
                    <a:gd name="T57" fmla="*/ 125 h 889"/>
                    <a:gd name="T58" fmla="*/ 1420 w 2160"/>
                    <a:gd name="T59" fmla="*/ 85 h 889"/>
                    <a:gd name="T60" fmla="*/ 1310 w 2160"/>
                    <a:gd name="T61" fmla="*/ 51 h 889"/>
                    <a:gd name="T62" fmla="*/ 1194 w 2160"/>
                    <a:gd name="T63" fmla="*/ 26 h 889"/>
                    <a:gd name="T64" fmla="*/ 1075 w 2160"/>
                    <a:gd name="T65" fmla="*/ 9 h 889"/>
                    <a:gd name="T66" fmla="*/ 958 w 2160"/>
                    <a:gd name="T67" fmla="*/ 0 h 889"/>
                    <a:gd name="T68" fmla="*/ 841 w 2160"/>
                    <a:gd name="T69" fmla="*/ 0 h 889"/>
                    <a:gd name="T70" fmla="*/ 727 w 2160"/>
                    <a:gd name="T71" fmla="*/ 9 h 889"/>
                    <a:gd name="T72" fmla="*/ 614 w 2160"/>
                    <a:gd name="T73" fmla="*/ 25 h 889"/>
                    <a:gd name="T74" fmla="*/ 503 w 2160"/>
                    <a:gd name="T75" fmla="*/ 49 h 889"/>
                    <a:gd name="T76" fmla="*/ 396 w 2160"/>
                    <a:gd name="T77" fmla="*/ 80 h 889"/>
                    <a:gd name="T78" fmla="*/ 291 w 2160"/>
                    <a:gd name="T79" fmla="*/ 119 h 889"/>
                    <a:gd name="T80" fmla="*/ 190 w 2160"/>
                    <a:gd name="T81" fmla="*/ 164 h 889"/>
                    <a:gd name="T82" fmla="*/ 93 w 2160"/>
                    <a:gd name="T83" fmla="*/ 216 h 889"/>
                    <a:gd name="T84" fmla="*/ 0 w 2160"/>
                    <a:gd name="T85" fmla="*/ 274 h 8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8" name="Freeform 233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3" cy="46"/>
                </a:xfrm>
                <a:custGeom>
                  <a:avLst/>
                  <a:gdLst>
                    <a:gd name="T0" fmla="*/ 66 w 2113"/>
                    <a:gd name="T1" fmla="*/ 774 h 936"/>
                    <a:gd name="T2" fmla="*/ 166 w 2113"/>
                    <a:gd name="T3" fmla="*/ 819 h 936"/>
                    <a:gd name="T4" fmla="*/ 271 w 2113"/>
                    <a:gd name="T5" fmla="*/ 857 h 936"/>
                    <a:gd name="T6" fmla="*/ 378 w 2113"/>
                    <a:gd name="T7" fmla="*/ 888 h 936"/>
                    <a:gd name="T8" fmla="*/ 488 w 2113"/>
                    <a:gd name="T9" fmla="*/ 911 h 936"/>
                    <a:gd name="T10" fmla="*/ 600 w 2113"/>
                    <a:gd name="T11" fmla="*/ 927 h 936"/>
                    <a:gd name="T12" fmla="*/ 713 w 2113"/>
                    <a:gd name="T13" fmla="*/ 935 h 936"/>
                    <a:gd name="T14" fmla="*/ 828 w 2113"/>
                    <a:gd name="T15" fmla="*/ 935 h 936"/>
                    <a:gd name="T16" fmla="*/ 943 w 2113"/>
                    <a:gd name="T17" fmla="*/ 926 h 936"/>
                    <a:gd name="T18" fmla="*/ 1060 w 2113"/>
                    <a:gd name="T19" fmla="*/ 910 h 936"/>
                    <a:gd name="T20" fmla="*/ 1175 w 2113"/>
                    <a:gd name="T21" fmla="*/ 884 h 936"/>
                    <a:gd name="T22" fmla="*/ 1289 w 2113"/>
                    <a:gd name="T23" fmla="*/ 850 h 936"/>
                    <a:gd name="T24" fmla="*/ 1398 w 2113"/>
                    <a:gd name="T25" fmla="*/ 809 h 936"/>
                    <a:gd name="T26" fmla="*/ 1503 w 2113"/>
                    <a:gd name="T27" fmla="*/ 761 h 936"/>
                    <a:gd name="T28" fmla="*/ 1602 w 2113"/>
                    <a:gd name="T29" fmla="*/ 706 h 936"/>
                    <a:gd name="T30" fmla="*/ 1695 w 2113"/>
                    <a:gd name="T31" fmla="*/ 644 h 936"/>
                    <a:gd name="T32" fmla="*/ 1784 w 2113"/>
                    <a:gd name="T33" fmla="*/ 577 h 936"/>
                    <a:gd name="T34" fmla="*/ 1866 w 2113"/>
                    <a:gd name="T35" fmla="*/ 504 h 936"/>
                    <a:gd name="T36" fmla="*/ 1942 w 2113"/>
                    <a:gd name="T37" fmla="*/ 425 h 936"/>
                    <a:gd name="T38" fmla="*/ 2011 w 2113"/>
                    <a:gd name="T39" fmla="*/ 343 h 936"/>
                    <a:gd name="T40" fmla="*/ 2075 w 2113"/>
                    <a:gd name="T41" fmla="*/ 255 h 936"/>
                    <a:gd name="T42" fmla="*/ 2080 w 2113"/>
                    <a:gd name="T43" fmla="*/ 178 h 936"/>
                    <a:gd name="T44" fmla="*/ 1980 w 2113"/>
                    <a:gd name="T45" fmla="*/ 131 h 936"/>
                    <a:gd name="T46" fmla="*/ 1877 w 2113"/>
                    <a:gd name="T47" fmla="*/ 91 h 936"/>
                    <a:gd name="T48" fmla="*/ 1771 w 2113"/>
                    <a:gd name="T49" fmla="*/ 57 h 936"/>
                    <a:gd name="T50" fmla="*/ 1663 w 2113"/>
                    <a:gd name="T51" fmla="*/ 32 h 936"/>
                    <a:gd name="T52" fmla="*/ 1551 w 2113"/>
                    <a:gd name="T53" fmla="*/ 13 h 936"/>
                    <a:gd name="T54" fmla="*/ 1438 w 2113"/>
                    <a:gd name="T55" fmla="*/ 3 h 936"/>
                    <a:gd name="T56" fmla="*/ 1324 w 2113"/>
                    <a:gd name="T57" fmla="*/ 0 h 936"/>
                    <a:gd name="T58" fmla="*/ 1209 w 2113"/>
                    <a:gd name="T59" fmla="*/ 6 h 936"/>
                    <a:gd name="T60" fmla="*/ 1093 w 2113"/>
                    <a:gd name="T61" fmla="*/ 20 h 936"/>
                    <a:gd name="T62" fmla="*/ 976 w 2113"/>
                    <a:gd name="T63" fmla="*/ 42 h 936"/>
                    <a:gd name="T64" fmla="*/ 862 w 2113"/>
                    <a:gd name="T65" fmla="*/ 73 h 936"/>
                    <a:gd name="T66" fmla="*/ 751 w 2113"/>
                    <a:gd name="T67" fmla="*/ 112 h 936"/>
                    <a:gd name="T68" fmla="*/ 645 w 2113"/>
                    <a:gd name="T69" fmla="*/ 158 h 936"/>
                    <a:gd name="T70" fmla="*/ 544 w 2113"/>
                    <a:gd name="T71" fmla="*/ 211 h 936"/>
                    <a:gd name="T72" fmla="*/ 449 w 2113"/>
                    <a:gd name="T73" fmla="*/ 270 h 936"/>
                    <a:gd name="T74" fmla="*/ 359 w 2113"/>
                    <a:gd name="T75" fmla="*/ 336 h 936"/>
                    <a:gd name="T76" fmla="*/ 274 w 2113"/>
                    <a:gd name="T77" fmla="*/ 407 h 936"/>
                    <a:gd name="T78" fmla="*/ 196 w 2113"/>
                    <a:gd name="T79" fmla="*/ 483 h 936"/>
                    <a:gd name="T80" fmla="*/ 125 w 2113"/>
                    <a:gd name="T81" fmla="*/ 565 h 936"/>
                    <a:gd name="T82" fmla="*/ 59 w 2113"/>
                    <a:gd name="T83" fmla="*/ 651 h 936"/>
                    <a:gd name="T84" fmla="*/ 0 w 2113"/>
                    <a:gd name="T85" fmla="*/ 741 h 9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79" name="Freeform 234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72 w 1964"/>
                    <a:gd name="T1" fmla="*/ 1020 h 1077"/>
                    <a:gd name="T2" fmla="*/ 179 w 1964"/>
                    <a:gd name="T3" fmla="*/ 1045 h 1077"/>
                    <a:gd name="T4" fmla="*/ 289 w 1964"/>
                    <a:gd name="T5" fmla="*/ 1063 h 1077"/>
                    <a:gd name="T6" fmla="*/ 401 w 1964"/>
                    <a:gd name="T7" fmla="*/ 1074 h 1077"/>
                    <a:gd name="T8" fmla="*/ 513 w 1964"/>
                    <a:gd name="T9" fmla="*/ 1077 h 1077"/>
                    <a:gd name="T10" fmla="*/ 626 w 1964"/>
                    <a:gd name="T11" fmla="*/ 1072 h 1077"/>
                    <a:gd name="T12" fmla="*/ 739 w 1964"/>
                    <a:gd name="T13" fmla="*/ 1059 h 1077"/>
                    <a:gd name="T14" fmla="*/ 851 w 1964"/>
                    <a:gd name="T15" fmla="*/ 1038 h 1077"/>
                    <a:gd name="T16" fmla="*/ 963 w 1964"/>
                    <a:gd name="T17" fmla="*/ 1009 h 1077"/>
                    <a:gd name="T18" fmla="*/ 1073 w 1964"/>
                    <a:gd name="T19" fmla="*/ 971 h 1077"/>
                    <a:gd name="T20" fmla="*/ 1182 w 1964"/>
                    <a:gd name="T21" fmla="*/ 925 h 1077"/>
                    <a:gd name="T22" fmla="*/ 1287 w 1964"/>
                    <a:gd name="T23" fmla="*/ 871 h 1077"/>
                    <a:gd name="T24" fmla="*/ 1386 w 1964"/>
                    <a:gd name="T25" fmla="*/ 810 h 1077"/>
                    <a:gd name="T26" fmla="*/ 1479 w 1964"/>
                    <a:gd name="T27" fmla="*/ 744 h 1077"/>
                    <a:gd name="T28" fmla="*/ 1564 w 1964"/>
                    <a:gd name="T29" fmla="*/ 672 h 1077"/>
                    <a:gd name="T30" fmla="*/ 1644 w 1964"/>
                    <a:gd name="T31" fmla="*/ 595 h 1077"/>
                    <a:gd name="T32" fmla="*/ 1717 w 1964"/>
                    <a:gd name="T33" fmla="*/ 512 h 1077"/>
                    <a:gd name="T34" fmla="*/ 1783 w 1964"/>
                    <a:gd name="T35" fmla="*/ 426 h 1077"/>
                    <a:gd name="T36" fmla="*/ 1842 w 1964"/>
                    <a:gd name="T37" fmla="*/ 336 h 1077"/>
                    <a:gd name="T38" fmla="*/ 1893 w 1964"/>
                    <a:gd name="T39" fmla="*/ 242 h 1077"/>
                    <a:gd name="T40" fmla="*/ 1938 w 1964"/>
                    <a:gd name="T41" fmla="*/ 144 h 1077"/>
                    <a:gd name="T42" fmla="*/ 1928 w 1964"/>
                    <a:gd name="T43" fmla="*/ 67 h 1077"/>
                    <a:gd name="T44" fmla="*/ 1821 w 1964"/>
                    <a:gd name="T45" fmla="*/ 39 h 1077"/>
                    <a:gd name="T46" fmla="*/ 1711 w 1964"/>
                    <a:gd name="T47" fmla="*/ 19 h 1077"/>
                    <a:gd name="T48" fmla="*/ 1600 w 1964"/>
                    <a:gd name="T49" fmla="*/ 6 h 1077"/>
                    <a:gd name="T50" fmla="*/ 1488 w 1964"/>
                    <a:gd name="T51" fmla="*/ 0 h 1077"/>
                    <a:gd name="T52" fmla="*/ 1376 w 1964"/>
                    <a:gd name="T53" fmla="*/ 2 h 1077"/>
                    <a:gd name="T54" fmla="*/ 1262 w 1964"/>
                    <a:gd name="T55" fmla="*/ 13 h 1077"/>
                    <a:gd name="T56" fmla="*/ 1149 w 1964"/>
                    <a:gd name="T57" fmla="*/ 31 h 1077"/>
                    <a:gd name="T58" fmla="*/ 1038 w 1964"/>
                    <a:gd name="T59" fmla="*/ 58 h 1077"/>
                    <a:gd name="T60" fmla="*/ 926 w 1964"/>
                    <a:gd name="T61" fmla="*/ 93 h 1077"/>
                    <a:gd name="T62" fmla="*/ 817 w 1964"/>
                    <a:gd name="T63" fmla="*/ 136 h 1077"/>
                    <a:gd name="T64" fmla="*/ 710 w 1964"/>
                    <a:gd name="T65" fmla="*/ 187 h 1077"/>
                    <a:gd name="T66" fmla="*/ 609 w 1964"/>
                    <a:gd name="T67" fmla="*/ 246 h 1077"/>
                    <a:gd name="T68" fmla="*/ 516 w 1964"/>
                    <a:gd name="T69" fmla="*/ 310 h 1077"/>
                    <a:gd name="T70" fmla="*/ 427 w 1964"/>
                    <a:gd name="T71" fmla="*/ 381 h 1077"/>
                    <a:gd name="T72" fmla="*/ 345 w 1964"/>
                    <a:gd name="T73" fmla="*/ 456 h 1077"/>
                    <a:gd name="T74" fmla="*/ 270 w 1964"/>
                    <a:gd name="T75" fmla="*/ 537 h 1077"/>
                    <a:gd name="T76" fmla="*/ 202 w 1964"/>
                    <a:gd name="T77" fmla="*/ 622 h 1077"/>
                    <a:gd name="T78" fmla="*/ 141 w 1964"/>
                    <a:gd name="T79" fmla="*/ 711 h 1077"/>
                    <a:gd name="T80" fmla="*/ 86 w 1964"/>
                    <a:gd name="T81" fmla="*/ 804 h 1077"/>
                    <a:gd name="T82" fmla="*/ 40 w 1964"/>
                    <a:gd name="T83" fmla="*/ 900 h 1077"/>
                    <a:gd name="T84" fmla="*/ 0 w 1964"/>
                    <a:gd name="T85" fmla="*/ 999 h 10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80" name="Freeform 235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104 w 1272"/>
                    <a:gd name="T1" fmla="*/ 1720 h 1736"/>
                    <a:gd name="T2" fmla="*/ 211 w 1272"/>
                    <a:gd name="T3" fmla="*/ 1690 h 1736"/>
                    <a:gd name="T4" fmla="*/ 315 w 1272"/>
                    <a:gd name="T5" fmla="*/ 1653 h 1736"/>
                    <a:gd name="T6" fmla="*/ 417 w 1272"/>
                    <a:gd name="T7" fmla="*/ 1609 h 1736"/>
                    <a:gd name="T8" fmla="*/ 516 w 1272"/>
                    <a:gd name="T9" fmla="*/ 1558 h 1736"/>
                    <a:gd name="T10" fmla="*/ 611 w 1272"/>
                    <a:gd name="T11" fmla="*/ 1500 h 1736"/>
                    <a:gd name="T12" fmla="*/ 701 w 1272"/>
                    <a:gd name="T13" fmla="*/ 1434 h 1736"/>
                    <a:gd name="T14" fmla="*/ 788 w 1272"/>
                    <a:gd name="T15" fmla="*/ 1362 h 1736"/>
                    <a:gd name="T16" fmla="*/ 869 w 1272"/>
                    <a:gd name="T17" fmla="*/ 1283 h 1736"/>
                    <a:gd name="T18" fmla="*/ 944 w 1272"/>
                    <a:gd name="T19" fmla="*/ 1197 h 1736"/>
                    <a:gd name="T20" fmla="*/ 1014 w 1272"/>
                    <a:gd name="T21" fmla="*/ 1105 h 1736"/>
                    <a:gd name="T22" fmla="*/ 1076 w 1272"/>
                    <a:gd name="T23" fmla="*/ 1009 h 1736"/>
                    <a:gd name="T24" fmla="*/ 1130 w 1272"/>
                    <a:gd name="T25" fmla="*/ 909 h 1736"/>
                    <a:gd name="T26" fmla="*/ 1174 w 1272"/>
                    <a:gd name="T27" fmla="*/ 808 h 1736"/>
                    <a:gd name="T28" fmla="*/ 1210 w 1272"/>
                    <a:gd name="T29" fmla="*/ 704 h 1736"/>
                    <a:gd name="T30" fmla="*/ 1238 w 1272"/>
                    <a:gd name="T31" fmla="*/ 599 h 1736"/>
                    <a:gd name="T32" fmla="*/ 1257 w 1272"/>
                    <a:gd name="T33" fmla="*/ 494 h 1736"/>
                    <a:gd name="T34" fmla="*/ 1269 w 1272"/>
                    <a:gd name="T35" fmla="*/ 387 h 1736"/>
                    <a:gd name="T36" fmla="*/ 1272 w 1272"/>
                    <a:gd name="T37" fmla="*/ 281 h 1736"/>
                    <a:gd name="T38" fmla="*/ 1267 w 1272"/>
                    <a:gd name="T39" fmla="*/ 175 h 1736"/>
                    <a:gd name="T40" fmla="*/ 1254 w 1272"/>
                    <a:gd name="T41" fmla="*/ 70 h 1736"/>
                    <a:gd name="T42" fmla="*/ 1204 w 1272"/>
                    <a:gd name="T43" fmla="*/ 8 h 1736"/>
                    <a:gd name="T44" fmla="*/ 1097 w 1272"/>
                    <a:gd name="T45" fmla="*/ 35 h 1736"/>
                    <a:gd name="T46" fmla="*/ 991 w 1272"/>
                    <a:gd name="T47" fmla="*/ 70 h 1736"/>
                    <a:gd name="T48" fmla="*/ 889 w 1272"/>
                    <a:gd name="T49" fmla="*/ 111 h 1736"/>
                    <a:gd name="T50" fmla="*/ 789 w 1272"/>
                    <a:gd name="T51" fmla="*/ 160 h 1736"/>
                    <a:gd name="T52" fmla="*/ 692 w 1272"/>
                    <a:gd name="T53" fmla="*/ 216 h 1736"/>
                    <a:gd name="T54" fmla="*/ 600 w 1272"/>
                    <a:gd name="T55" fmla="*/ 279 h 1736"/>
                    <a:gd name="T56" fmla="*/ 512 w 1272"/>
                    <a:gd name="T57" fmla="*/ 349 h 1736"/>
                    <a:gd name="T58" fmla="*/ 430 w 1272"/>
                    <a:gd name="T59" fmla="*/ 425 h 1736"/>
                    <a:gd name="T60" fmla="*/ 352 w 1272"/>
                    <a:gd name="T61" fmla="*/ 509 h 1736"/>
                    <a:gd name="T62" fmla="*/ 280 w 1272"/>
                    <a:gd name="T63" fmla="*/ 598 h 1736"/>
                    <a:gd name="T64" fmla="*/ 216 w 1272"/>
                    <a:gd name="T65" fmla="*/ 694 h 1736"/>
                    <a:gd name="T66" fmla="*/ 159 w 1272"/>
                    <a:gd name="T67" fmla="*/ 792 h 1736"/>
                    <a:gd name="T68" fmla="*/ 112 w 1272"/>
                    <a:gd name="T69" fmla="*/ 893 h 1736"/>
                    <a:gd name="T70" fmla="*/ 73 w 1272"/>
                    <a:gd name="T71" fmla="*/ 996 h 1736"/>
                    <a:gd name="T72" fmla="*/ 42 w 1272"/>
                    <a:gd name="T73" fmla="*/ 1101 h 1736"/>
                    <a:gd name="T74" fmla="*/ 20 w 1272"/>
                    <a:gd name="T75" fmla="*/ 1206 h 1736"/>
                    <a:gd name="T76" fmla="*/ 7 w 1272"/>
                    <a:gd name="T77" fmla="*/ 1312 h 1736"/>
                    <a:gd name="T78" fmla="*/ 0 w 1272"/>
                    <a:gd name="T79" fmla="*/ 1419 h 1736"/>
                    <a:gd name="T80" fmla="*/ 2 w 1272"/>
                    <a:gd name="T81" fmla="*/ 1526 h 1736"/>
                    <a:gd name="T82" fmla="*/ 13 w 1272"/>
                    <a:gd name="T83" fmla="*/ 1631 h 1736"/>
                    <a:gd name="T84" fmla="*/ 32 w 1272"/>
                    <a:gd name="T85" fmla="*/ 1736 h 17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81" name="Freeform 236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522 w 920"/>
                    <a:gd name="T1" fmla="*/ 46 h 2068"/>
                    <a:gd name="T2" fmla="*/ 441 w 920"/>
                    <a:gd name="T3" fmla="*/ 119 h 2068"/>
                    <a:gd name="T4" fmla="*/ 366 w 920"/>
                    <a:gd name="T5" fmla="*/ 197 h 2068"/>
                    <a:gd name="T6" fmla="*/ 297 w 920"/>
                    <a:gd name="T7" fmla="*/ 281 h 2068"/>
                    <a:gd name="T8" fmla="*/ 234 w 920"/>
                    <a:gd name="T9" fmla="*/ 369 h 2068"/>
                    <a:gd name="T10" fmla="*/ 178 w 920"/>
                    <a:gd name="T11" fmla="*/ 463 h 2068"/>
                    <a:gd name="T12" fmla="*/ 128 w 920"/>
                    <a:gd name="T13" fmla="*/ 560 h 2068"/>
                    <a:gd name="T14" fmla="*/ 86 w 920"/>
                    <a:gd name="T15" fmla="*/ 661 h 2068"/>
                    <a:gd name="T16" fmla="*/ 53 w 920"/>
                    <a:gd name="T17" fmla="*/ 767 h 2068"/>
                    <a:gd name="T18" fmla="*/ 26 w 920"/>
                    <a:gd name="T19" fmla="*/ 875 h 2068"/>
                    <a:gd name="T20" fmla="*/ 9 w 920"/>
                    <a:gd name="T21" fmla="*/ 987 h 2068"/>
                    <a:gd name="T22" fmla="*/ 1 w 920"/>
                    <a:gd name="T23" fmla="*/ 1100 h 2068"/>
                    <a:gd name="T24" fmla="*/ 1 w 920"/>
                    <a:gd name="T25" fmla="*/ 1212 h 2068"/>
                    <a:gd name="T26" fmla="*/ 10 w 920"/>
                    <a:gd name="T27" fmla="*/ 1322 h 2068"/>
                    <a:gd name="T28" fmla="*/ 28 w 920"/>
                    <a:gd name="T29" fmla="*/ 1430 h 2068"/>
                    <a:gd name="T30" fmla="*/ 54 w 920"/>
                    <a:gd name="T31" fmla="*/ 1535 h 2068"/>
                    <a:gd name="T32" fmla="*/ 87 w 920"/>
                    <a:gd name="T33" fmla="*/ 1637 h 2068"/>
                    <a:gd name="T34" fmla="*/ 128 w 920"/>
                    <a:gd name="T35" fmla="*/ 1737 h 2068"/>
                    <a:gd name="T36" fmla="*/ 178 w 920"/>
                    <a:gd name="T37" fmla="*/ 1832 h 2068"/>
                    <a:gd name="T38" fmla="*/ 233 w 920"/>
                    <a:gd name="T39" fmla="*/ 1924 h 2068"/>
                    <a:gd name="T40" fmla="*/ 296 w 920"/>
                    <a:gd name="T41" fmla="*/ 2012 h 2068"/>
                    <a:gd name="T42" fmla="*/ 369 w 920"/>
                    <a:gd name="T43" fmla="*/ 2046 h 2068"/>
                    <a:gd name="T44" fmla="*/ 451 w 920"/>
                    <a:gd name="T45" fmla="*/ 1975 h 2068"/>
                    <a:gd name="T46" fmla="*/ 528 w 920"/>
                    <a:gd name="T47" fmla="*/ 1898 h 2068"/>
                    <a:gd name="T48" fmla="*/ 600 w 920"/>
                    <a:gd name="T49" fmla="*/ 1816 h 2068"/>
                    <a:gd name="T50" fmla="*/ 665 w 920"/>
                    <a:gd name="T51" fmla="*/ 1730 h 2068"/>
                    <a:gd name="T52" fmla="*/ 724 w 920"/>
                    <a:gd name="T53" fmla="*/ 1638 h 2068"/>
                    <a:gd name="T54" fmla="*/ 776 w 920"/>
                    <a:gd name="T55" fmla="*/ 1542 h 2068"/>
                    <a:gd name="T56" fmla="*/ 820 w 920"/>
                    <a:gd name="T57" fmla="*/ 1442 h 2068"/>
                    <a:gd name="T58" fmla="*/ 857 w 920"/>
                    <a:gd name="T59" fmla="*/ 1338 h 2068"/>
                    <a:gd name="T60" fmla="*/ 885 w 920"/>
                    <a:gd name="T61" fmla="*/ 1230 h 2068"/>
                    <a:gd name="T62" fmla="*/ 905 w 920"/>
                    <a:gd name="T63" fmla="*/ 1119 h 2068"/>
                    <a:gd name="T64" fmla="*/ 917 w 920"/>
                    <a:gd name="T65" fmla="*/ 1006 h 2068"/>
                    <a:gd name="T66" fmla="*/ 919 w 920"/>
                    <a:gd name="T67" fmla="*/ 894 h 2068"/>
                    <a:gd name="T68" fmla="*/ 912 w 920"/>
                    <a:gd name="T69" fmla="*/ 783 h 2068"/>
                    <a:gd name="T70" fmla="*/ 898 w 920"/>
                    <a:gd name="T71" fmla="*/ 675 h 2068"/>
                    <a:gd name="T72" fmla="*/ 875 w 920"/>
                    <a:gd name="T73" fmla="*/ 569 h 2068"/>
                    <a:gd name="T74" fmla="*/ 844 w 920"/>
                    <a:gd name="T75" fmla="*/ 466 h 2068"/>
                    <a:gd name="T76" fmla="*/ 805 w 920"/>
                    <a:gd name="T77" fmla="*/ 365 h 2068"/>
                    <a:gd name="T78" fmla="*/ 759 w 920"/>
                    <a:gd name="T79" fmla="*/ 268 h 2068"/>
                    <a:gd name="T80" fmla="*/ 705 w 920"/>
                    <a:gd name="T81" fmla="*/ 175 h 2068"/>
                    <a:gd name="T82" fmla="*/ 645 w 920"/>
                    <a:gd name="T83" fmla="*/ 85 h 2068"/>
                    <a:gd name="T84" fmla="*/ 579 w 920"/>
                    <a:gd name="T85" fmla="*/ 0 h 20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82" name="Freeform 237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108 w 1252"/>
                    <a:gd name="T1" fmla="*/ 1736 h 1753"/>
                    <a:gd name="T2" fmla="*/ 214 w 1252"/>
                    <a:gd name="T3" fmla="*/ 1705 h 1753"/>
                    <a:gd name="T4" fmla="*/ 318 w 1252"/>
                    <a:gd name="T5" fmla="*/ 1667 h 1753"/>
                    <a:gd name="T6" fmla="*/ 419 w 1252"/>
                    <a:gd name="T7" fmla="*/ 1621 h 1753"/>
                    <a:gd name="T8" fmla="*/ 517 w 1252"/>
                    <a:gd name="T9" fmla="*/ 1568 h 1753"/>
                    <a:gd name="T10" fmla="*/ 611 w 1252"/>
                    <a:gd name="T11" fmla="*/ 1509 h 1753"/>
                    <a:gd name="T12" fmla="*/ 702 w 1252"/>
                    <a:gd name="T13" fmla="*/ 1441 h 1753"/>
                    <a:gd name="T14" fmla="*/ 786 w 1252"/>
                    <a:gd name="T15" fmla="*/ 1368 h 1753"/>
                    <a:gd name="T16" fmla="*/ 866 w 1252"/>
                    <a:gd name="T17" fmla="*/ 1288 h 1753"/>
                    <a:gd name="T18" fmla="*/ 940 w 1252"/>
                    <a:gd name="T19" fmla="*/ 1201 h 1753"/>
                    <a:gd name="T20" fmla="*/ 1008 w 1252"/>
                    <a:gd name="T21" fmla="*/ 1108 h 1753"/>
                    <a:gd name="T22" fmla="*/ 1069 w 1252"/>
                    <a:gd name="T23" fmla="*/ 1011 h 1753"/>
                    <a:gd name="T24" fmla="*/ 1120 w 1252"/>
                    <a:gd name="T25" fmla="*/ 911 h 1753"/>
                    <a:gd name="T26" fmla="*/ 1164 w 1252"/>
                    <a:gd name="T27" fmla="*/ 808 h 1753"/>
                    <a:gd name="T28" fmla="*/ 1197 w 1252"/>
                    <a:gd name="T29" fmla="*/ 704 h 1753"/>
                    <a:gd name="T30" fmla="*/ 1224 w 1252"/>
                    <a:gd name="T31" fmla="*/ 599 h 1753"/>
                    <a:gd name="T32" fmla="*/ 1241 w 1252"/>
                    <a:gd name="T33" fmla="*/ 493 h 1753"/>
                    <a:gd name="T34" fmla="*/ 1251 w 1252"/>
                    <a:gd name="T35" fmla="*/ 387 h 1753"/>
                    <a:gd name="T36" fmla="*/ 1252 w 1252"/>
                    <a:gd name="T37" fmla="*/ 280 h 1753"/>
                    <a:gd name="T38" fmla="*/ 1246 w 1252"/>
                    <a:gd name="T39" fmla="*/ 174 h 1753"/>
                    <a:gd name="T40" fmla="*/ 1231 w 1252"/>
                    <a:gd name="T41" fmla="*/ 69 h 1753"/>
                    <a:gd name="T42" fmla="*/ 1180 w 1252"/>
                    <a:gd name="T43" fmla="*/ 8 h 1753"/>
                    <a:gd name="T44" fmla="*/ 1073 w 1252"/>
                    <a:gd name="T45" fmla="*/ 37 h 1753"/>
                    <a:gd name="T46" fmla="*/ 968 w 1252"/>
                    <a:gd name="T47" fmla="*/ 73 h 1753"/>
                    <a:gd name="T48" fmla="*/ 866 w 1252"/>
                    <a:gd name="T49" fmla="*/ 116 h 1753"/>
                    <a:gd name="T50" fmla="*/ 767 w 1252"/>
                    <a:gd name="T51" fmla="*/ 167 h 1753"/>
                    <a:gd name="T52" fmla="*/ 672 w 1252"/>
                    <a:gd name="T53" fmla="*/ 224 h 1753"/>
                    <a:gd name="T54" fmla="*/ 581 w 1252"/>
                    <a:gd name="T55" fmla="*/ 288 h 1753"/>
                    <a:gd name="T56" fmla="*/ 494 w 1252"/>
                    <a:gd name="T57" fmla="*/ 359 h 1753"/>
                    <a:gd name="T58" fmla="*/ 412 w 1252"/>
                    <a:gd name="T59" fmla="*/ 437 h 1753"/>
                    <a:gd name="T60" fmla="*/ 336 w 1252"/>
                    <a:gd name="T61" fmla="*/ 521 h 1753"/>
                    <a:gd name="T62" fmla="*/ 267 w 1252"/>
                    <a:gd name="T63" fmla="*/ 612 h 1753"/>
                    <a:gd name="T64" fmla="*/ 204 w 1252"/>
                    <a:gd name="T65" fmla="*/ 709 h 1753"/>
                    <a:gd name="T66" fmla="*/ 149 w 1252"/>
                    <a:gd name="T67" fmla="*/ 808 h 1753"/>
                    <a:gd name="T68" fmla="*/ 103 w 1252"/>
                    <a:gd name="T69" fmla="*/ 910 h 1753"/>
                    <a:gd name="T70" fmla="*/ 66 w 1252"/>
                    <a:gd name="T71" fmla="*/ 1013 h 1753"/>
                    <a:gd name="T72" fmla="*/ 36 w 1252"/>
                    <a:gd name="T73" fmla="*/ 1118 h 1753"/>
                    <a:gd name="T74" fmla="*/ 16 w 1252"/>
                    <a:gd name="T75" fmla="*/ 1224 h 1753"/>
                    <a:gd name="T76" fmla="*/ 4 w 1252"/>
                    <a:gd name="T77" fmla="*/ 1330 h 1753"/>
                    <a:gd name="T78" fmla="*/ 0 w 1252"/>
                    <a:gd name="T79" fmla="*/ 1437 h 1753"/>
                    <a:gd name="T80" fmla="*/ 4 w 1252"/>
                    <a:gd name="T81" fmla="*/ 1544 h 1753"/>
                    <a:gd name="T82" fmla="*/ 16 w 1252"/>
                    <a:gd name="T83" fmla="*/ 1649 h 1753"/>
                    <a:gd name="T84" fmla="*/ 36 w 1252"/>
                    <a:gd name="T85" fmla="*/ 1753 h 1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</p:grpSp>
          <p:grpSp>
            <p:nvGrpSpPr>
              <p:cNvPr id="46" name="Group 238"/>
              <p:cNvGrpSpPr>
                <a:grpSpLocks/>
              </p:cNvGrpSpPr>
              <p:nvPr/>
            </p:nvGrpSpPr>
            <p:grpSpPr bwMode="auto">
              <a:xfrm flipH="1">
                <a:off x="6349048" y="3400793"/>
                <a:ext cx="498475" cy="963612"/>
                <a:chOff x="708" y="1507"/>
                <a:chExt cx="324" cy="626"/>
              </a:xfrm>
              <a:grpFill/>
            </p:grpSpPr>
            <p:sp>
              <p:nvSpPr>
                <p:cNvPr id="47" name="Freeform 239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1907 w 5540"/>
                    <a:gd name="T1" fmla="*/ 8486 h 8668"/>
                    <a:gd name="T2" fmla="*/ 1615 w 5540"/>
                    <a:gd name="T3" fmla="*/ 8247 h 8668"/>
                    <a:gd name="T4" fmla="*/ 1345 w 5540"/>
                    <a:gd name="T5" fmla="*/ 7994 h 8668"/>
                    <a:gd name="T6" fmla="*/ 1096 w 5540"/>
                    <a:gd name="T7" fmla="*/ 7730 h 8668"/>
                    <a:gd name="T8" fmla="*/ 870 w 5540"/>
                    <a:gd name="T9" fmla="*/ 7454 h 8668"/>
                    <a:gd name="T10" fmla="*/ 668 w 5540"/>
                    <a:gd name="T11" fmla="*/ 7168 h 8668"/>
                    <a:gd name="T12" fmla="*/ 745 w 5540"/>
                    <a:gd name="T13" fmla="*/ 6969 h 8668"/>
                    <a:gd name="T14" fmla="*/ 931 w 5540"/>
                    <a:gd name="T15" fmla="*/ 7250 h 8668"/>
                    <a:gd name="T16" fmla="*/ 1141 w 5540"/>
                    <a:gd name="T17" fmla="*/ 7521 h 8668"/>
                    <a:gd name="T18" fmla="*/ 1372 w 5540"/>
                    <a:gd name="T19" fmla="*/ 7781 h 8668"/>
                    <a:gd name="T20" fmla="*/ 1627 w 5540"/>
                    <a:gd name="T21" fmla="*/ 8031 h 8668"/>
                    <a:gd name="T22" fmla="*/ 1902 w 5540"/>
                    <a:gd name="T23" fmla="*/ 8268 h 8668"/>
                    <a:gd name="T24" fmla="*/ 2195 w 5540"/>
                    <a:gd name="T25" fmla="*/ 8493 h 8668"/>
                    <a:gd name="T26" fmla="*/ 493 w 5540"/>
                    <a:gd name="T27" fmla="*/ 6876 h 8668"/>
                    <a:gd name="T28" fmla="*/ 346 w 5540"/>
                    <a:gd name="T29" fmla="*/ 6581 h 8668"/>
                    <a:gd name="T30" fmla="*/ 224 w 5540"/>
                    <a:gd name="T31" fmla="*/ 6279 h 8668"/>
                    <a:gd name="T32" fmla="*/ 127 w 5540"/>
                    <a:gd name="T33" fmla="*/ 5968 h 8668"/>
                    <a:gd name="T34" fmla="*/ 57 w 5540"/>
                    <a:gd name="T35" fmla="*/ 5651 h 8668"/>
                    <a:gd name="T36" fmla="*/ 15 w 5540"/>
                    <a:gd name="T37" fmla="*/ 5328 h 8668"/>
                    <a:gd name="T38" fmla="*/ 0 w 5540"/>
                    <a:gd name="T39" fmla="*/ 5000 h 8668"/>
                    <a:gd name="T40" fmla="*/ 182 w 5540"/>
                    <a:gd name="T41" fmla="*/ 5253 h 8668"/>
                    <a:gd name="T42" fmla="*/ 218 w 5540"/>
                    <a:gd name="T43" fmla="*/ 5563 h 8668"/>
                    <a:gd name="T44" fmla="*/ 280 w 5540"/>
                    <a:gd name="T45" fmla="*/ 5869 h 8668"/>
                    <a:gd name="T46" fmla="*/ 368 w 5540"/>
                    <a:gd name="T47" fmla="*/ 6168 h 8668"/>
                    <a:gd name="T48" fmla="*/ 481 w 5540"/>
                    <a:gd name="T49" fmla="*/ 6460 h 8668"/>
                    <a:gd name="T50" fmla="*/ 618 w 5540"/>
                    <a:gd name="T51" fmla="*/ 6745 h 8668"/>
                    <a:gd name="T52" fmla="*/ 0 w 5540"/>
                    <a:gd name="T53" fmla="*/ 5000 h 8668"/>
                    <a:gd name="T54" fmla="*/ 42 w 5540"/>
                    <a:gd name="T55" fmla="*/ 4444 h 8668"/>
                    <a:gd name="T56" fmla="*/ 163 w 5540"/>
                    <a:gd name="T57" fmla="*/ 3906 h 8668"/>
                    <a:gd name="T58" fmla="*/ 361 w 5540"/>
                    <a:gd name="T59" fmla="*/ 3387 h 8668"/>
                    <a:gd name="T60" fmla="*/ 631 w 5540"/>
                    <a:gd name="T61" fmla="*/ 2891 h 8668"/>
                    <a:gd name="T62" fmla="*/ 968 w 5540"/>
                    <a:gd name="T63" fmla="*/ 2422 h 8668"/>
                    <a:gd name="T64" fmla="*/ 1369 w 5540"/>
                    <a:gd name="T65" fmla="*/ 1983 h 8668"/>
                    <a:gd name="T66" fmla="*/ 1494 w 5540"/>
                    <a:gd name="T67" fmla="*/ 2096 h 8668"/>
                    <a:gd name="T68" fmla="*/ 1108 w 5540"/>
                    <a:gd name="T69" fmla="*/ 2520 h 8668"/>
                    <a:gd name="T70" fmla="*/ 783 w 5540"/>
                    <a:gd name="T71" fmla="*/ 2971 h 8668"/>
                    <a:gd name="T72" fmla="*/ 522 w 5540"/>
                    <a:gd name="T73" fmla="*/ 3449 h 8668"/>
                    <a:gd name="T74" fmla="*/ 331 w 5540"/>
                    <a:gd name="T75" fmla="*/ 3948 h 8668"/>
                    <a:gd name="T76" fmla="*/ 213 w 5540"/>
                    <a:gd name="T77" fmla="*/ 4466 h 8668"/>
                    <a:gd name="T78" fmla="*/ 173 w 5540"/>
                    <a:gd name="T79" fmla="*/ 5000 h 8668"/>
                    <a:gd name="T80" fmla="*/ 1832 w 5540"/>
                    <a:gd name="T81" fmla="*/ 1572 h 8668"/>
                    <a:gd name="T82" fmla="*/ 2355 w 5540"/>
                    <a:gd name="T83" fmla="*/ 1196 h 8668"/>
                    <a:gd name="T84" fmla="*/ 2930 w 5540"/>
                    <a:gd name="T85" fmla="*/ 859 h 8668"/>
                    <a:gd name="T86" fmla="*/ 3553 w 5540"/>
                    <a:gd name="T87" fmla="*/ 566 h 8668"/>
                    <a:gd name="T88" fmla="*/ 4218 w 5540"/>
                    <a:gd name="T89" fmla="*/ 319 h 8668"/>
                    <a:gd name="T90" fmla="*/ 4921 w 5540"/>
                    <a:gd name="T91" fmla="*/ 120 h 8668"/>
                    <a:gd name="T92" fmla="*/ 5540 w 5540"/>
                    <a:gd name="T93" fmla="*/ 162 h 8668"/>
                    <a:gd name="T94" fmla="*/ 4824 w 5540"/>
                    <a:gd name="T95" fmla="*/ 315 h 8668"/>
                    <a:gd name="T96" fmla="*/ 4143 w 5540"/>
                    <a:gd name="T97" fmla="*/ 518 h 8668"/>
                    <a:gd name="T98" fmla="*/ 3500 w 5540"/>
                    <a:gd name="T99" fmla="*/ 769 h 8668"/>
                    <a:gd name="T100" fmla="*/ 2902 w 5540"/>
                    <a:gd name="T101" fmla="*/ 1064 h 8668"/>
                    <a:gd name="T102" fmla="*/ 2349 w 5540"/>
                    <a:gd name="T103" fmla="*/ 1400 h 8668"/>
                    <a:gd name="T104" fmla="*/ 1849 w 5540"/>
                    <a:gd name="T105" fmla="*/ 1775 h 86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48" name="Freeform 240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4"/>
                </a:xfrm>
                <a:custGeom>
                  <a:avLst/>
                  <a:gdLst>
                    <a:gd name="T0" fmla="*/ 34 w 2069"/>
                    <a:gd name="T1" fmla="*/ 211 h 976"/>
                    <a:gd name="T2" fmla="*/ 91 w 2069"/>
                    <a:gd name="T3" fmla="*/ 302 h 976"/>
                    <a:gd name="T4" fmla="*/ 155 w 2069"/>
                    <a:gd name="T5" fmla="*/ 389 h 976"/>
                    <a:gd name="T6" fmla="*/ 226 w 2069"/>
                    <a:gd name="T7" fmla="*/ 472 h 976"/>
                    <a:gd name="T8" fmla="*/ 302 w 2069"/>
                    <a:gd name="T9" fmla="*/ 550 h 976"/>
                    <a:gd name="T10" fmla="*/ 384 w 2069"/>
                    <a:gd name="T11" fmla="*/ 623 h 976"/>
                    <a:gd name="T12" fmla="*/ 474 w 2069"/>
                    <a:gd name="T13" fmla="*/ 690 h 976"/>
                    <a:gd name="T14" fmla="*/ 569 w 2069"/>
                    <a:gd name="T15" fmla="*/ 751 h 976"/>
                    <a:gd name="T16" fmla="*/ 670 w 2069"/>
                    <a:gd name="T17" fmla="*/ 806 h 976"/>
                    <a:gd name="T18" fmla="*/ 775 w 2069"/>
                    <a:gd name="T19" fmla="*/ 854 h 976"/>
                    <a:gd name="T20" fmla="*/ 886 w 2069"/>
                    <a:gd name="T21" fmla="*/ 895 h 976"/>
                    <a:gd name="T22" fmla="*/ 1000 w 2069"/>
                    <a:gd name="T23" fmla="*/ 928 h 976"/>
                    <a:gd name="T24" fmla="*/ 1115 w 2069"/>
                    <a:gd name="T25" fmla="*/ 952 h 976"/>
                    <a:gd name="T26" fmla="*/ 1230 w 2069"/>
                    <a:gd name="T27" fmla="*/ 968 h 976"/>
                    <a:gd name="T28" fmla="*/ 1344 w 2069"/>
                    <a:gd name="T29" fmla="*/ 975 h 976"/>
                    <a:gd name="T30" fmla="*/ 1458 w 2069"/>
                    <a:gd name="T31" fmla="*/ 975 h 976"/>
                    <a:gd name="T32" fmla="*/ 1571 w 2069"/>
                    <a:gd name="T33" fmla="*/ 966 h 976"/>
                    <a:gd name="T34" fmla="*/ 1682 w 2069"/>
                    <a:gd name="T35" fmla="*/ 950 h 976"/>
                    <a:gd name="T36" fmla="*/ 1791 w 2069"/>
                    <a:gd name="T37" fmla="*/ 926 h 976"/>
                    <a:gd name="T38" fmla="*/ 1898 w 2069"/>
                    <a:gd name="T39" fmla="*/ 895 h 976"/>
                    <a:gd name="T40" fmla="*/ 2002 w 2069"/>
                    <a:gd name="T41" fmla="*/ 857 h 976"/>
                    <a:gd name="T42" fmla="*/ 2053 w 2069"/>
                    <a:gd name="T43" fmla="*/ 796 h 976"/>
                    <a:gd name="T44" fmla="*/ 1998 w 2069"/>
                    <a:gd name="T45" fmla="*/ 704 h 976"/>
                    <a:gd name="T46" fmla="*/ 1936 w 2069"/>
                    <a:gd name="T47" fmla="*/ 615 h 976"/>
                    <a:gd name="T48" fmla="*/ 1868 w 2069"/>
                    <a:gd name="T49" fmla="*/ 531 h 976"/>
                    <a:gd name="T50" fmla="*/ 1794 w 2069"/>
                    <a:gd name="T51" fmla="*/ 452 h 976"/>
                    <a:gd name="T52" fmla="*/ 1713 w 2069"/>
                    <a:gd name="T53" fmla="*/ 377 h 976"/>
                    <a:gd name="T54" fmla="*/ 1625 w 2069"/>
                    <a:gd name="T55" fmla="*/ 308 h 976"/>
                    <a:gd name="T56" fmla="*/ 1533 w 2069"/>
                    <a:gd name="T57" fmla="*/ 245 h 976"/>
                    <a:gd name="T58" fmla="*/ 1434 w 2069"/>
                    <a:gd name="T59" fmla="*/ 188 h 976"/>
                    <a:gd name="T60" fmla="*/ 1330 w 2069"/>
                    <a:gd name="T61" fmla="*/ 137 h 976"/>
                    <a:gd name="T62" fmla="*/ 1220 w 2069"/>
                    <a:gd name="T63" fmla="*/ 94 h 976"/>
                    <a:gd name="T64" fmla="*/ 1106 w 2069"/>
                    <a:gd name="T65" fmla="*/ 58 h 976"/>
                    <a:gd name="T66" fmla="*/ 992 w 2069"/>
                    <a:gd name="T67" fmla="*/ 31 h 976"/>
                    <a:gd name="T68" fmla="*/ 877 w 2069"/>
                    <a:gd name="T69" fmla="*/ 12 h 976"/>
                    <a:gd name="T70" fmla="*/ 762 w 2069"/>
                    <a:gd name="T71" fmla="*/ 2 h 976"/>
                    <a:gd name="T72" fmla="*/ 649 w 2069"/>
                    <a:gd name="T73" fmla="*/ 0 h 976"/>
                    <a:gd name="T74" fmla="*/ 536 w 2069"/>
                    <a:gd name="T75" fmla="*/ 6 h 976"/>
                    <a:gd name="T76" fmla="*/ 424 w 2069"/>
                    <a:gd name="T77" fmla="*/ 20 h 976"/>
                    <a:gd name="T78" fmla="*/ 314 w 2069"/>
                    <a:gd name="T79" fmla="*/ 41 h 976"/>
                    <a:gd name="T80" fmla="*/ 207 w 2069"/>
                    <a:gd name="T81" fmla="*/ 70 h 976"/>
                    <a:gd name="T82" fmla="*/ 101 w 2069"/>
                    <a:gd name="T83" fmla="*/ 106 h 976"/>
                    <a:gd name="T84" fmla="*/ 0 w 2069"/>
                    <a:gd name="T85" fmla="*/ 148 h 9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49" name="Freeform 241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4" cy="104"/>
                </a:xfrm>
                <a:custGeom>
                  <a:avLst/>
                  <a:gdLst>
                    <a:gd name="T0" fmla="*/ 790 w 1020"/>
                    <a:gd name="T1" fmla="*/ 33 h 1975"/>
                    <a:gd name="T2" fmla="*/ 695 w 1020"/>
                    <a:gd name="T3" fmla="*/ 88 h 1975"/>
                    <a:gd name="T4" fmla="*/ 604 w 1020"/>
                    <a:gd name="T5" fmla="*/ 150 h 1975"/>
                    <a:gd name="T6" fmla="*/ 518 w 1020"/>
                    <a:gd name="T7" fmla="*/ 217 h 1975"/>
                    <a:gd name="T8" fmla="*/ 437 w 1020"/>
                    <a:gd name="T9" fmla="*/ 291 h 1975"/>
                    <a:gd name="T10" fmla="*/ 361 w 1020"/>
                    <a:gd name="T11" fmla="*/ 371 h 1975"/>
                    <a:gd name="T12" fmla="*/ 292 w 1020"/>
                    <a:gd name="T13" fmla="*/ 458 h 1975"/>
                    <a:gd name="T14" fmla="*/ 228 w 1020"/>
                    <a:gd name="T15" fmla="*/ 548 h 1975"/>
                    <a:gd name="T16" fmla="*/ 172 w 1020"/>
                    <a:gd name="T17" fmla="*/ 644 h 1975"/>
                    <a:gd name="T18" fmla="*/ 122 w 1020"/>
                    <a:gd name="T19" fmla="*/ 746 h 1975"/>
                    <a:gd name="T20" fmla="*/ 80 w 1020"/>
                    <a:gd name="T21" fmla="*/ 852 h 1975"/>
                    <a:gd name="T22" fmla="*/ 47 w 1020"/>
                    <a:gd name="T23" fmla="*/ 960 h 1975"/>
                    <a:gd name="T24" fmla="*/ 22 w 1020"/>
                    <a:gd name="T25" fmla="*/ 1070 h 1975"/>
                    <a:gd name="T26" fmla="*/ 8 w 1020"/>
                    <a:gd name="T27" fmla="*/ 1179 h 1975"/>
                    <a:gd name="T28" fmla="*/ 0 w 1020"/>
                    <a:gd name="T29" fmla="*/ 1288 h 1975"/>
                    <a:gd name="T30" fmla="*/ 2 w 1020"/>
                    <a:gd name="T31" fmla="*/ 1396 h 1975"/>
                    <a:gd name="T32" fmla="*/ 13 w 1020"/>
                    <a:gd name="T33" fmla="*/ 1503 h 1975"/>
                    <a:gd name="T34" fmla="*/ 31 w 1020"/>
                    <a:gd name="T35" fmla="*/ 1608 h 1975"/>
                    <a:gd name="T36" fmla="*/ 57 w 1020"/>
                    <a:gd name="T37" fmla="*/ 1711 h 1975"/>
                    <a:gd name="T38" fmla="*/ 92 w 1020"/>
                    <a:gd name="T39" fmla="*/ 1812 h 1975"/>
                    <a:gd name="T40" fmla="*/ 133 w 1020"/>
                    <a:gd name="T41" fmla="*/ 1911 h 1975"/>
                    <a:gd name="T42" fmla="*/ 197 w 1020"/>
                    <a:gd name="T43" fmla="*/ 1958 h 1975"/>
                    <a:gd name="T44" fmla="*/ 294 w 1020"/>
                    <a:gd name="T45" fmla="*/ 1905 h 1975"/>
                    <a:gd name="T46" fmla="*/ 386 w 1020"/>
                    <a:gd name="T47" fmla="*/ 1846 h 1975"/>
                    <a:gd name="T48" fmla="*/ 474 w 1020"/>
                    <a:gd name="T49" fmla="*/ 1780 h 1975"/>
                    <a:gd name="T50" fmla="*/ 557 w 1020"/>
                    <a:gd name="T51" fmla="*/ 1708 h 1975"/>
                    <a:gd name="T52" fmla="*/ 635 w 1020"/>
                    <a:gd name="T53" fmla="*/ 1630 h 1975"/>
                    <a:gd name="T54" fmla="*/ 706 w 1020"/>
                    <a:gd name="T55" fmla="*/ 1547 h 1975"/>
                    <a:gd name="T56" fmla="*/ 772 w 1020"/>
                    <a:gd name="T57" fmla="*/ 1458 h 1975"/>
                    <a:gd name="T58" fmla="*/ 831 w 1020"/>
                    <a:gd name="T59" fmla="*/ 1363 h 1975"/>
                    <a:gd name="T60" fmla="*/ 882 w 1020"/>
                    <a:gd name="T61" fmla="*/ 1264 h 1975"/>
                    <a:gd name="T62" fmla="*/ 927 w 1020"/>
                    <a:gd name="T63" fmla="*/ 1159 h 1975"/>
                    <a:gd name="T64" fmla="*/ 963 w 1020"/>
                    <a:gd name="T65" fmla="*/ 1051 h 1975"/>
                    <a:gd name="T66" fmla="*/ 991 w 1020"/>
                    <a:gd name="T67" fmla="*/ 942 h 1975"/>
                    <a:gd name="T68" fmla="*/ 1008 w 1020"/>
                    <a:gd name="T69" fmla="*/ 833 h 1975"/>
                    <a:gd name="T70" fmla="*/ 1018 w 1020"/>
                    <a:gd name="T71" fmla="*/ 724 h 1975"/>
                    <a:gd name="T72" fmla="*/ 1019 w 1020"/>
                    <a:gd name="T73" fmla="*/ 616 h 1975"/>
                    <a:gd name="T74" fmla="*/ 1012 w 1020"/>
                    <a:gd name="T75" fmla="*/ 508 h 1975"/>
                    <a:gd name="T76" fmla="*/ 996 w 1020"/>
                    <a:gd name="T77" fmla="*/ 401 h 1975"/>
                    <a:gd name="T78" fmla="*/ 973 w 1020"/>
                    <a:gd name="T79" fmla="*/ 297 h 1975"/>
                    <a:gd name="T80" fmla="*/ 941 w 1020"/>
                    <a:gd name="T81" fmla="*/ 195 h 1975"/>
                    <a:gd name="T82" fmla="*/ 902 w 1020"/>
                    <a:gd name="T83" fmla="*/ 96 h 1975"/>
                    <a:gd name="T84" fmla="*/ 856 w 1020"/>
                    <a:gd name="T85" fmla="*/ 0 h 1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0" name="Freeform 242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522 w 920"/>
                    <a:gd name="T1" fmla="*/ 46 h 2068"/>
                    <a:gd name="T2" fmla="*/ 441 w 920"/>
                    <a:gd name="T3" fmla="*/ 119 h 2068"/>
                    <a:gd name="T4" fmla="*/ 366 w 920"/>
                    <a:gd name="T5" fmla="*/ 197 h 2068"/>
                    <a:gd name="T6" fmla="*/ 297 w 920"/>
                    <a:gd name="T7" fmla="*/ 281 h 2068"/>
                    <a:gd name="T8" fmla="*/ 234 w 920"/>
                    <a:gd name="T9" fmla="*/ 369 h 2068"/>
                    <a:gd name="T10" fmla="*/ 178 w 920"/>
                    <a:gd name="T11" fmla="*/ 463 h 2068"/>
                    <a:gd name="T12" fmla="*/ 128 w 920"/>
                    <a:gd name="T13" fmla="*/ 560 h 2068"/>
                    <a:gd name="T14" fmla="*/ 86 w 920"/>
                    <a:gd name="T15" fmla="*/ 661 h 2068"/>
                    <a:gd name="T16" fmla="*/ 53 w 920"/>
                    <a:gd name="T17" fmla="*/ 767 h 2068"/>
                    <a:gd name="T18" fmla="*/ 26 w 920"/>
                    <a:gd name="T19" fmla="*/ 875 h 2068"/>
                    <a:gd name="T20" fmla="*/ 9 w 920"/>
                    <a:gd name="T21" fmla="*/ 987 h 2068"/>
                    <a:gd name="T22" fmla="*/ 1 w 920"/>
                    <a:gd name="T23" fmla="*/ 1100 h 2068"/>
                    <a:gd name="T24" fmla="*/ 1 w 920"/>
                    <a:gd name="T25" fmla="*/ 1212 h 2068"/>
                    <a:gd name="T26" fmla="*/ 10 w 920"/>
                    <a:gd name="T27" fmla="*/ 1322 h 2068"/>
                    <a:gd name="T28" fmla="*/ 28 w 920"/>
                    <a:gd name="T29" fmla="*/ 1430 h 2068"/>
                    <a:gd name="T30" fmla="*/ 54 w 920"/>
                    <a:gd name="T31" fmla="*/ 1535 h 2068"/>
                    <a:gd name="T32" fmla="*/ 87 w 920"/>
                    <a:gd name="T33" fmla="*/ 1637 h 2068"/>
                    <a:gd name="T34" fmla="*/ 128 w 920"/>
                    <a:gd name="T35" fmla="*/ 1737 h 2068"/>
                    <a:gd name="T36" fmla="*/ 178 w 920"/>
                    <a:gd name="T37" fmla="*/ 1832 h 2068"/>
                    <a:gd name="T38" fmla="*/ 233 w 920"/>
                    <a:gd name="T39" fmla="*/ 1924 h 2068"/>
                    <a:gd name="T40" fmla="*/ 296 w 920"/>
                    <a:gd name="T41" fmla="*/ 2012 h 2068"/>
                    <a:gd name="T42" fmla="*/ 369 w 920"/>
                    <a:gd name="T43" fmla="*/ 2046 h 2068"/>
                    <a:gd name="T44" fmla="*/ 451 w 920"/>
                    <a:gd name="T45" fmla="*/ 1975 h 2068"/>
                    <a:gd name="T46" fmla="*/ 528 w 920"/>
                    <a:gd name="T47" fmla="*/ 1898 h 2068"/>
                    <a:gd name="T48" fmla="*/ 600 w 920"/>
                    <a:gd name="T49" fmla="*/ 1816 h 2068"/>
                    <a:gd name="T50" fmla="*/ 665 w 920"/>
                    <a:gd name="T51" fmla="*/ 1730 h 2068"/>
                    <a:gd name="T52" fmla="*/ 724 w 920"/>
                    <a:gd name="T53" fmla="*/ 1638 h 2068"/>
                    <a:gd name="T54" fmla="*/ 776 w 920"/>
                    <a:gd name="T55" fmla="*/ 1542 h 2068"/>
                    <a:gd name="T56" fmla="*/ 820 w 920"/>
                    <a:gd name="T57" fmla="*/ 1442 h 2068"/>
                    <a:gd name="T58" fmla="*/ 857 w 920"/>
                    <a:gd name="T59" fmla="*/ 1338 h 2068"/>
                    <a:gd name="T60" fmla="*/ 885 w 920"/>
                    <a:gd name="T61" fmla="*/ 1230 h 2068"/>
                    <a:gd name="T62" fmla="*/ 905 w 920"/>
                    <a:gd name="T63" fmla="*/ 1119 h 2068"/>
                    <a:gd name="T64" fmla="*/ 917 w 920"/>
                    <a:gd name="T65" fmla="*/ 1006 h 2068"/>
                    <a:gd name="T66" fmla="*/ 919 w 920"/>
                    <a:gd name="T67" fmla="*/ 894 h 2068"/>
                    <a:gd name="T68" fmla="*/ 912 w 920"/>
                    <a:gd name="T69" fmla="*/ 783 h 2068"/>
                    <a:gd name="T70" fmla="*/ 898 w 920"/>
                    <a:gd name="T71" fmla="*/ 675 h 2068"/>
                    <a:gd name="T72" fmla="*/ 875 w 920"/>
                    <a:gd name="T73" fmla="*/ 569 h 2068"/>
                    <a:gd name="T74" fmla="*/ 844 w 920"/>
                    <a:gd name="T75" fmla="*/ 466 h 2068"/>
                    <a:gd name="T76" fmla="*/ 805 w 920"/>
                    <a:gd name="T77" fmla="*/ 365 h 2068"/>
                    <a:gd name="T78" fmla="*/ 759 w 920"/>
                    <a:gd name="T79" fmla="*/ 268 h 2068"/>
                    <a:gd name="T80" fmla="*/ 705 w 920"/>
                    <a:gd name="T81" fmla="*/ 175 h 2068"/>
                    <a:gd name="T82" fmla="*/ 645 w 920"/>
                    <a:gd name="T83" fmla="*/ 85 h 2068"/>
                    <a:gd name="T84" fmla="*/ 579 w 920"/>
                    <a:gd name="T85" fmla="*/ 0 h 20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1" name="Freeform 243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4" cy="103"/>
                </a:xfrm>
                <a:custGeom>
                  <a:avLst/>
                  <a:gdLst>
                    <a:gd name="T0" fmla="*/ 796 w 1022"/>
                    <a:gd name="T1" fmla="*/ 33 h 1973"/>
                    <a:gd name="T2" fmla="*/ 700 w 1022"/>
                    <a:gd name="T3" fmla="*/ 88 h 1973"/>
                    <a:gd name="T4" fmla="*/ 609 w 1022"/>
                    <a:gd name="T5" fmla="*/ 149 h 1973"/>
                    <a:gd name="T6" fmla="*/ 522 w 1022"/>
                    <a:gd name="T7" fmla="*/ 217 h 1973"/>
                    <a:gd name="T8" fmla="*/ 441 w 1022"/>
                    <a:gd name="T9" fmla="*/ 290 h 1973"/>
                    <a:gd name="T10" fmla="*/ 366 w 1022"/>
                    <a:gd name="T11" fmla="*/ 370 h 1973"/>
                    <a:gd name="T12" fmla="*/ 295 w 1022"/>
                    <a:gd name="T13" fmla="*/ 455 h 1973"/>
                    <a:gd name="T14" fmla="*/ 231 w 1022"/>
                    <a:gd name="T15" fmla="*/ 546 h 1973"/>
                    <a:gd name="T16" fmla="*/ 174 w 1022"/>
                    <a:gd name="T17" fmla="*/ 641 h 1973"/>
                    <a:gd name="T18" fmla="*/ 125 w 1022"/>
                    <a:gd name="T19" fmla="*/ 742 h 1973"/>
                    <a:gd name="T20" fmla="*/ 83 w 1022"/>
                    <a:gd name="T21" fmla="*/ 848 h 1973"/>
                    <a:gd name="T22" fmla="*/ 48 w 1022"/>
                    <a:gd name="T23" fmla="*/ 957 h 1973"/>
                    <a:gd name="T24" fmla="*/ 24 w 1022"/>
                    <a:gd name="T25" fmla="*/ 1067 h 1973"/>
                    <a:gd name="T26" fmla="*/ 8 w 1022"/>
                    <a:gd name="T27" fmla="*/ 1176 h 1973"/>
                    <a:gd name="T28" fmla="*/ 0 w 1022"/>
                    <a:gd name="T29" fmla="*/ 1285 h 1973"/>
                    <a:gd name="T30" fmla="*/ 3 w 1022"/>
                    <a:gd name="T31" fmla="*/ 1393 h 1973"/>
                    <a:gd name="T32" fmla="*/ 12 w 1022"/>
                    <a:gd name="T33" fmla="*/ 1500 h 1973"/>
                    <a:gd name="T34" fmla="*/ 30 w 1022"/>
                    <a:gd name="T35" fmla="*/ 1605 h 1973"/>
                    <a:gd name="T36" fmla="*/ 56 w 1022"/>
                    <a:gd name="T37" fmla="*/ 1709 h 1973"/>
                    <a:gd name="T38" fmla="*/ 89 w 1022"/>
                    <a:gd name="T39" fmla="*/ 1810 h 1973"/>
                    <a:gd name="T40" fmla="*/ 130 w 1022"/>
                    <a:gd name="T41" fmla="*/ 1909 h 1973"/>
                    <a:gd name="T42" fmla="*/ 194 w 1022"/>
                    <a:gd name="T43" fmla="*/ 1956 h 1973"/>
                    <a:gd name="T44" fmla="*/ 291 w 1022"/>
                    <a:gd name="T45" fmla="*/ 1904 h 1973"/>
                    <a:gd name="T46" fmla="*/ 384 w 1022"/>
                    <a:gd name="T47" fmla="*/ 1845 h 1973"/>
                    <a:gd name="T48" fmla="*/ 472 w 1022"/>
                    <a:gd name="T49" fmla="*/ 1779 h 1973"/>
                    <a:gd name="T50" fmla="*/ 555 w 1022"/>
                    <a:gd name="T51" fmla="*/ 1708 h 1973"/>
                    <a:gd name="T52" fmla="*/ 633 w 1022"/>
                    <a:gd name="T53" fmla="*/ 1630 h 1973"/>
                    <a:gd name="T54" fmla="*/ 706 w 1022"/>
                    <a:gd name="T55" fmla="*/ 1547 h 1973"/>
                    <a:gd name="T56" fmla="*/ 771 w 1022"/>
                    <a:gd name="T57" fmla="*/ 1458 h 1973"/>
                    <a:gd name="T58" fmla="*/ 831 w 1022"/>
                    <a:gd name="T59" fmla="*/ 1364 h 1973"/>
                    <a:gd name="T60" fmla="*/ 882 w 1022"/>
                    <a:gd name="T61" fmla="*/ 1265 h 1973"/>
                    <a:gd name="T62" fmla="*/ 928 w 1022"/>
                    <a:gd name="T63" fmla="*/ 1161 h 1973"/>
                    <a:gd name="T64" fmla="*/ 965 w 1022"/>
                    <a:gd name="T65" fmla="*/ 1052 h 1973"/>
                    <a:gd name="T66" fmla="*/ 992 w 1022"/>
                    <a:gd name="T67" fmla="*/ 942 h 1973"/>
                    <a:gd name="T68" fmla="*/ 1011 w 1022"/>
                    <a:gd name="T69" fmla="*/ 833 h 1973"/>
                    <a:gd name="T70" fmla="*/ 1021 w 1022"/>
                    <a:gd name="T71" fmla="*/ 724 h 1973"/>
                    <a:gd name="T72" fmla="*/ 1022 w 1022"/>
                    <a:gd name="T73" fmla="*/ 616 h 1973"/>
                    <a:gd name="T74" fmla="*/ 1015 w 1022"/>
                    <a:gd name="T75" fmla="*/ 509 h 1973"/>
                    <a:gd name="T76" fmla="*/ 1000 w 1022"/>
                    <a:gd name="T77" fmla="*/ 403 h 1973"/>
                    <a:gd name="T78" fmla="*/ 977 w 1022"/>
                    <a:gd name="T79" fmla="*/ 299 h 1973"/>
                    <a:gd name="T80" fmla="*/ 946 w 1022"/>
                    <a:gd name="T81" fmla="*/ 197 h 1973"/>
                    <a:gd name="T82" fmla="*/ 908 w 1022"/>
                    <a:gd name="T83" fmla="*/ 97 h 1973"/>
                    <a:gd name="T84" fmla="*/ 861 w 1022"/>
                    <a:gd name="T85" fmla="*/ 0 h 19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2" name="Freeform 244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264 w 929"/>
                    <a:gd name="T1" fmla="*/ 58 h 2060"/>
                    <a:gd name="T2" fmla="*/ 205 w 929"/>
                    <a:gd name="T3" fmla="*/ 148 h 2060"/>
                    <a:gd name="T4" fmla="*/ 154 w 929"/>
                    <a:gd name="T5" fmla="*/ 242 h 2060"/>
                    <a:gd name="T6" fmla="*/ 108 w 929"/>
                    <a:gd name="T7" fmla="*/ 339 h 2060"/>
                    <a:gd name="T8" fmla="*/ 70 w 929"/>
                    <a:gd name="T9" fmla="*/ 440 h 2060"/>
                    <a:gd name="T10" fmla="*/ 41 w 929"/>
                    <a:gd name="T11" fmla="*/ 543 h 2060"/>
                    <a:gd name="T12" fmla="*/ 19 w 929"/>
                    <a:gd name="T13" fmla="*/ 649 h 2060"/>
                    <a:gd name="T14" fmla="*/ 5 w 929"/>
                    <a:gd name="T15" fmla="*/ 758 h 2060"/>
                    <a:gd name="T16" fmla="*/ 0 w 929"/>
                    <a:gd name="T17" fmla="*/ 868 h 2060"/>
                    <a:gd name="T18" fmla="*/ 3 w 929"/>
                    <a:gd name="T19" fmla="*/ 979 h 2060"/>
                    <a:gd name="T20" fmla="*/ 16 w 929"/>
                    <a:gd name="T21" fmla="*/ 1092 h 2060"/>
                    <a:gd name="T22" fmla="*/ 37 w 929"/>
                    <a:gd name="T23" fmla="*/ 1203 h 2060"/>
                    <a:gd name="T24" fmla="*/ 67 w 929"/>
                    <a:gd name="T25" fmla="*/ 1311 h 2060"/>
                    <a:gd name="T26" fmla="*/ 105 w 929"/>
                    <a:gd name="T27" fmla="*/ 1415 h 2060"/>
                    <a:gd name="T28" fmla="*/ 150 w 929"/>
                    <a:gd name="T29" fmla="*/ 1515 h 2060"/>
                    <a:gd name="T30" fmla="*/ 203 w 929"/>
                    <a:gd name="T31" fmla="*/ 1611 h 2060"/>
                    <a:gd name="T32" fmla="*/ 263 w 929"/>
                    <a:gd name="T33" fmla="*/ 1702 h 2060"/>
                    <a:gd name="T34" fmla="*/ 329 w 929"/>
                    <a:gd name="T35" fmla="*/ 1788 h 2060"/>
                    <a:gd name="T36" fmla="*/ 401 w 929"/>
                    <a:gd name="T37" fmla="*/ 1871 h 2060"/>
                    <a:gd name="T38" fmla="*/ 479 w 929"/>
                    <a:gd name="T39" fmla="*/ 1947 h 2060"/>
                    <a:gd name="T40" fmla="*/ 563 w 929"/>
                    <a:gd name="T41" fmla="*/ 2017 h 2060"/>
                    <a:gd name="T42" fmla="*/ 643 w 929"/>
                    <a:gd name="T43" fmla="*/ 2032 h 2060"/>
                    <a:gd name="T44" fmla="*/ 704 w 929"/>
                    <a:gd name="T45" fmla="*/ 1943 h 2060"/>
                    <a:gd name="T46" fmla="*/ 759 w 929"/>
                    <a:gd name="T47" fmla="*/ 1851 h 2060"/>
                    <a:gd name="T48" fmla="*/ 806 w 929"/>
                    <a:gd name="T49" fmla="*/ 1754 h 2060"/>
                    <a:gd name="T50" fmla="*/ 846 w 929"/>
                    <a:gd name="T51" fmla="*/ 1654 h 2060"/>
                    <a:gd name="T52" fmla="*/ 879 w 929"/>
                    <a:gd name="T53" fmla="*/ 1551 h 2060"/>
                    <a:gd name="T54" fmla="*/ 903 w 929"/>
                    <a:gd name="T55" fmla="*/ 1446 h 2060"/>
                    <a:gd name="T56" fmla="*/ 920 w 929"/>
                    <a:gd name="T57" fmla="*/ 1339 h 2060"/>
                    <a:gd name="T58" fmla="*/ 928 w 929"/>
                    <a:gd name="T59" fmla="*/ 1229 h 2060"/>
                    <a:gd name="T60" fmla="*/ 927 w 929"/>
                    <a:gd name="T61" fmla="*/ 1118 h 2060"/>
                    <a:gd name="T62" fmla="*/ 918 w 929"/>
                    <a:gd name="T63" fmla="*/ 1006 h 2060"/>
                    <a:gd name="T64" fmla="*/ 900 w 929"/>
                    <a:gd name="T65" fmla="*/ 894 h 2060"/>
                    <a:gd name="T66" fmla="*/ 872 w 929"/>
                    <a:gd name="T67" fmla="*/ 784 h 2060"/>
                    <a:gd name="T68" fmla="*/ 837 w 929"/>
                    <a:gd name="T69" fmla="*/ 679 h 2060"/>
                    <a:gd name="T70" fmla="*/ 794 w 929"/>
                    <a:gd name="T71" fmla="*/ 578 h 2060"/>
                    <a:gd name="T72" fmla="*/ 744 w 929"/>
                    <a:gd name="T73" fmla="*/ 480 h 2060"/>
                    <a:gd name="T74" fmla="*/ 686 w 929"/>
                    <a:gd name="T75" fmla="*/ 388 h 2060"/>
                    <a:gd name="T76" fmla="*/ 622 w 929"/>
                    <a:gd name="T77" fmla="*/ 300 h 2060"/>
                    <a:gd name="T78" fmla="*/ 551 w 929"/>
                    <a:gd name="T79" fmla="*/ 217 h 2060"/>
                    <a:gd name="T80" fmla="*/ 476 w 929"/>
                    <a:gd name="T81" fmla="*/ 139 h 2060"/>
                    <a:gd name="T82" fmla="*/ 395 w 929"/>
                    <a:gd name="T83" fmla="*/ 67 h 2060"/>
                    <a:gd name="T84" fmla="*/ 307 w 929"/>
                    <a:gd name="T85" fmla="*/ 0 h 2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3" name="Freeform 245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9 w 1706"/>
                    <a:gd name="T1" fmla="*/ 78 h 1321"/>
                    <a:gd name="T2" fmla="*/ 31 w 1706"/>
                    <a:gd name="T3" fmla="*/ 182 h 1321"/>
                    <a:gd name="T4" fmla="*/ 60 w 1706"/>
                    <a:gd name="T5" fmla="*/ 285 h 1321"/>
                    <a:gd name="T6" fmla="*/ 97 w 1706"/>
                    <a:gd name="T7" fmla="*/ 385 h 1321"/>
                    <a:gd name="T8" fmla="*/ 142 w 1706"/>
                    <a:gd name="T9" fmla="*/ 483 h 1321"/>
                    <a:gd name="T10" fmla="*/ 194 w 1706"/>
                    <a:gd name="T11" fmla="*/ 578 h 1321"/>
                    <a:gd name="T12" fmla="*/ 254 w 1706"/>
                    <a:gd name="T13" fmla="*/ 670 h 1321"/>
                    <a:gd name="T14" fmla="*/ 321 w 1706"/>
                    <a:gd name="T15" fmla="*/ 758 h 1321"/>
                    <a:gd name="T16" fmla="*/ 397 w 1706"/>
                    <a:gd name="T17" fmla="*/ 842 h 1321"/>
                    <a:gd name="T18" fmla="*/ 479 w 1706"/>
                    <a:gd name="T19" fmla="*/ 921 h 1321"/>
                    <a:gd name="T20" fmla="*/ 569 w 1706"/>
                    <a:gd name="T21" fmla="*/ 995 h 1321"/>
                    <a:gd name="T22" fmla="*/ 665 w 1706"/>
                    <a:gd name="T23" fmla="*/ 1064 h 1321"/>
                    <a:gd name="T24" fmla="*/ 764 w 1706"/>
                    <a:gd name="T25" fmla="*/ 1124 h 1321"/>
                    <a:gd name="T26" fmla="*/ 866 w 1706"/>
                    <a:gd name="T27" fmla="*/ 1175 h 1321"/>
                    <a:gd name="T28" fmla="*/ 971 w 1706"/>
                    <a:gd name="T29" fmla="*/ 1219 h 1321"/>
                    <a:gd name="T30" fmla="*/ 1079 w 1706"/>
                    <a:gd name="T31" fmla="*/ 1255 h 1321"/>
                    <a:gd name="T32" fmla="*/ 1188 w 1706"/>
                    <a:gd name="T33" fmla="*/ 1283 h 1321"/>
                    <a:gd name="T34" fmla="*/ 1298 w 1706"/>
                    <a:gd name="T35" fmla="*/ 1303 h 1321"/>
                    <a:gd name="T36" fmla="*/ 1409 w 1706"/>
                    <a:gd name="T37" fmla="*/ 1316 h 1321"/>
                    <a:gd name="T38" fmla="*/ 1521 w 1706"/>
                    <a:gd name="T39" fmla="*/ 1321 h 1321"/>
                    <a:gd name="T40" fmla="*/ 1632 w 1706"/>
                    <a:gd name="T41" fmla="*/ 1318 h 1321"/>
                    <a:gd name="T42" fmla="*/ 1702 w 1706"/>
                    <a:gd name="T43" fmla="*/ 1278 h 1321"/>
                    <a:gd name="T44" fmla="*/ 1683 w 1706"/>
                    <a:gd name="T45" fmla="*/ 1173 h 1321"/>
                    <a:gd name="T46" fmla="*/ 1657 w 1706"/>
                    <a:gd name="T47" fmla="*/ 1070 h 1321"/>
                    <a:gd name="T48" fmla="*/ 1623 w 1706"/>
                    <a:gd name="T49" fmla="*/ 968 h 1321"/>
                    <a:gd name="T50" fmla="*/ 1581 w 1706"/>
                    <a:gd name="T51" fmla="*/ 869 h 1321"/>
                    <a:gd name="T52" fmla="*/ 1530 w 1706"/>
                    <a:gd name="T53" fmla="*/ 773 h 1321"/>
                    <a:gd name="T54" fmla="*/ 1474 w 1706"/>
                    <a:gd name="T55" fmla="*/ 680 h 1321"/>
                    <a:gd name="T56" fmla="*/ 1408 w 1706"/>
                    <a:gd name="T57" fmla="*/ 591 h 1321"/>
                    <a:gd name="T58" fmla="*/ 1336 w 1706"/>
                    <a:gd name="T59" fmla="*/ 505 h 1321"/>
                    <a:gd name="T60" fmla="*/ 1256 w 1706"/>
                    <a:gd name="T61" fmla="*/ 424 h 1321"/>
                    <a:gd name="T62" fmla="*/ 1168 w 1706"/>
                    <a:gd name="T63" fmla="*/ 348 h 1321"/>
                    <a:gd name="T64" fmla="*/ 1074 w 1706"/>
                    <a:gd name="T65" fmla="*/ 278 h 1321"/>
                    <a:gd name="T66" fmla="*/ 976 w 1706"/>
                    <a:gd name="T67" fmla="*/ 216 h 1321"/>
                    <a:gd name="T68" fmla="*/ 875 w 1706"/>
                    <a:gd name="T69" fmla="*/ 162 h 1321"/>
                    <a:gd name="T70" fmla="*/ 770 w 1706"/>
                    <a:gd name="T71" fmla="*/ 115 h 1321"/>
                    <a:gd name="T72" fmla="*/ 663 w 1706"/>
                    <a:gd name="T73" fmla="*/ 77 h 1321"/>
                    <a:gd name="T74" fmla="*/ 555 w 1706"/>
                    <a:gd name="T75" fmla="*/ 46 h 1321"/>
                    <a:gd name="T76" fmla="*/ 445 w 1706"/>
                    <a:gd name="T77" fmla="*/ 23 h 1321"/>
                    <a:gd name="T78" fmla="*/ 334 w 1706"/>
                    <a:gd name="T79" fmla="*/ 8 h 1321"/>
                    <a:gd name="T80" fmla="*/ 223 w 1706"/>
                    <a:gd name="T81" fmla="*/ 0 h 1321"/>
                    <a:gd name="T82" fmla="*/ 112 w 1706"/>
                    <a:gd name="T83" fmla="*/ 1 h 1321"/>
                    <a:gd name="T84" fmla="*/ 0 w 1706"/>
                    <a:gd name="T85" fmla="*/ 8 h 1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4" name="Freeform 246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108 w 1252"/>
                    <a:gd name="T1" fmla="*/ 1736 h 1753"/>
                    <a:gd name="T2" fmla="*/ 214 w 1252"/>
                    <a:gd name="T3" fmla="*/ 1705 h 1753"/>
                    <a:gd name="T4" fmla="*/ 318 w 1252"/>
                    <a:gd name="T5" fmla="*/ 1667 h 1753"/>
                    <a:gd name="T6" fmla="*/ 419 w 1252"/>
                    <a:gd name="T7" fmla="*/ 1621 h 1753"/>
                    <a:gd name="T8" fmla="*/ 517 w 1252"/>
                    <a:gd name="T9" fmla="*/ 1568 h 1753"/>
                    <a:gd name="T10" fmla="*/ 611 w 1252"/>
                    <a:gd name="T11" fmla="*/ 1509 h 1753"/>
                    <a:gd name="T12" fmla="*/ 702 w 1252"/>
                    <a:gd name="T13" fmla="*/ 1441 h 1753"/>
                    <a:gd name="T14" fmla="*/ 786 w 1252"/>
                    <a:gd name="T15" fmla="*/ 1368 h 1753"/>
                    <a:gd name="T16" fmla="*/ 866 w 1252"/>
                    <a:gd name="T17" fmla="*/ 1288 h 1753"/>
                    <a:gd name="T18" fmla="*/ 940 w 1252"/>
                    <a:gd name="T19" fmla="*/ 1201 h 1753"/>
                    <a:gd name="T20" fmla="*/ 1008 w 1252"/>
                    <a:gd name="T21" fmla="*/ 1108 h 1753"/>
                    <a:gd name="T22" fmla="*/ 1069 w 1252"/>
                    <a:gd name="T23" fmla="*/ 1011 h 1753"/>
                    <a:gd name="T24" fmla="*/ 1120 w 1252"/>
                    <a:gd name="T25" fmla="*/ 911 h 1753"/>
                    <a:gd name="T26" fmla="*/ 1164 w 1252"/>
                    <a:gd name="T27" fmla="*/ 808 h 1753"/>
                    <a:gd name="T28" fmla="*/ 1197 w 1252"/>
                    <a:gd name="T29" fmla="*/ 704 h 1753"/>
                    <a:gd name="T30" fmla="*/ 1224 w 1252"/>
                    <a:gd name="T31" fmla="*/ 599 h 1753"/>
                    <a:gd name="T32" fmla="*/ 1241 w 1252"/>
                    <a:gd name="T33" fmla="*/ 493 h 1753"/>
                    <a:gd name="T34" fmla="*/ 1251 w 1252"/>
                    <a:gd name="T35" fmla="*/ 387 h 1753"/>
                    <a:gd name="T36" fmla="*/ 1252 w 1252"/>
                    <a:gd name="T37" fmla="*/ 280 h 1753"/>
                    <a:gd name="T38" fmla="*/ 1246 w 1252"/>
                    <a:gd name="T39" fmla="*/ 174 h 1753"/>
                    <a:gd name="T40" fmla="*/ 1231 w 1252"/>
                    <a:gd name="T41" fmla="*/ 69 h 1753"/>
                    <a:gd name="T42" fmla="*/ 1180 w 1252"/>
                    <a:gd name="T43" fmla="*/ 8 h 1753"/>
                    <a:gd name="T44" fmla="*/ 1073 w 1252"/>
                    <a:gd name="T45" fmla="*/ 37 h 1753"/>
                    <a:gd name="T46" fmla="*/ 968 w 1252"/>
                    <a:gd name="T47" fmla="*/ 73 h 1753"/>
                    <a:gd name="T48" fmla="*/ 866 w 1252"/>
                    <a:gd name="T49" fmla="*/ 116 h 1753"/>
                    <a:gd name="T50" fmla="*/ 767 w 1252"/>
                    <a:gd name="T51" fmla="*/ 167 h 1753"/>
                    <a:gd name="T52" fmla="*/ 672 w 1252"/>
                    <a:gd name="T53" fmla="*/ 224 h 1753"/>
                    <a:gd name="T54" fmla="*/ 581 w 1252"/>
                    <a:gd name="T55" fmla="*/ 288 h 1753"/>
                    <a:gd name="T56" fmla="*/ 494 w 1252"/>
                    <a:gd name="T57" fmla="*/ 359 h 1753"/>
                    <a:gd name="T58" fmla="*/ 412 w 1252"/>
                    <a:gd name="T59" fmla="*/ 437 h 1753"/>
                    <a:gd name="T60" fmla="*/ 336 w 1252"/>
                    <a:gd name="T61" fmla="*/ 521 h 1753"/>
                    <a:gd name="T62" fmla="*/ 267 w 1252"/>
                    <a:gd name="T63" fmla="*/ 612 h 1753"/>
                    <a:gd name="T64" fmla="*/ 204 w 1252"/>
                    <a:gd name="T65" fmla="*/ 709 h 1753"/>
                    <a:gd name="T66" fmla="*/ 149 w 1252"/>
                    <a:gd name="T67" fmla="*/ 808 h 1753"/>
                    <a:gd name="T68" fmla="*/ 103 w 1252"/>
                    <a:gd name="T69" fmla="*/ 910 h 1753"/>
                    <a:gd name="T70" fmla="*/ 66 w 1252"/>
                    <a:gd name="T71" fmla="*/ 1013 h 1753"/>
                    <a:gd name="T72" fmla="*/ 36 w 1252"/>
                    <a:gd name="T73" fmla="*/ 1118 h 1753"/>
                    <a:gd name="T74" fmla="*/ 16 w 1252"/>
                    <a:gd name="T75" fmla="*/ 1224 h 1753"/>
                    <a:gd name="T76" fmla="*/ 4 w 1252"/>
                    <a:gd name="T77" fmla="*/ 1330 h 1753"/>
                    <a:gd name="T78" fmla="*/ 0 w 1252"/>
                    <a:gd name="T79" fmla="*/ 1437 h 1753"/>
                    <a:gd name="T80" fmla="*/ 4 w 1252"/>
                    <a:gd name="T81" fmla="*/ 1544 h 1753"/>
                    <a:gd name="T82" fmla="*/ 16 w 1252"/>
                    <a:gd name="T83" fmla="*/ 1649 h 1753"/>
                    <a:gd name="T84" fmla="*/ 36 w 1252"/>
                    <a:gd name="T85" fmla="*/ 1753 h 1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5" name="Freeform 247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4" cy="109"/>
                </a:xfrm>
                <a:custGeom>
                  <a:avLst/>
                  <a:gdLst>
                    <a:gd name="T0" fmla="*/ 572 w 931"/>
                    <a:gd name="T1" fmla="*/ 43 h 2057"/>
                    <a:gd name="T2" fmla="*/ 487 w 931"/>
                    <a:gd name="T3" fmla="*/ 114 h 2057"/>
                    <a:gd name="T4" fmla="*/ 408 w 931"/>
                    <a:gd name="T5" fmla="*/ 189 h 2057"/>
                    <a:gd name="T6" fmla="*/ 336 w 931"/>
                    <a:gd name="T7" fmla="*/ 270 h 2057"/>
                    <a:gd name="T8" fmla="*/ 269 w 931"/>
                    <a:gd name="T9" fmla="*/ 356 h 2057"/>
                    <a:gd name="T10" fmla="*/ 208 w 931"/>
                    <a:gd name="T11" fmla="*/ 447 h 2057"/>
                    <a:gd name="T12" fmla="*/ 156 w 931"/>
                    <a:gd name="T13" fmla="*/ 542 h 2057"/>
                    <a:gd name="T14" fmla="*/ 109 w 931"/>
                    <a:gd name="T15" fmla="*/ 642 h 2057"/>
                    <a:gd name="T16" fmla="*/ 71 w 931"/>
                    <a:gd name="T17" fmla="*/ 746 h 2057"/>
                    <a:gd name="T18" fmla="*/ 40 w 931"/>
                    <a:gd name="T19" fmla="*/ 853 h 2057"/>
                    <a:gd name="T20" fmla="*/ 17 w 931"/>
                    <a:gd name="T21" fmla="*/ 964 h 2057"/>
                    <a:gd name="T22" fmla="*/ 4 w 931"/>
                    <a:gd name="T23" fmla="*/ 1077 h 2057"/>
                    <a:gd name="T24" fmla="*/ 0 w 931"/>
                    <a:gd name="T25" fmla="*/ 1188 h 2057"/>
                    <a:gd name="T26" fmla="*/ 4 w 931"/>
                    <a:gd name="T27" fmla="*/ 1299 h 2057"/>
                    <a:gd name="T28" fmla="*/ 17 w 931"/>
                    <a:gd name="T29" fmla="*/ 1407 h 2057"/>
                    <a:gd name="T30" fmla="*/ 38 w 931"/>
                    <a:gd name="T31" fmla="*/ 1513 h 2057"/>
                    <a:gd name="T32" fmla="*/ 67 w 931"/>
                    <a:gd name="T33" fmla="*/ 1617 h 2057"/>
                    <a:gd name="T34" fmla="*/ 104 w 931"/>
                    <a:gd name="T35" fmla="*/ 1718 h 2057"/>
                    <a:gd name="T36" fmla="*/ 148 w 931"/>
                    <a:gd name="T37" fmla="*/ 1815 h 2057"/>
                    <a:gd name="T38" fmla="*/ 200 w 931"/>
                    <a:gd name="T39" fmla="*/ 1909 h 2057"/>
                    <a:gd name="T40" fmla="*/ 258 w 931"/>
                    <a:gd name="T41" fmla="*/ 2000 h 2057"/>
                    <a:gd name="T42" fmla="*/ 330 w 931"/>
                    <a:gd name="T43" fmla="*/ 2036 h 2057"/>
                    <a:gd name="T44" fmla="*/ 416 w 931"/>
                    <a:gd name="T45" fmla="*/ 1968 h 2057"/>
                    <a:gd name="T46" fmla="*/ 497 w 931"/>
                    <a:gd name="T47" fmla="*/ 1895 h 2057"/>
                    <a:gd name="T48" fmla="*/ 572 w 931"/>
                    <a:gd name="T49" fmla="*/ 1816 h 2057"/>
                    <a:gd name="T50" fmla="*/ 640 w 931"/>
                    <a:gd name="T51" fmla="*/ 1732 h 2057"/>
                    <a:gd name="T52" fmla="*/ 703 w 931"/>
                    <a:gd name="T53" fmla="*/ 1643 h 2057"/>
                    <a:gd name="T54" fmla="*/ 759 w 931"/>
                    <a:gd name="T55" fmla="*/ 1549 h 2057"/>
                    <a:gd name="T56" fmla="*/ 807 w 931"/>
                    <a:gd name="T57" fmla="*/ 1450 h 2057"/>
                    <a:gd name="T58" fmla="*/ 848 w 931"/>
                    <a:gd name="T59" fmla="*/ 1348 h 2057"/>
                    <a:gd name="T60" fmla="*/ 882 w 931"/>
                    <a:gd name="T61" fmla="*/ 1241 h 2057"/>
                    <a:gd name="T62" fmla="*/ 907 w 931"/>
                    <a:gd name="T63" fmla="*/ 1131 h 2057"/>
                    <a:gd name="T64" fmla="*/ 923 w 931"/>
                    <a:gd name="T65" fmla="*/ 1019 h 2057"/>
                    <a:gd name="T66" fmla="*/ 930 w 931"/>
                    <a:gd name="T67" fmla="*/ 907 h 2057"/>
                    <a:gd name="T68" fmla="*/ 929 w 931"/>
                    <a:gd name="T69" fmla="*/ 796 h 2057"/>
                    <a:gd name="T70" fmla="*/ 919 w 931"/>
                    <a:gd name="T71" fmla="*/ 687 h 2057"/>
                    <a:gd name="T72" fmla="*/ 901 w 931"/>
                    <a:gd name="T73" fmla="*/ 580 h 2057"/>
                    <a:gd name="T74" fmla="*/ 875 w 931"/>
                    <a:gd name="T75" fmla="*/ 476 h 2057"/>
                    <a:gd name="T76" fmla="*/ 840 w 931"/>
                    <a:gd name="T77" fmla="*/ 374 h 2057"/>
                    <a:gd name="T78" fmla="*/ 798 w 931"/>
                    <a:gd name="T79" fmla="*/ 275 h 2057"/>
                    <a:gd name="T80" fmla="*/ 748 w 931"/>
                    <a:gd name="T81" fmla="*/ 180 h 2057"/>
                    <a:gd name="T82" fmla="*/ 693 w 931"/>
                    <a:gd name="T83" fmla="*/ 87 h 2057"/>
                    <a:gd name="T84" fmla="*/ 630 w 931"/>
                    <a:gd name="T85" fmla="*/ 0 h 20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6" name="Freeform 248"/>
                <p:cNvSpPr>
                  <a:spLocks/>
                </p:cNvSpPr>
                <p:nvPr/>
              </p:nvSpPr>
              <p:spPr bwMode="auto">
                <a:xfrm rot="-2429734">
                  <a:off x="725" y="1881"/>
                  <a:ext cx="60" cy="97"/>
                </a:xfrm>
                <a:custGeom>
                  <a:avLst/>
                  <a:gdLst>
                    <a:gd name="T0" fmla="*/ 51 w 1153"/>
                    <a:gd name="T1" fmla="*/ 67 h 1847"/>
                    <a:gd name="T2" fmla="*/ 26 w 1153"/>
                    <a:gd name="T3" fmla="*/ 171 h 1847"/>
                    <a:gd name="T4" fmla="*/ 9 w 1153"/>
                    <a:gd name="T5" fmla="*/ 277 h 1847"/>
                    <a:gd name="T6" fmla="*/ 1 w 1153"/>
                    <a:gd name="T7" fmla="*/ 383 h 1847"/>
                    <a:gd name="T8" fmla="*/ 0 w 1153"/>
                    <a:gd name="T9" fmla="*/ 489 h 1847"/>
                    <a:gd name="T10" fmla="*/ 7 w 1153"/>
                    <a:gd name="T11" fmla="*/ 597 h 1847"/>
                    <a:gd name="T12" fmla="*/ 24 w 1153"/>
                    <a:gd name="T13" fmla="*/ 704 h 1847"/>
                    <a:gd name="T14" fmla="*/ 48 w 1153"/>
                    <a:gd name="T15" fmla="*/ 810 h 1847"/>
                    <a:gd name="T16" fmla="*/ 81 w 1153"/>
                    <a:gd name="T17" fmla="*/ 916 h 1847"/>
                    <a:gd name="T18" fmla="*/ 123 w 1153"/>
                    <a:gd name="T19" fmla="*/ 1020 h 1847"/>
                    <a:gd name="T20" fmla="*/ 173 w 1153"/>
                    <a:gd name="T21" fmla="*/ 1122 h 1847"/>
                    <a:gd name="T22" fmla="*/ 232 w 1153"/>
                    <a:gd name="T23" fmla="*/ 1221 h 1847"/>
                    <a:gd name="T24" fmla="*/ 299 w 1153"/>
                    <a:gd name="T25" fmla="*/ 1313 h 1847"/>
                    <a:gd name="T26" fmla="*/ 370 w 1153"/>
                    <a:gd name="T27" fmla="*/ 1400 h 1847"/>
                    <a:gd name="T28" fmla="*/ 448 w 1153"/>
                    <a:gd name="T29" fmla="*/ 1480 h 1847"/>
                    <a:gd name="T30" fmla="*/ 530 w 1153"/>
                    <a:gd name="T31" fmla="*/ 1554 h 1847"/>
                    <a:gd name="T32" fmla="*/ 619 w 1153"/>
                    <a:gd name="T33" fmla="*/ 1621 h 1847"/>
                    <a:gd name="T34" fmla="*/ 711 w 1153"/>
                    <a:gd name="T35" fmla="*/ 1682 h 1847"/>
                    <a:gd name="T36" fmla="*/ 807 w 1153"/>
                    <a:gd name="T37" fmla="*/ 1736 h 1847"/>
                    <a:gd name="T38" fmla="*/ 907 w 1153"/>
                    <a:gd name="T39" fmla="*/ 1784 h 1847"/>
                    <a:gd name="T40" fmla="*/ 1010 w 1153"/>
                    <a:gd name="T41" fmla="*/ 1824 h 1847"/>
                    <a:gd name="T42" fmla="*/ 1091 w 1153"/>
                    <a:gd name="T43" fmla="*/ 1813 h 1847"/>
                    <a:gd name="T44" fmla="*/ 1119 w 1153"/>
                    <a:gd name="T45" fmla="*/ 1711 h 1847"/>
                    <a:gd name="T46" fmla="*/ 1138 w 1153"/>
                    <a:gd name="T47" fmla="*/ 1606 h 1847"/>
                    <a:gd name="T48" fmla="*/ 1149 w 1153"/>
                    <a:gd name="T49" fmla="*/ 1500 h 1847"/>
                    <a:gd name="T50" fmla="*/ 1153 w 1153"/>
                    <a:gd name="T51" fmla="*/ 1394 h 1847"/>
                    <a:gd name="T52" fmla="*/ 1148 w 1153"/>
                    <a:gd name="T53" fmla="*/ 1287 h 1847"/>
                    <a:gd name="T54" fmla="*/ 1135 w 1153"/>
                    <a:gd name="T55" fmla="*/ 1180 h 1847"/>
                    <a:gd name="T56" fmla="*/ 1113 w 1153"/>
                    <a:gd name="T57" fmla="*/ 1073 h 1847"/>
                    <a:gd name="T58" fmla="*/ 1083 w 1153"/>
                    <a:gd name="T59" fmla="*/ 967 h 1847"/>
                    <a:gd name="T60" fmla="*/ 1044 w 1153"/>
                    <a:gd name="T61" fmla="*/ 862 h 1847"/>
                    <a:gd name="T62" fmla="*/ 997 w 1153"/>
                    <a:gd name="T63" fmla="*/ 759 h 1847"/>
                    <a:gd name="T64" fmla="*/ 940 w 1153"/>
                    <a:gd name="T65" fmla="*/ 659 h 1847"/>
                    <a:gd name="T66" fmla="*/ 877 w 1153"/>
                    <a:gd name="T67" fmla="*/ 565 h 1847"/>
                    <a:gd name="T68" fmla="*/ 807 w 1153"/>
                    <a:gd name="T69" fmla="*/ 476 h 1847"/>
                    <a:gd name="T70" fmla="*/ 731 w 1153"/>
                    <a:gd name="T71" fmla="*/ 394 h 1847"/>
                    <a:gd name="T72" fmla="*/ 650 w 1153"/>
                    <a:gd name="T73" fmla="*/ 318 h 1847"/>
                    <a:gd name="T74" fmla="*/ 564 w 1153"/>
                    <a:gd name="T75" fmla="*/ 248 h 1847"/>
                    <a:gd name="T76" fmla="*/ 472 w 1153"/>
                    <a:gd name="T77" fmla="*/ 185 h 1847"/>
                    <a:gd name="T78" fmla="*/ 378 w 1153"/>
                    <a:gd name="T79" fmla="*/ 127 h 1847"/>
                    <a:gd name="T80" fmla="*/ 279 w 1153"/>
                    <a:gd name="T81" fmla="*/ 78 h 1847"/>
                    <a:gd name="T82" fmla="*/ 177 w 1153"/>
                    <a:gd name="T83" fmla="*/ 35 h 1847"/>
                    <a:gd name="T84" fmla="*/ 71 w 1153"/>
                    <a:gd name="T85" fmla="*/ 0 h 18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7" name="Freeform 249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17 w 1849"/>
                    <a:gd name="T1" fmla="*/ 105 h 1185"/>
                    <a:gd name="T2" fmla="*/ 50 w 1849"/>
                    <a:gd name="T3" fmla="*/ 206 h 1185"/>
                    <a:gd name="T4" fmla="*/ 91 w 1849"/>
                    <a:gd name="T5" fmla="*/ 304 h 1185"/>
                    <a:gd name="T6" fmla="*/ 141 w 1849"/>
                    <a:gd name="T7" fmla="*/ 400 h 1185"/>
                    <a:gd name="T8" fmla="*/ 196 w 1849"/>
                    <a:gd name="T9" fmla="*/ 493 h 1185"/>
                    <a:gd name="T10" fmla="*/ 260 w 1849"/>
                    <a:gd name="T11" fmla="*/ 582 h 1185"/>
                    <a:gd name="T12" fmla="*/ 330 w 1849"/>
                    <a:gd name="T13" fmla="*/ 667 h 1185"/>
                    <a:gd name="T14" fmla="*/ 407 w 1849"/>
                    <a:gd name="T15" fmla="*/ 747 h 1185"/>
                    <a:gd name="T16" fmla="*/ 492 w 1849"/>
                    <a:gd name="T17" fmla="*/ 822 h 1185"/>
                    <a:gd name="T18" fmla="*/ 584 w 1849"/>
                    <a:gd name="T19" fmla="*/ 892 h 1185"/>
                    <a:gd name="T20" fmla="*/ 682 w 1849"/>
                    <a:gd name="T21" fmla="*/ 956 h 1185"/>
                    <a:gd name="T22" fmla="*/ 785 w 1849"/>
                    <a:gd name="T23" fmla="*/ 1013 h 1185"/>
                    <a:gd name="T24" fmla="*/ 890 w 1849"/>
                    <a:gd name="T25" fmla="*/ 1062 h 1185"/>
                    <a:gd name="T26" fmla="*/ 998 w 1849"/>
                    <a:gd name="T27" fmla="*/ 1102 h 1185"/>
                    <a:gd name="T28" fmla="*/ 1108 w 1849"/>
                    <a:gd name="T29" fmla="*/ 1134 h 1185"/>
                    <a:gd name="T30" fmla="*/ 1218 w 1849"/>
                    <a:gd name="T31" fmla="*/ 1159 h 1185"/>
                    <a:gd name="T32" fmla="*/ 1330 w 1849"/>
                    <a:gd name="T33" fmla="*/ 1175 h 1185"/>
                    <a:gd name="T34" fmla="*/ 1443 w 1849"/>
                    <a:gd name="T35" fmla="*/ 1183 h 1185"/>
                    <a:gd name="T36" fmla="*/ 1554 w 1849"/>
                    <a:gd name="T37" fmla="*/ 1184 h 1185"/>
                    <a:gd name="T38" fmla="*/ 1666 w 1849"/>
                    <a:gd name="T39" fmla="*/ 1177 h 1185"/>
                    <a:gd name="T40" fmla="*/ 1776 w 1849"/>
                    <a:gd name="T41" fmla="*/ 1163 h 1185"/>
                    <a:gd name="T42" fmla="*/ 1840 w 1849"/>
                    <a:gd name="T43" fmla="*/ 1114 h 1185"/>
                    <a:gd name="T44" fmla="*/ 1810 w 1849"/>
                    <a:gd name="T45" fmla="*/ 1013 h 1185"/>
                    <a:gd name="T46" fmla="*/ 1771 w 1849"/>
                    <a:gd name="T47" fmla="*/ 913 h 1185"/>
                    <a:gd name="T48" fmla="*/ 1725 w 1849"/>
                    <a:gd name="T49" fmla="*/ 816 h 1185"/>
                    <a:gd name="T50" fmla="*/ 1671 w 1849"/>
                    <a:gd name="T51" fmla="*/ 723 h 1185"/>
                    <a:gd name="T52" fmla="*/ 1611 w 1849"/>
                    <a:gd name="T53" fmla="*/ 632 h 1185"/>
                    <a:gd name="T54" fmla="*/ 1543 w 1849"/>
                    <a:gd name="T55" fmla="*/ 546 h 1185"/>
                    <a:gd name="T56" fmla="*/ 1468 w 1849"/>
                    <a:gd name="T57" fmla="*/ 464 h 1185"/>
                    <a:gd name="T58" fmla="*/ 1385 w 1849"/>
                    <a:gd name="T59" fmla="*/ 387 h 1185"/>
                    <a:gd name="T60" fmla="*/ 1296 w 1849"/>
                    <a:gd name="T61" fmla="*/ 315 h 1185"/>
                    <a:gd name="T62" fmla="*/ 1200 w 1849"/>
                    <a:gd name="T63" fmla="*/ 249 h 1185"/>
                    <a:gd name="T64" fmla="*/ 1098 w 1849"/>
                    <a:gd name="T65" fmla="*/ 190 h 1185"/>
                    <a:gd name="T66" fmla="*/ 993 w 1849"/>
                    <a:gd name="T67" fmla="*/ 138 h 1185"/>
                    <a:gd name="T68" fmla="*/ 886 w 1849"/>
                    <a:gd name="T69" fmla="*/ 95 h 1185"/>
                    <a:gd name="T70" fmla="*/ 777 w 1849"/>
                    <a:gd name="T71" fmla="*/ 60 h 1185"/>
                    <a:gd name="T72" fmla="*/ 667 w 1849"/>
                    <a:gd name="T73" fmla="*/ 33 h 1185"/>
                    <a:gd name="T74" fmla="*/ 555 w 1849"/>
                    <a:gd name="T75" fmla="*/ 14 h 1185"/>
                    <a:gd name="T76" fmla="*/ 443 w 1849"/>
                    <a:gd name="T77" fmla="*/ 3 h 1185"/>
                    <a:gd name="T78" fmla="*/ 331 w 1849"/>
                    <a:gd name="T79" fmla="*/ 0 h 1185"/>
                    <a:gd name="T80" fmla="*/ 220 w 1849"/>
                    <a:gd name="T81" fmla="*/ 5 h 1185"/>
                    <a:gd name="T82" fmla="*/ 109 w 1849"/>
                    <a:gd name="T83" fmla="*/ 17 h 1185"/>
                    <a:gd name="T84" fmla="*/ 0 w 1849"/>
                    <a:gd name="T85" fmla="*/ 36 h 1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8" name="Freeform 250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34 w 2066"/>
                    <a:gd name="T1" fmla="*/ 208 h 979"/>
                    <a:gd name="T2" fmla="*/ 91 w 2066"/>
                    <a:gd name="T3" fmla="*/ 299 h 979"/>
                    <a:gd name="T4" fmla="*/ 154 w 2066"/>
                    <a:gd name="T5" fmla="*/ 387 h 979"/>
                    <a:gd name="T6" fmla="*/ 224 w 2066"/>
                    <a:gd name="T7" fmla="*/ 470 h 979"/>
                    <a:gd name="T8" fmla="*/ 300 w 2066"/>
                    <a:gd name="T9" fmla="*/ 548 h 979"/>
                    <a:gd name="T10" fmla="*/ 383 w 2066"/>
                    <a:gd name="T11" fmla="*/ 621 h 979"/>
                    <a:gd name="T12" fmla="*/ 472 w 2066"/>
                    <a:gd name="T13" fmla="*/ 689 h 979"/>
                    <a:gd name="T14" fmla="*/ 566 w 2066"/>
                    <a:gd name="T15" fmla="*/ 750 h 979"/>
                    <a:gd name="T16" fmla="*/ 666 w 2066"/>
                    <a:gd name="T17" fmla="*/ 806 h 979"/>
                    <a:gd name="T18" fmla="*/ 772 w 2066"/>
                    <a:gd name="T19" fmla="*/ 854 h 979"/>
                    <a:gd name="T20" fmla="*/ 883 w 2066"/>
                    <a:gd name="T21" fmla="*/ 896 h 979"/>
                    <a:gd name="T22" fmla="*/ 997 w 2066"/>
                    <a:gd name="T23" fmla="*/ 929 h 979"/>
                    <a:gd name="T24" fmla="*/ 1112 w 2066"/>
                    <a:gd name="T25" fmla="*/ 954 h 979"/>
                    <a:gd name="T26" fmla="*/ 1226 w 2066"/>
                    <a:gd name="T27" fmla="*/ 970 h 979"/>
                    <a:gd name="T28" fmla="*/ 1340 w 2066"/>
                    <a:gd name="T29" fmla="*/ 979 h 979"/>
                    <a:gd name="T30" fmla="*/ 1455 w 2066"/>
                    <a:gd name="T31" fmla="*/ 978 h 979"/>
                    <a:gd name="T32" fmla="*/ 1567 w 2066"/>
                    <a:gd name="T33" fmla="*/ 970 h 979"/>
                    <a:gd name="T34" fmla="*/ 1678 w 2066"/>
                    <a:gd name="T35" fmla="*/ 955 h 979"/>
                    <a:gd name="T36" fmla="*/ 1787 w 2066"/>
                    <a:gd name="T37" fmla="*/ 931 h 979"/>
                    <a:gd name="T38" fmla="*/ 1895 w 2066"/>
                    <a:gd name="T39" fmla="*/ 901 h 979"/>
                    <a:gd name="T40" fmla="*/ 1999 w 2066"/>
                    <a:gd name="T41" fmla="*/ 863 h 979"/>
                    <a:gd name="T42" fmla="*/ 2049 w 2066"/>
                    <a:gd name="T43" fmla="*/ 803 h 979"/>
                    <a:gd name="T44" fmla="*/ 1996 w 2066"/>
                    <a:gd name="T45" fmla="*/ 710 h 979"/>
                    <a:gd name="T46" fmla="*/ 1935 w 2066"/>
                    <a:gd name="T47" fmla="*/ 621 h 979"/>
                    <a:gd name="T48" fmla="*/ 1866 w 2066"/>
                    <a:gd name="T49" fmla="*/ 537 h 979"/>
                    <a:gd name="T50" fmla="*/ 1793 w 2066"/>
                    <a:gd name="T51" fmla="*/ 457 h 979"/>
                    <a:gd name="T52" fmla="*/ 1712 w 2066"/>
                    <a:gd name="T53" fmla="*/ 382 h 979"/>
                    <a:gd name="T54" fmla="*/ 1625 w 2066"/>
                    <a:gd name="T55" fmla="*/ 312 h 979"/>
                    <a:gd name="T56" fmla="*/ 1533 w 2066"/>
                    <a:gd name="T57" fmla="*/ 249 h 979"/>
                    <a:gd name="T58" fmla="*/ 1434 w 2066"/>
                    <a:gd name="T59" fmla="*/ 191 h 979"/>
                    <a:gd name="T60" fmla="*/ 1331 w 2066"/>
                    <a:gd name="T61" fmla="*/ 140 h 979"/>
                    <a:gd name="T62" fmla="*/ 1221 w 2066"/>
                    <a:gd name="T63" fmla="*/ 96 h 979"/>
                    <a:gd name="T64" fmla="*/ 1107 w 2066"/>
                    <a:gd name="T65" fmla="*/ 60 h 979"/>
                    <a:gd name="T66" fmla="*/ 993 w 2066"/>
                    <a:gd name="T67" fmla="*/ 32 h 979"/>
                    <a:gd name="T68" fmla="*/ 879 w 2066"/>
                    <a:gd name="T69" fmla="*/ 13 h 979"/>
                    <a:gd name="T70" fmla="*/ 764 w 2066"/>
                    <a:gd name="T71" fmla="*/ 3 h 979"/>
                    <a:gd name="T72" fmla="*/ 650 w 2066"/>
                    <a:gd name="T73" fmla="*/ 0 h 979"/>
                    <a:gd name="T74" fmla="*/ 537 w 2066"/>
                    <a:gd name="T75" fmla="*/ 5 h 979"/>
                    <a:gd name="T76" fmla="*/ 425 w 2066"/>
                    <a:gd name="T77" fmla="*/ 18 h 979"/>
                    <a:gd name="T78" fmla="*/ 315 w 2066"/>
                    <a:gd name="T79" fmla="*/ 39 h 979"/>
                    <a:gd name="T80" fmla="*/ 208 w 2066"/>
                    <a:gd name="T81" fmla="*/ 67 h 979"/>
                    <a:gd name="T82" fmla="*/ 102 w 2066"/>
                    <a:gd name="T83" fmla="*/ 103 h 979"/>
                    <a:gd name="T84" fmla="*/ 0 w 2066"/>
                    <a:gd name="T85" fmla="*/ 145 h 9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59" name="Freeform 251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4"/>
                </a:xfrm>
                <a:custGeom>
                  <a:avLst/>
                  <a:gdLst>
                    <a:gd name="T0" fmla="*/ 45 w 2160"/>
                    <a:gd name="T1" fmla="*/ 331 h 889"/>
                    <a:gd name="T2" fmla="*/ 117 w 2160"/>
                    <a:gd name="T3" fmla="*/ 412 h 889"/>
                    <a:gd name="T4" fmla="*/ 195 w 2160"/>
                    <a:gd name="T5" fmla="*/ 487 h 889"/>
                    <a:gd name="T6" fmla="*/ 279 w 2160"/>
                    <a:gd name="T7" fmla="*/ 557 h 889"/>
                    <a:gd name="T8" fmla="*/ 369 w 2160"/>
                    <a:gd name="T9" fmla="*/ 622 h 889"/>
                    <a:gd name="T10" fmla="*/ 463 w 2160"/>
                    <a:gd name="T11" fmla="*/ 681 h 889"/>
                    <a:gd name="T12" fmla="*/ 563 w 2160"/>
                    <a:gd name="T13" fmla="*/ 733 h 889"/>
                    <a:gd name="T14" fmla="*/ 668 w 2160"/>
                    <a:gd name="T15" fmla="*/ 778 h 889"/>
                    <a:gd name="T16" fmla="*/ 776 w 2160"/>
                    <a:gd name="T17" fmla="*/ 816 h 889"/>
                    <a:gd name="T18" fmla="*/ 890 w 2160"/>
                    <a:gd name="T19" fmla="*/ 846 h 889"/>
                    <a:gd name="T20" fmla="*/ 1007 w 2160"/>
                    <a:gd name="T21" fmla="*/ 869 h 889"/>
                    <a:gd name="T22" fmla="*/ 1124 w 2160"/>
                    <a:gd name="T23" fmla="*/ 883 h 889"/>
                    <a:gd name="T24" fmla="*/ 1241 w 2160"/>
                    <a:gd name="T25" fmla="*/ 889 h 889"/>
                    <a:gd name="T26" fmla="*/ 1358 w 2160"/>
                    <a:gd name="T27" fmla="*/ 886 h 889"/>
                    <a:gd name="T28" fmla="*/ 1472 w 2160"/>
                    <a:gd name="T29" fmla="*/ 875 h 889"/>
                    <a:gd name="T30" fmla="*/ 1584 w 2160"/>
                    <a:gd name="T31" fmla="*/ 857 h 889"/>
                    <a:gd name="T32" fmla="*/ 1694 w 2160"/>
                    <a:gd name="T33" fmla="*/ 830 h 889"/>
                    <a:gd name="T34" fmla="*/ 1800 w 2160"/>
                    <a:gd name="T35" fmla="*/ 797 h 889"/>
                    <a:gd name="T36" fmla="*/ 1903 w 2160"/>
                    <a:gd name="T37" fmla="*/ 756 h 889"/>
                    <a:gd name="T38" fmla="*/ 2003 w 2160"/>
                    <a:gd name="T39" fmla="*/ 708 h 889"/>
                    <a:gd name="T40" fmla="*/ 2099 w 2160"/>
                    <a:gd name="T41" fmla="*/ 654 h 889"/>
                    <a:gd name="T42" fmla="*/ 2138 w 2160"/>
                    <a:gd name="T43" fmla="*/ 586 h 889"/>
                    <a:gd name="T44" fmla="*/ 2069 w 2160"/>
                    <a:gd name="T45" fmla="*/ 503 h 889"/>
                    <a:gd name="T46" fmla="*/ 1992 w 2160"/>
                    <a:gd name="T47" fmla="*/ 426 h 889"/>
                    <a:gd name="T48" fmla="*/ 1910 w 2160"/>
                    <a:gd name="T49" fmla="*/ 354 h 889"/>
                    <a:gd name="T50" fmla="*/ 1822 w 2160"/>
                    <a:gd name="T51" fmla="*/ 287 h 889"/>
                    <a:gd name="T52" fmla="*/ 1729 w 2160"/>
                    <a:gd name="T53" fmla="*/ 227 h 889"/>
                    <a:gd name="T54" fmla="*/ 1631 w 2160"/>
                    <a:gd name="T55" fmla="*/ 173 h 889"/>
                    <a:gd name="T56" fmla="*/ 1528 w 2160"/>
                    <a:gd name="T57" fmla="*/ 125 h 889"/>
                    <a:gd name="T58" fmla="*/ 1420 w 2160"/>
                    <a:gd name="T59" fmla="*/ 85 h 889"/>
                    <a:gd name="T60" fmla="*/ 1310 w 2160"/>
                    <a:gd name="T61" fmla="*/ 51 h 889"/>
                    <a:gd name="T62" fmla="*/ 1194 w 2160"/>
                    <a:gd name="T63" fmla="*/ 26 h 889"/>
                    <a:gd name="T64" fmla="*/ 1075 w 2160"/>
                    <a:gd name="T65" fmla="*/ 9 h 889"/>
                    <a:gd name="T66" fmla="*/ 958 w 2160"/>
                    <a:gd name="T67" fmla="*/ 0 h 889"/>
                    <a:gd name="T68" fmla="*/ 841 w 2160"/>
                    <a:gd name="T69" fmla="*/ 0 h 889"/>
                    <a:gd name="T70" fmla="*/ 727 w 2160"/>
                    <a:gd name="T71" fmla="*/ 9 h 889"/>
                    <a:gd name="T72" fmla="*/ 614 w 2160"/>
                    <a:gd name="T73" fmla="*/ 25 h 889"/>
                    <a:gd name="T74" fmla="*/ 503 w 2160"/>
                    <a:gd name="T75" fmla="*/ 49 h 889"/>
                    <a:gd name="T76" fmla="*/ 396 w 2160"/>
                    <a:gd name="T77" fmla="*/ 80 h 889"/>
                    <a:gd name="T78" fmla="*/ 291 w 2160"/>
                    <a:gd name="T79" fmla="*/ 119 h 889"/>
                    <a:gd name="T80" fmla="*/ 190 w 2160"/>
                    <a:gd name="T81" fmla="*/ 164 h 889"/>
                    <a:gd name="T82" fmla="*/ 93 w 2160"/>
                    <a:gd name="T83" fmla="*/ 216 h 889"/>
                    <a:gd name="T84" fmla="*/ 0 w 2160"/>
                    <a:gd name="T85" fmla="*/ 274 h 8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60" name="Freeform 252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3" cy="46"/>
                </a:xfrm>
                <a:custGeom>
                  <a:avLst/>
                  <a:gdLst>
                    <a:gd name="T0" fmla="*/ 66 w 2113"/>
                    <a:gd name="T1" fmla="*/ 774 h 936"/>
                    <a:gd name="T2" fmla="*/ 166 w 2113"/>
                    <a:gd name="T3" fmla="*/ 819 h 936"/>
                    <a:gd name="T4" fmla="*/ 271 w 2113"/>
                    <a:gd name="T5" fmla="*/ 857 h 936"/>
                    <a:gd name="T6" fmla="*/ 378 w 2113"/>
                    <a:gd name="T7" fmla="*/ 888 h 936"/>
                    <a:gd name="T8" fmla="*/ 488 w 2113"/>
                    <a:gd name="T9" fmla="*/ 911 h 936"/>
                    <a:gd name="T10" fmla="*/ 600 w 2113"/>
                    <a:gd name="T11" fmla="*/ 927 h 936"/>
                    <a:gd name="T12" fmla="*/ 713 w 2113"/>
                    <a:gd name="T13" fmla="*/ 935 h 936"/>
                    <a:gd name="T14" fmla="*/ 828 w 2113"/>
                    <a:gd name="T15" fmla="*/ 935 h 936"/>
                    <a:gd name="T16" fmla="*/ 943 w 2113"/>
                    <a:gd name="T17" fmla="*/ 926 h 936"/>
                    <a:gd name="T18" fmla="*/ 1060 w 2113"/>
                    <a:gd name="T19" fmla="*/ 910 h 936"/>
                    <a:gd name="T20" fmla="*/ 1175 w 2113"/>
                    <a:gd name="T21" fmla="*/ 884 h 936"/>
                    <a:gd name="T22" fmla="*/ 1289 w 2113"/>
                    <a:gd name="T23" fmla="*/ 850 h 936"/>
                    <a:gd name="T24" fmla="*/ 1398 w 2113"/>
                    <a:gd name="T25" fmla="*/ 809 h 936"/>
                    <a:gd name="T26" fmla="*/ 1503 w 2113"/>
                    <a:gd name="T27" fmla="*/ 761 h 936"/>
                    <a:gd name="T28" fmla="*/ 1602 w 2113"/>
                    <a:gd name="T29" fmla="*/ 706 h 936"/>
                    <a:gd name="T30" fmla="*/ 1695 w 2113"/>
                    <a:gd name="T31" fmla="*/ 644 h 936"/>
                    <a:gd name="T32" fmla="*/ 1784 w 2113"/>
                    <a:gd name="T33" fmla="*/ 577 h 936"/>
                    <a:gd name="T34" fmla="*/ 1866 w 2113"/>
                    <a:gd name="T35" fmla="*/ 504 h 936"/>
                    <a:gd name="T36" fmla="*/ 1942 w 2113"/>
                    <a:gd name="T37" fmla="*/ 425 h 936"/>
                    <a:gd name="T38" fmla="*/ 2011 w 2113"/>
                    <a:gd name="T39" fmla="*/ 343 h 936"/>
                    <a:gd name="T40" fmla="*/ 2075 w 2113"/>
                    <a:gd name="T41" fmla="*/ 255 h 936"/>
                    <a:gd name="T42" fmla="*/ 2080 w 2113"/>
                    <a:gd name="T43" fmla="*/ 178 h 936"/>
                    <a:gd name="T44" fmla="*/ 1980 w 2113"/>
                    <a:gd name="T45" fmla="*/ 131 h 936"/>
                    <a:gd name="T46" fmla="*/ 1877 w 2113"/>
                    <a:gd name="T47" fmla="*/ 91 h 936"/>
                    <a:gd name="T48" fmla="*/ 1771 w 2113"/>
                    <a:gd name="T49" fmla="*/ 57 h 936"/>
                    <a:gd name="T50" fmla="*/ 1663 w 2113"/>
                    <a:gd name="T51" fmla="*/ 32 h 936"/>
                    <a:gd name="T52" fmla="*/ 1551 w 2113"/>
                    <a:gd name="T53" fmla="*/ 13 h 936"/>
                    <a:gd name="T54" fmla="*/ 1438 w 2113"/>
                    <a:gd name="T55" fmla="*/ 3 h 936"/>
                    <a:gd name="T56" fmla="*/ 1324 w 2113"/>
                    <a:gd name="T57" fmla="*/ 0 h 936"/>
                    <a:gd name="T58" fmla="*/ 1209 w 2113"/>
                    <a:gd name="T59" fmla="*/ 6 h 936"/>
                    <a:gd name="T60" fmla="*/ 1093 w 2113"/>
                    <a:gd name="T61" fmla="*/ 20 h 936"/>
                    <a:gd name="T62" fmla="*/ 976 w 2113"/>
                    <a:gd name="T63" fmla="*/ 42 h 936"/>
                    <a:gd name="T64" fmla="*/ 862 w 2113"/>
                    <a:gd name="T65" fmla="*/ 73 h 936"/>
                    <a:gd name="T66" fmla="*/ 751 w 2113"/>
                    <a:gd name="T67" fmla="*/ 112 h 936"/>
                    <a:gd name="T68" fmla="*/ 645 w 2113"/>
                    <a:gd name="T69" fmla="*/ 158 h 936"/>
                    <a:gd name="T70" fmla="*/ 544 w 2113"/>
                    <a:gd name="T71" fmla="*/ 211 h 936"/>
                    <a:gd name="T72" fmla="*/ 449 w 2113"/>
                    <a:gd name="T73" fmla="*/ 270 h 936"/>
                    <a:gd name="T74" fmla="*/ 359 w 2113"/>
                    <a:gd name="T75" fmla="*/ 336 h 936"/>
                    <a:gd name="T76" fmla="*/ 274 w 2113"/>
                    <a:gd name="T77" fmla="*/ 407 h 936"/>
                    <a:gd name="T78" fmla="*/ 196 w 2113"/>
                    <a:gd name="T79" fmla="*/ 483 h 936"/>
                    <a:gd name="T80" fmla="*/ 125 w 2113"/>
                    <a:gd name="T81" fmla="*/ 565 h 936"/>
                    <a:gd name="T82" fmla="*/ 59 w 2113"/>
                    <a:gd name="T83" fmla="*/ 651 h 936"/>
                    <a:gd name="T84" fmla="*/ 0 w 2113"/>
                    <a:gd name="T85" fmla="*/ 741 h 9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61" name="Freeform 253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72 w 1964"/>
                    <a:gd name="T1" fmla="*/ 1020 h 1077"/>
                    <a:gd name="T2" fmla="*/ 179 w 1964"/>
                    <a:gd name="T3" fmla="*/ 1045 h 1077"/>
                    <a:gd name="T4" fmla="*/ 289 w 1964"/>
                    <a:gd name="T5" fmla="*/ 1063 h 1077"/>
                    <a:gd name="T6" fmla="*/ 401 w 1964"/>
                    <a:gd name="T7" fmla="*/ 1074 h 1077"/>
                    <a:gd name="T8" fmla="*/ 513 w 1964"/>
                    <a:gd name="T9" fmla="*/ 1077 h 1077"/>
                    <a:gd name="T10" fmla="*/ 626 w 1964"/>
                    <a:gd name="T11" fmla="*/ 1072 h 1077"/>
                    <a:gd name="T12" fmla="*/ 739 w 1964"/>
                    <a:gd name="T13" fmla="*/ 1059 h 1077"/>
                    <a:gd name="T14" fmla="*/ 851 w 1964"/>
                    <a:gd name="T15" fmla="*/ 1038 h 1077"/>
                    <a:gd name="T16" fmla="*/ 963 w 1964"/>
                    <a:gd name="T17" fmla="*/ 1009 h 1077"/>
                    <a:gd name="T18" fmla="*/ 1073 w 1964"/>
                    <a:gd name="T19" fmla="*/ 971 h 1077"/>
                    <a:gd name="T20" fmla="*/ 1182 w 1964"/>
                    <a:gd name="T21" fmla="*/ 925 h 1077"/>
                    <a:gd name="T22" fmla="*/ 1287 w 1964"/>
                    <a:gd name="T23" fmla="*/ 871 h 1077"/>
                    <a:gd name="T24" fmla="*/ 1386 w 1964"/>
                    <a:gd name="T25" fmla="*/ 810 h 1077"/>
                    <a:gd name="T26" fmla="*/ 1479 w 1964"/>
                    <a:gd name="T27" fmla="*/ 744 h 1077"/>
                    <a:gd name="T28" fmla="*/ 1564 w 1964"/>
                    <a:gd name="T29" fmla="*/ 672 h 1077"/>
                    <a:gd name="T30" fmla="*/ 1644 w 1964"/>
                    <a:gd name="T31" fmla="*/ 595 h 1077"/>
                    <a:gd name="T32" fmla="*/ 1717 w 1964"/>
                    <a:gd name="T33" fmla="*/ 512 h 1077"/>
                    <a:gd name="T34" fmla="*/ 1783 w 1964"/>
                    <a:gd name="T35" fmla="*/ 426 h 1077"/>
                    <a:gd name="T36" fmla="*/ 1842 w 1964"/>
                    <a:gd name="T37" fmla="*/ 336 h 1077"/>
                    <a:gd name="T38" fmla="*/ 1893 w 1964"/>
                    <a:gd name="T39" fmla="*/ 242 h 1077"/>
                    <a:gd name="T40" fmla="*/ 1938 w 1964"/>
                    <a:gd name="T41" fmla="*/ 144 h 1077"/>
                    <a:gd name="T42" fmla="*/ 1928 w 1964"/>
                    <a:gd name="T43" fmla="*/ 67 h 1077"/>
                    <a:gd name="T44" fmla="*/ 1821 w 1964"/>
                    <a:gd name="T45" fmla="*/ 39 h 1077"/>
                    <a:gd name="T46" fmla="*/ 1711 w 1964"/>
                    <a:gd name="T47" fmla="*/ 19 h 1077"/>
                    <a:gd name="T48" fmla="*/ 1600 w 1964"/>
                    <a:gd name="T49" fmla="*/ 6 h 1077"/>
                    <a:gd name="T50" fmla="*/ 1488 w 1964"/>
                    <a:gd name="T51" fmla="*/ 0 h 1077"/>
                    <a:gd name="T52" fmla="*/ 1376 w 1964"/>
                    <a:gd name="T53" fmla="*/ 2 h 1077"/>
                    <a:gd name="T54" fmla="*/ 1262 w 1964"/>
                    <a:gd name="T55" fmla="*/ 13 h 1077"/>
                    <a:gd name="T56" fmla="*/ 1149 w 1964"/>
                    <a:gd name="T57" fmla="*/ 31 h 1077"/>
                    <a:gd name="T58" fmla="*/ 1038 w 1964"/>
                    <a:gd name="T59" fmla="*/ 58 h 1077"/>
                    <a:gd name="T60" fmla="*/ 926 w 1964"/>
                    <a:gd name="T61" fmla="*/ 93 h 1077"/>
                    <a:gd name="T62" fmla="*/ 817 w 1964"/>
                    <a:gd name="T63" fmla="*/ 136 h 1077"/>
                    <a:gd name="T64" fmla="*/ 710 w 1964"/>
                    <a:gd name="T65" fmla="*/ 187 h 1077"/>
                    <a:gd name="T66" fmla="*/ 609 w 1964"/>
                    <a:gd name="T67" fmla="*/ 246 h 1077"/>
                    <a:gd name="T68" fmla="*/ 516 w 1964"/>
                    <a:gd name="T69" fmla="*/ 310 h 1077"/>
                    <a:gd name="T70" fmla="*/ 427 w 1964"/>
                    <a:gd name="T71" fmla="*/ 381 h 1077"/>
                    <a:gd name="T72" fmla="*/ 345 w 1964"/>
                    <a:gd name="T73" fmla="*/ 456 h 1077"/>
                    <a:gd name="T74" fmla="*/ 270 w 1964"/>
                    <a:gd name="T75" fmla="*/ 537 h 1077"/>
                    <a:gd name="T76" fmla="*/ 202 w 1964"/>
                    <a:gd name="T77" fmla="*/ 622 h 1077"/>
                    <a:gd name="T78" fmla="*/ 141 w 1964"/>
                    <a:gd name="T79" fmla="*/ 711 h 1077"/>
                    <a:gd name="T80" fmla="*/ 86 w 1964"/>
                    <a:gd name="T81" fmla="*/ 804 h 1077"/>
                    <a:gd name="T82" fmla="*/ 40 w 1964"/>
                    <a:gd name="T83" fmla="*/ 900 h 1077"/>
                    <a:gd name="T84" fmla="*/ 0 w 1964"/>
                    <a:gd name="T85" fmla="*/ 999 h 10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62" name="Freeform 254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104 w 1272"/>
                    <a:gd name="T1" fmla="*/ 1720 h 1736"/>
                    <a:gd name="T2" fmla="*/ 211 w 1272"/>
                    <a:gd name="T3" fmla="*/ 1690 h 1736"/>
                    <a:gd name="T4" fmla="*/ 315 w 1272"/>
                    <a:gd name="T5" fmla="*/ 1653 h 1736"/>
                    <a:gd name="T6" fmla="*/ 417 w 1272"/>
                    <a:gd name="T7" fmla="*/ 1609 h 1736"/>
                    <a:gd name="T8" fmla="*/ 516 w 1272"/>
                    <a:gd name="T9" fmla="*/ 1558 h 1736"/>
                    <a:gd name="T10" fmla="*/ 611 w 1272"/>
                    <a:gd name="T11" fmla="*/ 1500 h 1736"/>
                    <a:gd name="T12" fmla="*/ 701 w 1272"/>
                    <a:gd name="T13" fmla="*/ 1434 h 1736"/>
                    <a:gd name="T14" fmla="*/ 788 w 1272"/>
                    <a:gd name="T15" fmla="*/ 1362 h 1736"/>
                    <a:gd name="T16" fmla="*/ 869 w 1272"/>
                    <a:gd name="T17" fmla="*/ 1283 h 1736"/>
                    <a:gd name="T18" fmla="*/ 944 w 1272"/>
                    <a:gd name="T19" fmla="*/ 1197 h 1736"/>
                    <a:gd name="T20" fmla="*/ 1014 w 1272"/>
                    <a:gd name="T21" fmla="*/ 1105 h 1736"/>
                    <a:gd name="T22" fmla="*/ 1076 w 1272"/>
                    <a:gd name="T23" fmla="*/ 1009 h 1736"/>
                    <a:gd name="T24" fmla="*/ 1130 w 1272"/>
                    <a:gd name="T25" fmla="*/ 909 h 1736"/>
                    <a:gd name="T26" fmla="*/ 1174 w 1272"/>
                    <a:gd name="T27" fmla="*/ 808 h 1736"/>
                    <a:gd name="T28" fmla="*/ 1210 w 1272"/>
                    <a:gd name="T29" fmla="*/ 704 h 1736"/>
                    <a:gd name="T30" fmla="*/ 1238 w 1272"/>
                    <a:gd name="T31" fmla="*/ 599 h 1736"/>
                    <a:gd name="T32" fmla="*/ 1257 w 1272"/>
                    <a:gd name="T33" fmla="*/ 494 h 1736"/>
                    <a:gd name="T34" fmla="*/ 1269 w 1272"/>
                    <a:gd name="T35" fmla="*/ 387 h 1736"/>
                    <a:gd name="T36" fmla="*/ 1272 w 1272"/>
                    <a:gd name="T37" fmla="*/ 281 h 1736"/>
                    <a:gd name="T38" fmla="*/ 1267 w 1272"/>
                    <a:gd name="T39" fmla="*/ 175 h 1736"/>
                    <a:gd name="T40" fmla="*/ 1254 w 1272"/>
                    <a:gd name="T41" fmla="*/ 70 h 1736"/>
                    <a:gd name="T42" fmla="*/ 1204 w 1272"/>
                    <a:gd name="T43" fmla="*/ 8 h 1736"/>
                    <a:gd name="T44" fmla="*/ 1097 w 1272"/>
                    <a:gd name="T45" fmla="*/ 35 h 1736"/>
                    <a:gd name="T46" fmla="*/ 991 w 1272"/>
                    <a:gd name="T47" fmla="*/ 70 h 1736"/>
                    <a:gd name="T48" fmla="*/ 889 w 1272"/>
                    <a:gd name="T49" fmla="*/ 111 h 1736"/>
                    <a:gd name="T50" fmla="*/ 789 w 1272"/>
                    <a:gd name="T51" fmla="*/ 160 h 1736"/>
                    <a:gd name="T52" fmla="*/ 692 w 1272"/>
                    <a:gd name="T53" fmla="*/ 216 h 1736"/>
                    <a:gd name="T54" fmla="*/ 600 w 1272"/>
                    <a:gd name="T55" fmla="*/ 279 h 1736"/>
                    <a:gd name="T56" fmla="*/ 512 w 1272"/>
                    <a:gd name="T57" fmla="*/ 349 h 1736"/>
                    <a:gd name="T58" fmla="*/ 430 w 1272"/>
                    <a:gd name="T59" fmla="*/ 425 h 1736"/>
                    <a:gd name="T60" fmla="*/ 352 w 1272"/>
                    <a:gd name="T61" fmla="*/ 509 h 1736"/>
                    <a:gd name="T62" fmla="*/ 280 w 1272"/>
                    <a:gd name="T63" fmla="*/ 598 h 1736"/>
                    <a:gd name="T64" fmla="*/ 216 w 1272"/>
                    <a:gd name="T65" fmla="*/ 694 h 1736"/>
                    <a:gd name="T66" fmla="*/ 159 w 1272"/>
                    <a:gd name="T67" fmla="*/ 792 h 1736"/>
                    <a:gd name="T68" fmla="*/ 112 w 1272"/>
                    <a:gd name="T69" fmla="*/ 893 h 1736"/>
                    <a:gd name="T70" fmla="*/ 73 w 1272"/>
                    <a:gd name="T71" fmla="*/ 996 h 1736"/>
                    <a:gd name="T72" fmla="*/ 42 w 1272"/>
                    <a:gd name="T73" fmla="*/ 1101 h 1736"/>
                    <a:gd name="T74" fmla="*/ 20 w 1272"/>
                    <a:gd name="T75" fmla="*/ 1206 h 1736"/>
                    <a:gd name="T76" fmla="*/ 7 w 1272"/>
                    <a:gd name="T77" fmla="*/ 1312 h 1736"/>
                    <a:gd name="T78" fmla="*/ 0 w 1272"/>
                    <a:gd name="T79" fmla="*/ 1419 h 1736"/>
                    <a:gd name="T80" fmla="*/ 2 w 1272"/>
                    <a:gd name="T81" fmla="*/ 1526 h 1736"/>
                    <a:gd name="T82" fmla="*/ 13 w 1272"/>
                    <a:gd name="T83" fmla="*/ 1631 h 1736"/>
                    <a:gd name="T84" fmla="*/ 32 w 1272"/>
                    <a:gd name="T85" fmla="*/ 1736 h 17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63" name="Freeform 255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522 w 920"/>
                    <a:gd name="T1" fmla="*/ 46 h 2068"/>
                    <a:gd name="T2" fmla="*/ 441 w 920"/>
                    <a:gd name="T3" fmla="*/ 119 h 2068"/>
                    <a:gd name="T4" fmla="*/ 366 w 920"/>
                    <a:gd name="T5" fmla="*/ 197 h 2068"/>
                    <a:gd name="T6" fmla="*/ 297 w 920"/>
                    <a:gd name="T7" fmla="*/ 281 h 2068"/>
                    <a:gd name="T8" fmla="*/ 234 w 920"/>
                    <a:gd name="T9" fmla="*/ 369 h 2068"/>
                    <a:gd name="T10" fmla="*/ 178 w 920"/>
                    <a:gd name="T11" fmla="*/ 463 h 2068"/>
                    <a:gd name="T12" fmla="*/ 128 w 920"/>
                    <a:gd name="T13" fmla="*/ 560 h 2068"/>
                    <a:gd name="T14" fmla="*/ 86 w 920"/>
                    <a:gd name="T15" fmla="*/ 661 h 2068"/>
                    <a:gd name="T16" fmla="*/ 53 w 920"/>
                    <a:gd name="T17" fmla="*/ 767 h 2068"/>
                    <a:gd name="T18" fmla="*/ 26 w 920"/>
                    <a:gd name="T19" fmla="*/ 875 h 2068"/>
                    <a:gd name="T20" fmla="*/ 9 w 920"/>
                    <a:gd name="T21" fmla="*/ 987 h 2068"/>
                    <a:gd name="T22" fmla="*/ 1 w 920"/>
                    <a:gd name="T23" fmla="*/ 1100 h 2068"/>
                    <a:gd name="T24" fmla="*/ 1 w 920"/>
                    <a:gd name="T25" fmla="*/ 1212 h 2068"/>
                    <a:gd name="T26" fmla="*/ 10 w 920"/>
                    <a:gd name="T27" fmla="*/ 1322 h 2068"/>
                    <a:gd name="T28" fmla="*/ 28 w 920"/>
                    <a:gd name="T29" fmla="*/ 1430 h 2068"/>
                    <a:gd name="T30" fmla="*/ 54 w 920"/>
                    <a:gd name="T31" fmla="*/ 1535 h 2068"/>
                    <a:gd name="T32" fmla="*/ 87 w 920"/>
                    <a:gd name="T33" fmla="*/ 1637 h 2068"/>
                    <a:gd name="T34" fmla="*/ 128 w 920"/>
                    <a:gd name="T35" fmla="*/ 1737 h 2068"/>
                    <a:gd name="T36" fmla="*/ 178 w 920"/>
                    <a:gd name="T37" fmla="*/ 1832 h 2068"/>
                    <a:gd name="T38" fmla="*/ 233 w 920"/>
                    <a:gd name="T39" fmla="*/ 1924 h 2068"/>
                    <a:gd name="T40" fmla="*/ 296 w 920"/>
                    <a:gd name="T41" fmla="*/ 2012 h 2068"/>
                    <a:gd name="T42" fmla="*/ 369 w 920"/>
                    <a:gd name="T43" fmla="*/ 2046 h 2068"/>
                    <a:gd name="T44" fmla="*/ 451 w 920"/>
                    <a:gd name="T45" fmla="*/ 1975 h 2068"/>
                    <a:gd name="T46" fmla="*/ 528 w 920"/>
                    <a:gd name="T47" fmla="*/ 1898 h 2068"/>
                    <a:gd name="T48" fmla="*/ 600 w 920"/>
                    <a:gd name="T49" fmla="*/ 1816 h 2068"/>
                    <a:gd name="T50" fmla="*/ 665 w 920"/>
                    <a:gd name="T51" fmla="*/ 1730 h 2068"/>
                    <a:gd name="T52" fmla="*/ 724 w 920"/>
                    <a:gd name="T53" fmla="*/ 1638 h 2068"/>
                    <a:gd name="T54" fmla="*/ 776 w 920"/>
                    <a:gd name="T55" fmla="*/ 1542 h 2068"/>
                    <a:gd name="T56" fmla="*/ 820 w 920"/>
                    <a:gd name="T57" fmla="*/ 1442 h 2068"/>
                    <a:gd name="T58" fmla="*/ 857 w 920"/>
                    <a:gd name="T59" fmla="*/ 1338 h 2068"/>
                    <a:gd name="T60" fmla="*/ 885 w 920"/>
                    <a:gd name="T61" fmla="*/ 1230 h 2068"/>
                    <a:gd name="T62" fmla="*/ 905 w 920"/>
                    <a:gd name="T63" fmla="*/ 1119 h 2068"/>
                    <a:gd name="T64" fmla="*/ 917 w 920"/>
                    <a:gd name="T65" fmla="*/ 1006 h 2068"/>
                    <a:gd name="T66" fmla="*/ 919 w 920"/>
                    <a:gd name="T67" fmla="*/ 894 h 2068"/>
                    <a:gd name="T68" fmla="*/ 912 w 920"/>
                    <a:gd name="T69" fmla="*/ 783 h 2068"/>
                    <a:gd name="T70" fmla="*/ 898 w 920"/>
                    <a:gd name="T71" fmla="*/ 675 h 2068"/>
                    <a:gd name="T72" fmla="*/ 875 w 920"/>
                    <a:gd name="T73" fmla="*/ 569 h 2068"/>
                    <a:gd name="T74" fmla="*/ 844 w 920"/>
                    <a:gd name="T75" fmla="*/ 466 h 2068"/>
                    <a:gd name="T76" fmla="*/ 805 w 920"/>
                    <a:gd name="T77" fmla="*/ 365 h 2068"/>
                    <a:gd name="T78" fmla="*/ 759 w 920"/>
                    <a:gd name="T79" fmla="*/ 268 h 2068"/>
                    <a:gd name="T80" fmla="*/ 705 w 920"/>
                    <a:gd name="T81" fmla="*/ 175 h 2068"/>
                    <a:gd name="T82" fmla="*/ 645 w 920"/>
                    <a:gd name="T83" fmla="*/ 85 h 2068"/>
                    <a:gd name="T84" fmla="*/ 579 w 920"/>
                    <a:gd name="T85" fmla="*/ 0 h 20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64" name="Freeform 256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108 w 1252"/>
                    <a:gd name="T1" fmla="*/ 1736 h 1753"/>
                    <a:gd name="T2" fmla="*/ 214 w 1252"/>
                    <a:gd name="T3" fmla="*/ 1705 h 1753"/>
                    <a:gd name="T4" fmla="*/ 318 w 1252"/>
                    <a:gd name="T5" fmla="*/ 1667 h 1753"/>
                    <a:gd name="T6" fmla="*/ 419 w 1252"/>
                    <a:gd name="T7" fmla="*/ 1621 h 1753"/>
                    <a:gd name="T8" fmla="*/ 517 w 1252"/>
                    <a:gd name="T9" fmla="*/ 1568 h 1753"/>
                    <a:gd name="T10" fmla="*/ 611 w 1252"/>
                    <a:gd name="T11" fmla="*/ 1509 h 1753"/>
                    <a:gd name="T12" fmla="*/ 702 w 1252"/>
                    <a:gd name="T13" fmla="*/ 1441 h 1753"/>
                    <a:gd name="T14" fmla="*/ 786 w 1252"/>
                    <a:gd name="T15" fmla="*/ 1368 h 1753"/>
                    <a:gd name="T16" fmla="*/ 866 w 1252"/>
                    <a:gd name="T17" fmla="*/ 1288 h 1753"/>
                    <a:gd name="T18" fmla="*/ 940 w 1252"/>
                    <a:gd name="T19" fmla="*/ 1201 h 1753"/>
                    <a:gd name="T20" fmla="*/ 1008 w 1252"/>
                    <a:gd name="T21" fmla="*/ 1108 h 1753"/>
                    <a:gd name="T22" fmla="*/ 1069 w 1252"/>
                    <a:gd name="T23" fmla="*/ 1011 h 1753"/>
                    <a:gd name="T24" fmla="*/ 1120 w 1252"/>
                    <a:gd name="T25" fmla="*/ 911 h 1753"/>
                    <a:gd name="T26" fmla="*/ 1164 w 1252"/>
                    <a:gd name="T27" fmla="*/ 808 h 1753"/>
                    <a:gd name="T28" fmla="*/ 1197 w 1252"/>
                    <a:gd name="T29" fmla="*/ 704 h 1753"/>
                    <a:gd name="T30" fmla="*/ 1224 w 1252"/>
                    <a:gd name="T31" fmla="*/ 599 h 1753"/>
                    <a:gd name="T32" fmla="*/ 1241 w 1252"/>
                    <a:gd name="T33" fmla="*/ 493 h 1753"/>
                    <a:gd name="T34" fmla="*/ 1251 w 1252"/>
                    <a:gd name="T35" fmla="*/ 387 h 1753"/>
                    <a:gd name="T36" fmla="*/ 1252 w 1252"/>
                    <a:gd name="T37" fmla="*/ 280 h 1753"/>
                    <a:gd name="T38" fmla="*/ 1246 w 1252"/>
                    <a:gd name="T39" fmla="*/ 174 h 1753"/>
                    <a:gd name="T40" fmla="*/ 1231 w 1252"/>
                    <a:gd name="T41" fmla="*/ 69 h 1753"/>
                    <a:gd name="T42" fmla="*/ 1180 w 1252"/>
                    <a:gd name="T43" fmla="*/ 8 h 1753"/>
                    <a:gd name="T44" fmla="*/ 1073 w 1252"/>
                    <a:gd name="T45" fmla="*/ 37 h 1753"/>
                    <a:gd name="T46" fmla="*/ 968 w 1252"/>
                    <a:gd name="T47" fmla="*/ 73 h 1753"/>
                    <a:gd name="T48" fmla="*/ 866 w 1252"/>
                    <a:gd name="T49" fmla="*/ 116 h 1753"/>
                    <a:gd name="T50" fmla="*/ 767 w 1252"/>
                    <a:gd name="T51" fmla="*/ 167 h 1753"/>
                    <a:gd name="T52" fmla="*/ 672 w 1252"/>
                    <a:gd name="T53" fmla="*/ 224 h 1753"/>
                    <a:gd name="T54" fmla="*/ 581 w 1252"/>
                    <a:gd name="T55" fmla="*/ 288 h 1753"/>
                    <a:gd name="T56" fmla="*/ 494 w 1252"/>
                    <a:gd name="T57" fmla="*/ 359 h 1753"/>
                    <a:gd name="T58" fmla="*/ 412 w 1252"/>
                    <a:gd name="T59" fmla="*/ 437 h 1753"/>
                    <a:gd name="T60" fmla="*/ 336 w 1252"/>
                    <a:gd name="T61" fmla="*/ 521 h 1753"/>
                    <a:gd name="T62" fmla="*/ 267 w 1252"/>
                    <a:gd name="T63" fmla="*/ 612 h 1753"/>
                    <a:gd name="T64" fmla="*/ 204 w 1252"/>
                    <a:gd name="T65" fmla="*/ 709 h 1753"/>
                    <a:gd name="T66" fmla="*/ 149 w 1252"/>
                    <a:gd name="T67" fmla="*/ 808 h 1753"/>
                    <a:gd name="T68" fmla="*/ 103 w 1252"/>
                    <a:gd name="T69" fmla="*/ 910 h 1753"/>
                    <a:gd name="T70" fmla="*/ 66 w 1252"/>
                    <a:gd name="T71" fmla="*/ 1013 h 1753"/>
                    <a:gd name="T72" fmla="*/ 36 w 1252"/>
                    <a:gd name="T73" fmla="*/ 1118 h 1753"/>
                    <a:gd name="T74" fmla="*/ 16 w 1252"/>
                    <a:gd name="T75" fmla="*/ 1224 h 1753"/>
                    <a:gd name="T76" fmla="*/ 4 w 1252"/>
                    <a:gd name="T77" fmla="*/ 1330 h 1753"/>
                    <a:gd name="T78" fmla="*/ 0 w 1252"/>
                    <a:gd name="T79" fmla="*/ 1437 h 1753"/>
                    <a:gd name="T80" fmla="*/ 4 w 1252"/>
                    <a:gd name="T81" fmla="*/ 1544 h 1753"/>
                    <a:gd name="T82" fmla="*/ 16 w 1252"/>
                    <a:gd name="T83" fmla="*/ 1649 h 1753"/>
                    <a:gd name="T84" fmla="*/ 36 w 1252"/>
                    <a:gd name="T85" fmla="*/ 1753 h 1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</p:grpSp>
        </p:grpSp>
      </p:grpSp>
      <p:grpSp>
        <p:nvGrpSpPr>
          <p:cNvPr id="83" name="Group 10"/>
          <p:cNvGrpSpPr>
            <a:grpSpLocks/>
          </p:cNvGrpSpPr>
          <p:nvPr/>
        </p:nvGrpSpPr>
        <p:grpSpPr bwMode="auto">
          <a:xfrm>
            <a:off x="2224088" y="1568450"/>
            <a:ext cx="395287" cy="247650"/>
            <a:chOff x="667226" y="1334864"/>
            <a:chExt cx="394968" cy="330662"/>
          </a:xfrm>
        </p:grpSpPr>
        <p:sp>
          <p:nvSpPr>
            <p:cNvPr id="84" name="Oval 9"/>
            <p:cNvSpPr/>
            <p:nvPr/>
          </p:nvSpPr>
          <p:spPr>
            <a:xfrm>
              <a:off x="667226" y="1334864"/>
              <a:ext cx="394968" cy="330662"/>
            </a:xfrm>
            <a:prstGeom prst="ellipse">
              <a:avLst/>
            </a:prstGeom>
            <a:solidFill>
              <a:srgbClr val="FFFFFF"/>
            </a:solidFill>
            <a:ln w="3175" cap="flat" cmpd="sng" algn="ctr">
              <a:noFill/>
              <a:prstDash val="solid"/>
            </a:ln>
            <a:effectLst/>
          </p:spPr>
          <p:txBody>
            <a:bodyPr tIns="90000" bIns="90000" anchor="ctr"/>
            <a:lstStyle/>
            <a:p>
              <a:pPr algn="ctr">
                <a:defRPr/>
              </a:pPr>
              <a:endParaRPr lang="en-US" sz="1400" kern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grpSp>
          <p:nvGrpSpPr>
            <p:cNvPr id="85" name="Group 143"/>
            <p:cNvGrpSpPr/>
            <p:nvPr>
              <p:custDataLst>
                <p:tags r:id="rId2"/>
              </p:custDataLst>
            </p:nvPr>
          </p:nvGrpSpPr>
          <p:grpSpPr>
            <a:xfrm>
              <a:off x="674303" y="1375513"/>
              <a:ext cx="311751" cy="285969"/>
              <a:chOff x="5748973" y="3356708"/>
              <a:chExt cx="1098550" cy="1007697"/>
            </a:xfrm>
            <a:solidFill>
              <a:srgbClr val="00915A"/>
            </a:solidFill>
          </p:grpSpPr>
          <p:sp>
            <p:nvSpPr>
              <p:cNvPr id="86" name="Text Box 217"/>
              <p:cNvSpPr txBox="1">
                <a:spLocks noChangeArrowheads="1"/>
              </p:cNvSpPr>
              <p:nvPr/>
            </p:nvSpPr>
            <p:spPr bwMode="auto">
              <a:xfrm>
                <a:off x="6132680" y="3356708"/>
                <a:ext cx="299383" cy="86763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FF9933"/>
                    </a:solidFill>
                    <a:miter lim="800000"/>
                    <a:headEnd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algn="ctr" eaLnBrk="0" hangingPunct="0">
                  <a:defRPr/>
                </a:pPr>
                <a:r>
                  <a:rPr lang="en-GB" sz="1200" b="1" kern="0" dirty="0">
                    <a:solidFill>
                      <a:srgbClr val="00915A"/>
                    </a:solidFill>
                    <a:ea typeface="KaiTi" panose="02010609060101010101" pitchFamily="49" charset="-122"/>
                    <a:cs typeface="Arial" charset="0"/>
                  </a:rPr>
                  <a:t>1</a:t>
                </a:r>
              </a:p>
            </p:txBody>
          </p:sp>
          <p:grpSp>
            <p:nvGrpSpPr>
              <p:cNvPr id="87" name="Group 219"/>
              <p:cNvGrpSpPr>
                <a:grpSpLocks/>
              </p:cNvGrpSpPr>
              <p:nvPr/>
            </p:nvGrpSpPr>
            <p:grpSpPr bwMode="auto">
              <a:xfrm>
                <a:off x="5748973" y="3400793"/>
                <a:ext cx="498475" cy="963612"/>
                <a:chOff x="708" y="1507"/>
                <a:chExt cx="324" cy="626"/>
              </a:xfrm>
              <a:grpFill/>
            </p:grpSpPr>
            <p:sp>
              <p:nvSpPr>
                <p:cNvPr id="107" name="Freeform 220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1907 w 5540"/>
                    <a:gd name="T1" fmla="*/ 8486 h 8668"/>
                    <a:gd name="T2" fmla="*/ 1615 w 5540"/>
                    <a:gd name="T3" fmla="*/ 8247 h 8668"/>
                    <a:gd name="T4" fmla="*/ 1345 w 5540"/>
                    <a:gd name="T5" fmla="*/ 7994 h 8668"/>
                    <a:gd name="T6" fmla="*/ 1096 w 5540"/>
                    <a:gd name="T7" fmla="*/ 7730 h 8668"/>
                    <a:gd name="T8" fmla="*/ 870 w 5540"/>
                    <a:gd name="T9" fmla="*/ 7454 h 8668"/>
                    <a:gd name="T10" fmla="*/ 668 w 5540"/>
                    <a:gd name="T11" fmla="*/ 7168 h 8668"/>
                    <a:gd name="T12" fmla="*/ 745 w 5540"/>
                    <a:gd name="T13" fmla="*/ 6969 h 8668"/>
                    <a:gd name="T14" fmla="*/ 931 w 5540"/>
                    <a:gd name="T15" fmla="*/ 7250 h 8668"/>
                    <a:gd name="T16" fmla="*/ 1141 w 5540"/>
                    <a:gd name="T17" fmla="*/ 7521 h 8668"/>
                    <a:gd name="T18" fmla="*/ 1372 w 5540"/>
                    <a:gd name="T19" fmla="*/ 7781 h 8668"/>
                    <a:gd name="T20" fmla="*/ 1627 w 5540"/>
                    <a:gd name="T21" fmla="*/ 8031 h 8668"/>
                    <a:gd name="T22" fmla="*/ 1902 w 5540"/>
                    <a:gd name="T23" fmla="*/ 8268 h 8668"/>
                    <a:gd name="T24" fmla="*/ 2195 w 5540"/>
                    <a:gd name="T25" fmla="*/ 8493 h 8668"/>
                    <a:gd name="T26" fmla="*/ 493 w 5540"/>
                    <a:gd name="T27" fmla="*/ 6876 h 8668"/>
                    <a:gd name="T28" fmla="*/ 346 w 5540"/>
                    <a:gd name="T29" fmla="*/ 6581 h 8668"/>
                    <a:gd name="T30" fmla="*/ 224 w 5540"/>
                    <a:gd name="T31" fmla="*/ 6279 h 8668"/>
                    <a:gd name="T32" fmla="*/ 127 w 5540"/>
                    <a:gd name="T33" fmla="*/ 5968 h 8668"/>
                    <a:gd name="T34" fmla="*/ 57 w 5540"/>
                    <a:gd name="T35" fmla="*/ 5651 h 8668"/>
                    <a:gd name="T36" fmla="*/ 15 w 5540"/>
                    <a:gd name="T37" fmla="*/ 5328 h 8668"/>
                    <a:gd name="T38" fmla="*/ 0 w 5540"/>
                    <a:gd name="T39" fmla="*/ 5000 h 8668"/>
                    <a:gd name="T40" fmla="*/ 182 w 5540"/>
                    <a:gd name="T41" fmla="*/ 5253 h 8668"/>
                    <a:gd name="T42" fmla="*/ 218 w 5540"/>
                    <a:gd name="T43" fmla="*/ 5563 h 8668"/>
                    <a:gd name="T44" fmla="*/ 280 w 5540"/>
                    <a:gd name="T45" fmla="*/ 5869 h 8668"/>
                    <a:gd name="T46" fmla="*/ 368 w 5540"/>
                    <a:gd name="T47" fmla="*/ 6168 h 8668"/>
                    <a:gd name="T48" fmla="*/ 481 w 5540"/>
                    <a:gd name="T49" fmla="*/ 6460 h 8668"/>
                    <a:gd name="T50" fmla="*/ 618 w 5540"/>
                    <a:gd name="T51" fmla="*/ 6745 h 8668"/>
                    <a:gd name="T52" fmla="*/ 0 w 5540"/>
                    <a:gd name="T53" fmla="*/ 5000 h 8668"/>
                    <a:gd name="T54" fmla="*/ 42 w 5540"/>
                    <a:gd name="T55" fmla="*/ 4444 h 8668"/>
                    <a:gd name="T56" fmla="*/ 163 w 5540"/>
                    <a:gd name="T57" fmla="*/ 3906 h 8668"/>
                    <a:gd name="T58" fmla="*/ 361 w 5540"/>
                    <a:gd name="T59" fmla="*/ 3387 h 8668"/>
                    <a:gd name="T60" fmla="*/ 631 w 5540"/>
                    <a:gd name="T61" fmla="*/ 2891 h 8668"/>
                    <a:gd name="T62" fmla="*/ 968 w 5540"/>
                    <a:gd name="T63" fmla="*/ 2422 h 8668"/>
                    <a:gd name="T64" fmla="*/ 1369 w 5540"/>
                    <a:gd name="T65" fmla="*/ 1983 h 8668"/>
                    <a:gd name="T66" fmla="*/ 1494 w 5540"/>
                    <a:gd name="T67" fmla="*/ 2096 h 8668"/>
                    <a:gd name="T68" fmla="*/ 1108 w 5540"/>
                    <a:gd name="T69" fmla="*/ 2520 h 8668"/>
                    <a:gd name="T70" fmla="*/ 783 w 5540"/>
                    <a:gd name="T71" fmla="*/ 2971 h 8668"/>
                    <a:gd name="T72" fmla="*/ 522 w 5540"/>
                    <a:gd name="T73" fmla="*/ 3449 h 8668"/>
                    <a:gd name="T74" fmla="*/ 331 w 5540"/>
                    <a:gd name="T75" fmla="*/ 3948 h 8668"/>
                    <a:gd name="T76" fmla="*/ 213 w 5540"/>
                    <a:gd name="T77" fmla="*/ 4466 h 8668"/>
                    <a:gd name="T78" fmla="*/ 173 w 5540"/>
                    <a:gd name="T79" fmla="*/ 5000 h 8668"/>
                    <a:gd name="T80" fmla="*/ 1832 w 5540"/>
                    <a:gd name="T81" fmla="*/ 1572 h 8668"/>
                    <a:gd name="T82" fmla="*/ 2355 w 5540"/>
                    <a:gd name="T83" fmla="*/ 1196 h 8668"/>
                    <a:gd name="T84" fmla="*/ 2930 w 5540"/>
                    <a:gd name="T85" fmla="*/ 859 h 8668"/>
                    <a:gd name="T86" fmla="*/ 3553 w 5540"/>
                    <a:gd name="T87" fmla="*/ 566 h 8668"/>
                    <a:gd name="T88" fmla="*/ 4218 w 5540"/>
                    <a:gd name="T89" fmla="*/ 319 h 8668"/>
                    <a:gd name="T90" fmla="*/ 4921 w 5540"/>
                    <a:gd name="T91" fmla="*/ 120 h 8668"/>
                    <a:gd name="T92" fmla="*/ 5540 w 5540"/>
                    <a:gd name="T93" fmla="*/ 162 h 8668"/>
                    <a:gd name="T94" fmla="*/ 4824 w 5540"/>
                    <a:gd name="T95" fmla="*/ 315 h 8668"/>
                    <a:gd name="T96" fmla="*/ 4143 w 5540"/>
                    <a:gd name="T97" fmla="*/ 518 h 8668"/>
                    <a:gd name="T98" fmla="*/ 3500 w 5540"/>
                    <a:gd name="T99" fmla="*/ 769 h 8668"/>
                    <a:gd name="T100" fmla="*/ 2902 w 5540"/>
                    <a:gd name="T101" fmla="*/ 1064 h 8668"/>
                    <a:gd name="T102" fmla="*/ 2349 w 5540"/>
                    <a:gd name="T103" fmla="*/ 1400 h 8668"/>
                    <a:gd name="T104" fmla="*/ 1849 w 5540"/>
                    <a:gd name="T105" fmla="*/ 1775 h 86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solidFill>
                  <a:srgbClr val="D0DF00">
                    <a:lumMod val="60000"/>
                    <a:lumOff val="40000"/>
                  </a:srgbClr>
                </a:solidFill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08" name="Freeform 221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4"/>
                </a:xfrm>
                <a:custGeom>
                  <a:avLst/>
                  <a:gdLst>
                    <a:gd name="T0" fmla="*/ 34 w 2069"/>
                    <a:gd name="T1" fmla="*/ 211 h 976"/>
                    <a:gd name="T2" fmla="*/ 91 w 2069"/>
                    <a:gd name="T3" fmla="*/ 302 h 976"/>
                    <a:gd name="T4" fmla="*/ 155 w 2069"/>
                    <a:gd name="T5" fmla="*/ 389 h 976"/>
                    <a:gd name="T6" fmla="*/ 226 w 2069"/>
                    <a:gd name="T7" fmla="*/ 472 h 976"/>
                    <a:gd name="T8" fmla="*/ 302 w 2069"/>
                    <a:gd name="T9" fmla="*/ 550 h 976"/>
                    <a:gd name="T10" fmla="*/ 384 w 2069"/>
                    <a:gd name="T11" fmla="*/ 623 h 976"/>
                    <a:gd name="T12" fmla="*/ 474 w 2069"/>
                    <a:gd name="T13" fmla="*/ 690 h 976"/>
                    <a:gd name="T14" fmla="*/ 569 w 2069"/>
                    <a:gd name="T15" fmla="*/ 751 h 976"/>
                    <a:gd name="T16" fmla="*/ 670 w 2069"/>
                    <a:gd name="T17" fmla="*/ 806 h 976"/>
                    <a:gd name="T18" fmla="*/ 775 w 2069"/>
                    <a:gd name="T19" fmla="*/ 854 h 976"/>
                    <a:gd name="T20" fmla="*/ 886 w 2069"/>
                    <a:gd name="T21" fmla="*/ 895 h 976"/>
                    <a:gd name="T22" fmla="*/ 1000 w 2069"/>
                    <a:gd name="T23" fmla="*/ 928 h 976"/>
                    <a:gd name="T24" fmla="*/ 1115 w 2069"/>
                    <a:gd name="T25" fmla="*/ 952 h 976"/>
                    <a:gd name="T26" fmla="*/ 1230 w 2069"/>
                    <a:gd name="T27" fmla="*/ 968 h 976"/>
                    <a:gd name="T28" fmla="*/ 1344 w 2069"/>
                    <a:gd name="T29" fmla="*/ 975 h 976"/>
                    <a:gd name="T30" fmla="*/ 1458 w 2069"/>
                    <a:gd name="T31" fmla="*/ 975 h 976"/>
                    <a:gd name="T32" fmla="*/ 1571 w 2069"/>
                    <a:gd name="T33" fmla="*/ 966 h 976"/>
                    <a:gd name="T34" fmla="*/ 1682 w 2069"/>
                    <a:gd name="T35" fmla="*/ 950 h 976"/>
                    <a:gd name="T36" fmla="*/ 1791 w 2069"/>
                    <a:gd name="T37" fmla="*/ 926 h 976"/>
                    <a:gd name="T38" fmla="*/ 1898 w 2069"/>
                    <a:gd name="T39" fmla="*/ 895 h 976"/>
                    <a:gd name="T40" fmla="*/ 2002 w 2069"/>
                    <a:gd name="T41" fmla="*/ 857 h 976"/>
                    <a:gd name="T42" fmla="*/ 2053 w 2069"/>
                    <a:gd name="T43" fmla="*/ 796 h 976"/>
                    <a:gd name="T44" fmla="*/ 1998 w 2069"/>
                    <a:gd name="T45" fmla="*/ 704 h 976"/>
                    <a:gd name="T46" fmla="*/ 1936 w 2069"/>
                    <a:gd name="T47" fmla="*/ 615 h 976"/>
                    <a:gd name="T48" fmla="*/ 1868 w 2069"/>
                    <a:gd name="T49" fmla="*/ 531 h 976"/>
                    <a:gd name="T50" fmla="*/ 1794 w 2069"/>
                    <a:gd name="T51" fmla="*/ 452 h 976"/>
                    <a:gd name="T52" fmla="*/ 1713 w 2069"/>
                    <a:gd name="T53" fmla="*/ 377 h 976"/>
                    <a:gd name="T54" fmla="*/ 1625 w 2069"/>
                    <a:gd name="T55" fmla="*/ 308 h 976"/>
                    <a:gd name="T56" fmla="*/ 1533 w 2069"/>
                    <a:gd name="T57" fmla="*/ 245 h 976"/>
                    <a:gd name="T58" fmla="*/ 1434 w 2069"/>
                    <a:gd name="T59" fmla="*/ 188 h 976"/>
                    <a:gd name="T60" fmla="*/ 1330 w 2069"/>
                    <a:gd name="T61" fmla="*/ 137 h 976"/>
                    <a:gd name="T62" fmla="*/ 1220 w 2069"/>
                    <a:gd name="T63" fmla="*/ 94 h 976"/>
                    <a:gd name="T64" fmla="*/ 1106 w 2069"/>
                    <a:gd name="T65" fmla="*/ 58 h 976"/>
                    <a:gd name="T66" fmla="*/ 992 w 2069"/>
                    <a:gd name="T67" fmla="*/ 31 h 976"/>
                    <a:gd name="T68" fmla="*/ 877 w 2069"/>
                    <a:gd name="T69" fmla="*/ 12 h 976"/>
                    <a:gd name="T70" fmla="*/ 762 w 2069"/>
                    <a:gd name="T71" fmla="*/ 2 h 976"/>
                    <a:gd name="T72" fmla="*/ 649 w 2069"/>
                    <a:gd name="T73" fmla="*/ 0 h 976"/>
                    <a:gd name="T74" fmla="*/ 536 w 2069"/>
                    <a:gd name="T75" fmla="*/ 6 h 976"/>
                    <a:gd name="T76" fmla="*/ 424 w 2069"/>
                    <a:gd name="T77" fmla="*/ 20 h 976"/>
                    <a:gd name="T78" fmla="*/ 314 w 2069"/>
                    <a:gd name="T79" fmla="*/ 41 h 976"/>
                    <a:gd name="T80" fmla="*/ 207 w 2069"/>
                    <a:gd name="T81" fmla="*/ 70 h 976"/>
                    <a:gd name="T82" fmla="*/ 101 w 2069"/>
                    <a:gd name="T83" fmla="*/ 106 h 976"/>
                    <a:gd name="T84" fmla="*/ 0 w 2069"/>
                    <a:gd name="T85" fmla="*/ 148 h 9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09" name="Freeform 222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4" cy="104"/>
                </a:xfrm>
                <a:custGeom>
                  <a:avLst/>
                  <a:gdLst>
                    <a:gd name="T0" fmla="*/ 790 w 1020"/>
                    <a:gd name="T1" fmla="*/ 33 h 1975"/>
                    <a:gd name="T2" fmla="*/ 695 w 1020"/>
                    <a:gd name="T3" fmla="*/ 88 h 1975"/>
                    <a:gd name="T4" fmla="*/ 604 w 1020"/>
                    <a:gd name="T5" fmla="*/ 150 h 1975"/>
                    <a:gd name="T6" fmla="*/ 518 w 1020"/>
                    <a:gd name="T7" fmla="*/ 217 h 1975"/>
                    <a:gd name="T8" fmla="*/ 437 w 1020"/>
                    <a:gd name="T9" fmla="*/ 291 h 1975"/>
                    <a:gd name="T10" fmla="*/ 361 w 1020"/>
                    <a:gd name="T11" fmla="*/ 371 h 1975"/>
                    <a:gd name="T12" fmla="*/ 292 w 1020"/>
                    <a:gd name="T13" fmla="*/ 458 h 1975"/>
                    <a:gd name="T14" fmla="*/ 228 w 1020"/>
                    <a:gd name="T15" fmla="*/ 548 h 1975"/>
                    <a:gd name="T16" fmla="*/ 172 w 1020"/>
                    <a:gd name="T17" fmla="*/ 644 h 1975"/>
                    <a:gd name="T18" fmla="*/ 122 w 1020"/>
                    <a:gd name="T19" fmla="*/ 746 h 1975"/>
                    <a:gd name="T20" fmla="*/ 80 w 1020"/>
                    <a:gd name="T21" fmla="*/ 852 h 1975"/>
                    <a:gd name="T22" fmla="*/ 47 w 1020"/>
                    <a:gd name="T23" fmla="*/ 960 h 1975"/>
                    <a:gd name="T24" fmla="*/ 22 w 1020"/>
                    <a:gd name="T25" fmla="*/ 1070 h 1975"/>
                    <a:gd name="T26" fmla="*/ 8 w 1020"/>
                    <a:gd name="T27" fmla="*/ 1179 h 1975"/>
                    <a:gd name="T28" fmla="*/ 0 w 1020"/>
                    <a:gd name="T29" fmla="*/ 1288 h 1975"/>
                    <a:gd name="T30" fmla="*/ 2 w 1020"/>
                    <a:gd name="T31" fmla="*/ 1396 h 1975"/>
                    <a:gd name="T32" fmla="*/ 13 w 1020"/>
                    <a:gd name="T33" fmla="*/ 1503 h 1975"/>
                    <a:gd name="T34" fmla="*/ 31 w 1020"/>
                    <a:gd name="T35" fmla="*/ 1608 h 1975"/>
                    <a:gd name="T36" fmla="*/ 57 w 1020"/>
                    <a:gd name="T37" fmla="*/ 1711 h 1975"/>
                    <a:gd name="T38" fmla="*/ 92 w 1020"/>
                    <a:gd name="T39" fmla="*/ 1812 h 1975"/>
                    <a:gd name="T40" fmla="*/ 133 w 1020"/>
                    <a:gd name="T41" fmla="*/ 1911 h 1975"/>
                    <a:gd name="T42" fmla="*/ 197 w 1020"/>
                    <a:gd name="T43" fmla="*/ 1958 h 1975"/>
                    <a:gd name="T44" fmla="*/ 294 w 1020"/>
                    <a:gd name="T45" fmla="*/ 1905 h 1975"/>
                    <a:gd name="T46" fmla="*/ 386 w 1020"/>
                    <a:gd name="T47" fmla="*/ 1846 h 1975"/>
                    <a:gd name="T48" fmla="*/ 474 w 1020"/>
                    <a:gd name="T49" fmla="*/ 1780 h 1975"/>
                    <a:gd name="T50" fmla="*/ 557 w 1020"/>
                    <a:gd name="T51" fmla="*/ 1708 h 1975"/>
                    <a:gd name="T52" fmla="*/ 635 w 1020"/>
                    <a:gd name="T53" fmla="*/ 1630 h 1975"/>
                    <a:gd name="T54" fmla="*/ 706 w 1020"/>
                    <a:gd name="T55" fmla="*/ 1547 h 1975"/>
                    <a:gd name="T56" fmla="*/ 772 w 1020"/>
                    <a:gd name="T57" fmla="*/ 1458 h 1975"/>
                    <a:gd name="T58" fmla="*/ 831 w 1020"/>
                    <a:gd name="T59" fmla="*/ 1363 h 1975"/>
                    <a:gd name="T60" fmla="*/ 882 w 1020"/>
                    <a:gd name="T61" fmla="*/ 1264 h 1975"/>
                    <a:gd name="T62" fmla="*/ 927 w 1020"/>
                    <a:gd name="T63" fmla="*/ 1159 h 1975"/>
                    <a:gd name="T64" fmla="*/ 963 w 1020"/>
                    <a:gd name="T65" fmla="*/ 1051 h 1975"/>
                    <a:gd name="T66" fmla="*/ 991 w 1020"/>
                    <a:gd name="T67" fmla="*/ 942 h 1975"/>
                    <a:gd name="T68" fmla="*/ 1008 w 1020"/>
                    <a:gd name="T69" fmla="*/ 833 h 1975"/>
                    <a:gd name="T70" fmla="*/ 1018 w 1020"/>
                    <a:gd name="T71" fmla="*/ 724 h 1975"/>
                    <a:gd name="T72" fmla="*/ 1019 w 1020"/>
                    <a:gd name="T73" fmla="*/ 616 h 1975"/>
                    <a:gd name="T74" fmla="*/ 1012 w 1020"/>
                    <a:gd name="T75" fmla="*/ 508 h 1975"/>
                    <a:gd name="T76" fmla="*/ 996 w 1020"/>
                    <a:gd name="T77" fmla="*/ 401 h 1975"/>
                    <a:gd name="T78" fmla="*/ 973 w 1020"/>
                    <a:gd name="T79" fmla="*/ 297 h 1975"/>
                    <a:gd name="T80" fmla="*/ 941 w 1020"/>
                    <a:gd name="T81" fmla="*/ 195 h 1975"/>
                    <a:gd name="T82" fmla="*/ 902 w 1020"/>
                    <a:gd name="T83" fmla="*/ 96 h 1975"/>
                    <a:gd name="T84" fmla="*/ 856 w 1020"/>
                    <a:gd name="T85" fmla="*/ 0 h 1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0" name="Freeform 223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522 w 920"/>
                    <a:gd name="T1" fmla="*/ 46 h 2068"/>
                    <a:gd name="T2" fmla="*/ 441 w 920"/>
                    <a:gd name="T3" fmla="*/ 119 h 2068"/>
                    <a:gd name="T4" fmla="*/ 366 w 920"/>
                    <a:gd name="T5" fmla="*/ 197 h 2068"/>
                    <a:gd name="T6" fmla="*/ 297 w 920"/>
                    <a:gd name="T7" fmla="*/ 281 h 2068"/>
                    <a:gd name="T8" fmla="*/ 234 w 920"/>
                    <a:gd name="T9" fmla="*/ 369 h 2068"/>
                    <a:gd name="T10" fmla="*/ 178 w 920"/>
                    <a:gd name="T11" fmla="*/ 463 h 2068"/>
                    <a:gd name="T12" fmla="*/ 128 w 920"/>
                    <a:gd name="T13" fmla="*/ 560 h 2068"/>
                    <a:gd name="T14" fmla="*/ 86 w 920"/>
                    <a:gd name="T15" fmla="*/ 661 h 2068"/>
                    <a:gd name="T16" fmla="*/ 53 w 920"/>
                    <a:gd name="T17" fmla="*/ 767 h 2068"/>
                    <a:gd name="T18" fmla="*/ 26 w 920"/>
                    <a:gd name="T19" fmla="*/ 875 h 2068"/>
                    <a:gd name="T20" fmla="*/ 9 w 920"/>
                    <a:gd name="T21" fmla="*/ 987 h 2068"/>
                    <a:gd name="T22" fmla="*/ 1 w 920"/>
                    <a:gd name="T23" fmla="*/ 1100 h 2068"/>
                    <a:gd name="T24" fmla="*/ 1 w 920"/>
                    <a:gd name="T25" fmla="*/ 1212 h 2068"/>
                    <a:gd name="T26" fmla="*/ 10 w 920"/>
                    <a:gd name="T27" fmla="*/ 1322 h 2068"/>
                    <a:gd name="T28" fmla="*/ 28 w 920"/>
                    <a:gd name="T29" fmla="*/ 1430 h 2068"/>
                    <a:gd name="T30" fmla="*/ 54 w 920"/>
                    <a:gd name="T31" fmla="*/ 1535 h 2068"/>
                    <a:gd name="T32" fmla="*/ 87 w 920"/>
                    <a:gd name="T33" fmla="*/ 1637 h 2068"/>
                    <a:gd name="T34" fmla="*/ 128 w 920"/>
                    <a:gd name="T35" fmla="*/ 1737 h 2068"/>
                    <a:gd name="T36" fmla="*/ 178 w 920"/>
                    <a:gd name="T37" fmla="*/ 1832 h 2068"/>
                    <a:gd name="T38" fmla="*/ 233 w 920"/>
                    <a:gd name="T39" fmla="*/ 1924 h 2068"/>
                    <a:gd name="T40" fmla="*/ 296 w 920"/>
                    <a:gd name="T41" fmla="*/ 2012 h 2068"/>
                    <a:gd name="T42" fmla="*/ 369 w 920"/>
                    <a:gd name="T43" fmla="*/ 2046 h 2068"/>
                    <a:gd name="T44" fmla="*/ 451 w 920"/>
                    <a:gd name="T45" fmla="*/ 1975 h 2068"/>
                    <a:gd name="T46" fmla="*/ 528 w 920"/>
                    <a:gd name="T47" fmla="*/ 1898 h 2068"/>
                    <a:gd name="T48" fmla="*/ 600 w 920"/>
                    <a:gd name="T49" fmla="*/ 1816 h 2068"/>
                    <a:gd name="T50" fmla="*/ 665 w 920"/>
                    <a:gd name="T51" fmla="*/ 1730 h 2068"/>
                    <a:gd name="T52" fmla="*/ 724 w 920"/>
                    <a:gd name="T53" fmla="*/ 1638 h 2068"/>
                    <a:gd name="T54" fmla="*/ 776 w 920"/>
                    <a:gd name="T55" fmla="*/ 1542 h 2068"/>
                    <a:gd name="T56" fmla="*/ 820 w 920"/>
                    <a:gd name="T57" fmla="*/ 1442 h 2068"/>
                    <a:gd name="T58" fmla="*/ 857 w 920"/>
                    <a:gd name="T59" fmla="*/ 1338 h 2068"/>
                    <a:gd name="T60" fmla="*/ 885 w 920"/>
                    <a:gd name="T61" fmla="*/ 1230 h 2068"/>
                    <a:gd name="T62" fmla="*/ 905 w 920"/>
                    <a:gd name="T63" fmla="*/ 1119 h 2068"/>
                    <a:gd name="T64" fmla="*/ 917 w 920"/>
                    <a:gd name="T65" fmla="*/ 1006 h 2068"/>
                    <a:gd name="T66" fmla="*/ 919 w 920"/>
                    <a:gd name="T67" fmla="*/ 894 h 2068"/>
                    <a:gd name="T68" fmla="*/ 912 w 920"/>
                    <a:gd name="T69" fmla="*/ 783 h 2068"/>
                    <a:gd name="T70" fmla="*/ 898 w 920"/>
                    <a:gd name="T71" fmla="*/ 675 h 2068"/>
                    <a:gd name="T72" fmla="*/ 875 w 920"/>
                    <a:gd name="T73" fmla="*/ 569 h 2068"/>
                    <a:gd name="T74" fmla="*/ 844 w 920"/>
                    <a:gd name="T75" fmla="*/ 466 h 2068"/>
                    <a:gd name="T76" fmla="*/ 805 w 920"/>
                    <a:gd name="T77" fmla="*/ 365 h 2068"/>
                    <a:gd name="T78" fmla="*/ 759 w 920"/>
                    <a:gd name="T79" fmla="*/ 268 h 2068"/>
                    <a:gd name="T80" fmla="*/ 705 w 920"/>
                    <a:gd name="T81" fmla="*/ 175 h 2068"/>
                    <a:gd name="T82" fmla="*/ 645 w 920"/>
                    <a:gd name="T83" fmla="*/ 85 h 2068"/>
                    <a:gd name="T84" fmla="*/ 579 w 920"/>
                    <a:gd name="T85" fmla="*/ 0 h 20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1" name="Freeform 224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4" cy="103"/>
                </a:xfrm>
                <a:custGeom>
                  <a:avLst/>
                  <a:gdLst>
                    <a:gd name="T0" fmla="*/ 796 w 1022"/>
                    <a:gd name="T1" fmla="*/ 33 h 1973"/>
                    <a:gd name="T2" fmla="*/ 700 w 1022"/>
                    <a:gd name="T3" fmla="*/ 88 h 1973"/>
                    <a:gd name="T4" fmla="*/ 609 w 1022"/>
                    <a:gd name="T5" fmla="*/ 149 h 1973"/>
                    <a:gd name="T6" fmla="*/ 522 w 1022"/>
                    <a:gd name="T7" fmla="*/ 217 h 1973"/>
                    <a:gd name="T8" fmla="*/ 441 w 1022"/>
                    <a:gd name="T9" fmla="*/ 290 h 1973"/>
                    <a:gd name="T10" fmla="*/ 366 w 1022"/>
                    <a:gd name="T11" fmla="*/ 370 h 1973"/>
                    <a:gd name="T12" fmla="*/ 295 w 1022"/>
                    <a:gd name="T13" fmla="*/ 455 h 1973"/>
                    <a:gd name="T14" fmla="*/ 231 w 1022"/>
                    <a:gd name="T15" fmla="*/ 546 h 1973"/>
                    <a:gd name="T16" fmla="*/ 174 w 1022"/>
                    <a:gd name="T17" fmla="*/ 641 h 1973"/>
                    <a:gd name="T18" fmla="*/ 125 w 1022"/>
                    <a:gd name="T19" fmla="*/ 742 h 1973"/>
                    <a:gd name="T20" fmla="*/ 83 w 1022"/>
                    <a:gd name="T21" fmla="*/ 848 h 1973"/>
                    <a:gd name="T22" fmla="*/ 48 w 1022"/>
                    <a:gd name="T23" fmla="*/ 957 h 1973"/>
                    <a:gd name="T24" fmla="*/ 24 w 1022"/>
                    <a:gd name="T25" fmla="*/ 1067 h 1973"/>
                    <a:gd name="T26" fmla="*/ 8 w 1022"/>
                    <a:gd name="T27" fmla="*/ 1176 h 1973"/>
                    <a:gd name="T28" fmla="*/ 0 w 1022"/>
                    <a:gd name="T29" fmla="*/ 1285 h 1973"/>
                    <a:gd name="T30" fmla="*/ 3 w 1022"/>
                    <a:gd name="T31" fmla="*/ 1393 h 1973"/>
                    <a:gd name="T32" fmla="*/ 12 w 1022"/>
                    <a:gd name="T33" fmla="*/ 1500 h 1973"/>
                    <a:gd name="T34" fmla="*/ 30 w 1022"/>
                    <a:gd name="T35" fmla="*/ 1605 h 1973"/>
                    <a:gd name="T36" fmla="*/ 56 w 1022"/>
                    <a:gd name="T37" fmla="*/ 1709 h 1973"/>
                    <a:gd name="T38" fmla="*/ 89 w 1022"/>
                    <a:gd name="T39" fmla="*/ 1810 h 1973"/>
                    <a:gd name="T40" fmla="*/ 130 w 1022"/>
                    <a:gd name="T41" fmla="*/ 1909 h 1973"/>
                    <a:gd name="T42" fmla="*/ 194 w 1022"/>
                    <a:gd name="T43" fmla="*/ 1956 h 1973"/>
                    <a:gd name="T44" fmla="*/ 291 w 1022"/>
                    <a:gd name="T45" fmla="*/ 1904 h 1973"/>
                    <a:gd name="T46" fmla="*/ 384 w 1022"/>
                    <a:gd name="T47" fmla="*/ 1845 h 1973"/>
                    <a:gd name="T48" fmla="*/ 472 w 1022"/>
                    <a:gd name="T49" fmla="*/ 1779 h 1973"/>
                    <a:gd name="T50" fmla="*/ 555 w 1022"/>
                    <a:gd name="T51" fmla="*/ 1708 h 1973"/>
                    <a:gd name="T52" fmla="*/ 633 w 1022"/>
                    <a:gd name="T53" fmla="*/ 1630 h 1973"/>
                    <a:gd name="T54" fmla="*/ 706 w 1022"/>
                    <a:gd name="T55" fmla="*/ 1547 h 1973"/>
                    <a:gd name="T56" fmla="*/ 771 w 1022"/>
                    <a:gd name="T57" fmla="*/ 1458 h 1973"/>
                    <a:gd name="T58" fmla="*/ 831 w 1022"/>
                    <a:gd name="T59" fmla="*/ 1364 h 1973"/>
                    <a:gd name="T60" fmla="*/ 882 w 1022"/>
                    <a:gd name="T61" fmla="*/ 1265 h 1973"/>
                    <a:gd name="T62" fmla="*/ 928 w 1022"/>
                    <a:gd name="T63" fmla="*/ 1161 h 1973"/>
                    <a:gd name="T64" fmla="*/ 965 w 1022"/>
                    <a:gd name="T65" fmla="*/ 1052 h 1973"/>
                    <a:gd name="T66" fmla="*/ 992 w 1022"/>
                    <a:gd name="T67" fmla="*/ 942 h 1973"/>
                    <a:gd name="T68" fmla="*/ 1011 w 1022"/>
                    <a:gd name="T69" fmla="*/ 833 h 1973"/>
                    <a:gd name="T70" fmla="*/ 1021 w 1022"/>
                    <a:gd name="T71" fmla="*/ 724 h 1973"/>
                    <a:gd name="T72" fmla="*/ 1022 w 1022"/>
                    <a:gd name="T73" fmla="*/ 616 h 1973"/>
                    <a:gd name="T74" fmla="*/ 1015 w 1022"/>
                    <a:gd name="T75" fmla="*/ 509 h 1973"/>
                    <a:gd name="T76" fmla="*/ 1000 w 1022"/>
                    <a:gd name="T77" fmla="*/ 403 h 1973"/>
                    <a:gd name="T78" fmla="*/ 977 w 1022"/>
                    <a:gd name="T79" fmla="*/ 299 h 1973"/>
                    <a:gd name="T80" fmla="*/ 946 w 1022"/>
                    <a:gd name="T81" fmla="*/ 197 h 1973"/>
                    <a:gd name="T82" fmla="*/ 908 w 1022"/>
                    <a:gd name="T83" fmla="*/ 97 h 1973"/>
                    <a:gd name="T84" fmla="*/ 861 w 1022"/>
                    <a:gd name="T85" fmla="*/ 0 h 19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2" name="Freeform 225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264 w 929"/>
                    <a:gd name="T1" fmla="*/ 58 h 2060"/>
                    <a:gd name="T2" fmla="*/ 205 w 929"/>
                    <a:gd name="T3" fmla="*/ 148 h 2060"/>
                    <a:gd name="T4" fmla="*/ 154 w 929"/>
                    <a:gd name="T5" fmla="*/ 242 h 2060"/>
                    <a:gd name="T6" fmla="*/ 108 w 929"/>
                    <a:gd name="T7" fmla="*/ 339 h 2060"/>
                    <a:gd name="T8" fmla="*/ 70 w 929"/>
                    <a:gd name="T9" fmla="*/ 440 h 2060"/>
                    <a:gd name="T10" fmla="*/ 41 w 929"/>
                    <a:gd name="T11" fmla="*/ 543 h 2060"/>
                    <a:gd name="T12" fmla="*/ 19 w 929"/>
                    <a:gd name="T13" fmla="*/ 649 h 2060"/>
                    <a:gd name="T14" fmla="*/ 5 w 929"/>
                    <a:gd name="T15" fmla="*/ 758 h 2060"/>
                    <a:gd name="T16" fmla="*/ 0 w 929"/>
                    <a:gd name="T17" fmla="*/ 868 h 2060"/>
                    <a:gd name="T18" fmla="*/ 3 w 929"/>
                    <a:gd name="T19" fmla="*/ 979 h 2060"/>
                    <a:gd name="T20" fmla="*/ 16 w 929"/>
                    <a:gd name="T21" fmla="*/ 1092 h 2060"/>
                    <a:gd name="T22" fmla="*/ 37 w 929"/>
                    <a:gd name="T23" fmla="*/ 1203 h 2060"/>
                    <a:gd name="T24" fmla="*/ 67 w 929"/>
                    <a:gd name="T25" fmla="*/ 1311 h 2060"/>
                    <a:gd name="T26" fmla="*/ 105 w 929"/>
                    <a:gd name="T27" fmla="*/ 1415 h 2060"/>
                    <a:gd name="T28" fmla="*/ 150 w 929"/>
                    <a:gd name="T29" fmla="*/ 1515 h 2060"/>
                    <a:gd name="T30" fmla="*/ 203 w 929"/>
                    <a:gd name="T31" fmla="*/ 1611 h 2060"/>
                    <a:gd name="T32" fmla="*/ 263 w 929"/>
                    <a:gd name="T33" fmla="*/ 1702 h 2060"/>
                    <a:gd name="T34" fmla="*/ 329 w 929"/>
                    <a:gd name="T35" fmla="*/ 1788 h 2060"/>
                    <a:gd name="T36" fmla="*/ 401 w 929"/>
                    <a:gd name="T37" fmla="*/ 1871 h 2060"/>
                    <a:gd name="T38" fmla="*/ 479 w 929"/>
                    <a:gd name="T39" fmla="*/ 1947 h 2060"/>
                    <a:gd name="T40" fmla="*/ 563 w 929"/>
                    <a:gd name="T41" fmla="*/ 2017 h 2060"/>
                    <a:gd name="T42" fmla="*/ 643 w 929"/>
                    <a:gd name="T43" fmla="*/ 2032 h 2060"/>
                    <a:gd name="T44" fmla="*/ 704 w 929"/>
                    <a:gd name="T45" fmla="*/ 1943 h 2060"/>
                    <a:gd name="T46" fmla="*/ 759 w 929"/>
                    <a:gd name="T47" fmla="*/ 1851 h 2060"/>
                    <a:gd name="T48" fmla="*/ 806 w 929"/>
                    <a:gd name="T49" fmla="*/ 1754 h 2060"/>
                    <a:gd name="T50" fmla="*/ 846 w 929"/>
                    <a:gd name="T51" fmla="*/ 1654 h 2060"/>
                    <a:gd name="T52" fmla="*/ 879 w 929"/>
                    <a:gd name="T53" fmla="*/ 1551 h 2060"/>
                    <a:gd name="T54" fmla="*/ 903 w 929"/>
                    <a:gd name="T55" fmla="*/ 1446 h 2060"/>
                    <a:gd name="T56" fmla="*/ 920 w 929"/>
                    <a:gd name="T57" fmla="*/ 1339 h 2060"/>
                    <a:gd name="T58" fmla="*/ 928 w 929"/>
                    <a:gd name="T59" fmla="*/ 1229 h 2060"/>
                    <a:gd name="T60" fmla="*/ 927 w 929"/>
                    <a:gd name="T61" fmla="*/ 1118 h 2060"/>
                    <a:gd name="T62" fmla="*/ 918 w 929"/>
                    <a:gd name="T63" fmla="*/ 1006 h 2060"/>
                    <a:gd name="T64" fmla="*/ 900 w 929"/>
                    <a:gd name="T65" fmla="*/ 894 h 2060"/>
                    <a:gd name="T66" fmla="*/ 872 w 929"/>
                    <a:gd name="T67" fmla="*/ 784 h 2060"/>
                    <a:gd name="T68" fmla="*/ 837 w 929"/>
                    <a:gd name="T69" fmla="*/ 679 h 2060"/>
                    <a:gd name="T70" fmla="*/ 794 w 929"/>
                    <a:gd name="T71" fmla="*/ 578 h 2060"/>
                    <a:gd name="T72" fmla="*/ 744 w 929"/>
                    <a:gd name="T73" fmla="*/ 480 h 2060"/>
                    <a:gd name="T74" fmla="*/ 686 w 929"/>
                    <a:gd name="T75" fmla="*/ 388 h 2060"/>
                    <a:gd name="T76" fmla="*/ 622 w 929"/>
                    <a:gd name="T77" fmla="*/ 300 h 2060"/>
                    <a:gd name="T78" fmla="*/ 551 w 929"/>
                    <a:gd name="T79" fmla="*/ 217 h 2060"/>
                    <a:gd name="T80" fmla="*/ 476 w 929"/>
                    <a:gd name="T81" fmla="*/ 139 h 2060"/>
                    <a:gd name="T82" fmla="*/ 395 w 929"/>
                    <a:gd name="T83" fmla="*/ 67 h 2060"/>
                    <a:gd name="T84" fmla="*/ 307 w 929"/>
                    <a:gd name="T85" fmla="*/ 0 h 2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3" name="Freeform 226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9 w 1706"/>
                    <a:gd name="T1" fmla="*/ 78 h 1321"/>
                    <a:gd name="T2" fmla="*/ 31 w 1706"/>
                    <a:gd name="T3" fmla="*/ 182 h 1321"/>
                    <a:gd name="T4" fmla="*/ 60 w 1706"/>
                    <a:gd name="T5" fmla="*/ 285 h 1321"/>
                    <a:gd name="T6" fmla="*/ 97 w 1706"/>
                    <a:gd name="T7" fmla="*/ 385 h 1321"/>
                    <a:gd name="T8" fmla="*/ 142 w 1706"/>
                    <a:gd name="T9" fmla="*/ 483 h 1321"/>
                    <a:gd name="T10" fmla="*/ 194 w 1706"/>
                    <a:gd name="T11" fmla="*/ 578 h 1321"/>
                    <a:gd name="T12" fmla="*/ 254 w 1706"/>
                    <a:gd name="T13" fmla="*/ 670 h 1321"/>
                    <a:gd name="T14" fmla="*/ 321 w 1706"/>
                    <a:gd name="T15" fmla="*/ 758 h 1321"/>
                    <a:gd name="T16" fmla="*/ 397 w 1706"/>
                    <a:gd name="T17" fmla="*/ 842 h 1321"/>
                    <a:gd name="T18" fmla="*/ 479 w 1706"/>
                    <a:gd name="T19" fmla="*/ 921 h 1321"/>
                    <a:gd name="T20" fmla="*/ 569 w 1706"/>
                    <a:gd name="T21" fmla="*/ 995 h 1321"/>
                    <a:gd name="T22" fmla="*/ 665 w 1706"/>
                    <a:gd name="T23" fmla="*/ 1064 h 1321"/>
                    <a:gd name="T24" fmla="*/ 764 w 1706"/>
                    <a:gd name="T25" fmla="*/ 1124 h 1321"/>
                    <a:gd name="T26" fmla="*/ 866 w 1706"/>
                    <a:gd name="T27" fmla="*/ 1175 h 1321"/>
                    <a:gd name="T28" fmla="*/ 971 w 1706"/>
                    <a:gd name="T29" fmla="*/ 1219 h 1321"/>
                    <a:gd name="T30" fmla="*/ 1079 w 1706"/>
                    <a:gd name="T31" fmla="*/ 1255 h 1321"/>
                    <a:gd name="T32" fmla="*/ 1188 w 1706"/>
                    <a:gd name="T33" fmla="*/ 1283 h 1321"/>
                    <a:gd name="T34" fmla="*/ 1298 w 1706"/>
                    <a:gd name="T35" fmla="*/ 1303 h 1321"/>
                    <a:gd name="T36" fmla="*/ 1409 w 1706"/>
                    <a:gd name="T37" fmla="*/ 1316 h 1321"/>
                    <a:gd name="T38" fmla="*/ 1521 w 1706"/>
                    <a:gd name="T39" fmla="*/ 1321 h 1321"/>
                    <a:gd name="T40" fmla="*/ 1632 w 1706"/>
                    <a:gd name="T41" fmla="*/ 1318 h 1321"/>
                    <a:gd name="T42" fmla="*/ 1702 w 1706"/>
                    <a:gd name="T43" fmla="*/ 1278 h 1321"/>
                    <a:gd name="T44" fmla="*/ 1683 w 1706"/>
                    <a:gd name="T45" fmla="*/ 1173 h 1321"/>
                    <a:gd name="T46" fmla="*/ 1657 w 1706"/>
                    <a:gd name="T47" fmla="*/ 1070 h 1321"/>
                    <a:gd name="T48" fmla="*/ 1623 w 1706"/>
                    <a:gd name="T49" fmla="*/ 968 h 1321"/>
                    <a:gd name="T50" fmla="*/ 1581 w 1706"/>
                    <a:gd name="T51" fmla="*/ 869 h 1321"/>
                    <a:gd name="T52" fmla="*/ 1530 w 1706"/>
                    <a:gd name="T53" fmla="*/ 773 h 1321"/>
                    <a:gd name="T54" fmla="*/ 1474 w 1706"/>
                    <a:gd name="T55" fmla="*/ 680 h 1321"/>
                    <a:gd name="T56" fmla="*/ 1408 w 1706"/>
                    <a:gd name="T57" fmla="*/ 591 h 1321"/>
                    <a:gd name="T58" fmla="*/ 1336 w 1706"/>
                    <a:gd name="T59" fmla="*/ 505 h 1321"/>
                    <a:gd name="T60" fmla="*/ 1256 w 1706"/>
                    <a:gd name="T61" fmla="*/ 424 h 1321"/>
                    <a:gd name="T62" fmla="*/ 1168 w 1706"/>
                    <a:gd name="T63" fmla="*/ 348 h 1321"/>
                    <a:gd name="T64" fmla="*/ 1074 w 1706"/>
                    <a:gd name="T65" fmla="*/ 278 h 1321"/>
                    <a:gd name="T66" fmla="*/ 976 w 1706"/>
                    <a:gd name="T67" fmla="*/ 216 h 1321"/>
                    <a:gd name="T68" fmla="*/ 875 w 1706"/>
                    <a:gd name="T69" fmla="*/ 162 h 1321"/>
                    <a:gd name="T70" fmla="*/ 770 w 1706"/>
                    <a:gd name="T71" fmla="*/ 115 h 1321"/>
                    <a:gd name="T72" fmla="*/ 663 w 1706"/>
                    <a:gd name="T73" fmla="*/ 77 h 1321"/>
                    <a:gd name="T74" fmla="*/ 555 w 1706"/>
                    <a:gd name="T75" fmla="*/ 46 h 1321"/>
                    <a:gd name="T76" fmla="*/ 445 w 1706"/>
                    <a:gd name="T77" fmla="*/ 23 h 1321"/>
                    <a:gd name="T78" fmla="*/ 334 w 1706"/>
                    <a:gd name="T79" fmla="*/ 8 h 1321"/>
                    <a:gd name="T80" fmla="*/ 223 w 1706"/>
                    <a:gd name="T81" fmla="*/ 0 h 1321"/>
                    <a:gd name="T82" fmla="*/ 112 w 1706"/>
                    <a:gd name="T83" fmla="*/ 1 h 1321"/>
                    <a:gd name="T84" fmla="*/ 0 w 1706"/>
                    <a:gd name="T85" fmla="*/ 8 h 1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4" name="Freeform 227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108 w 1252"/>
                    <a:gd name="T1" fmla="*/ 1736 h 1753"/>
                    <a:gd name="T2" fmla="*/ 214 w 1252"/>
                    <a:gd name="T3" fmla="*/ 1705 h 1753"/>
                    <a:gd name="T4" fmla="*/ 318 w 1252"/>
                    <a:gd name="T5" fmla="*/ 1667 h 1753"/>
                    <a:gd name="T6" fmla="*/ 419 w 1252"/>
                    <a:gd name="T7" fmla="*/ 1621 h 1753"/>
                    <a:gd name="T8" fmla="*/ 517 w 1252"/>
                    <a:gd name="T9" fmla="*/ 1568 h 1753"/>
                    <a:gd name="T10" fmla="*/ 611 w 1252"/>
                    <a:gd name="T11" fmla="*/ 1509 h 1753"/>
                    <a:gd name="T12" fmla="*/ 702 w 1252"/>
                    <a:gd name="T13" fmla="*/ 1441 h 1753"/>
                    <a:gd name="T14" fmla="*/ 786 w 1252"/>
                    <a:gd name="T15" fmla="*/ 1368 h 1753"/>
                    <a:gd name="T16" fmla="*/ 866 w 1252"/>
                    <a:gd name="T17" fmla="*/ 1288 h 1753"/>
                    <a:gd name="T18" fmla="*/ 940 w 1252"/>
                    <a:gd name="T19" fmla="*/ 1201 h 1753"/>
                    <a:gd name="T20" fmla="*/ 1008 w 1252"/>
                    <a:gd name="T21" fmla="*/ 1108 h 1753"/>
                    <a:gd name="T22" fmla="*/ 1069 w 1252"/>
                    <a:gd name="T23" fmla="*/ 1011 h 1753"/>
                    <a:gd name="T24" fmla="*/ 1120 w 1252"/>
                    <a:gd name="T25" fmla="*/ 911 h 1753"/>
                    <a:gd name="T26" fmla="*/ 1164 w 1252"/>
                    <a:gd name="T27" fmla="*/ 808 h 1753"/>
                    <a:gd name="T28" fmla="*/ 1197 w 1252"/>
                    <a:gd name="T29" fmla="*/ 704 h 1753"/>
                    <a:gd name="T30" fmla="*/ 1224 w 1252"/>
                    <a:gd name="T31" fmla="*/ 599 h 1753"/>
                    <a:gd name="T32" fmla="*/ 1241 w 1252"/>
                    <a:gd name="T33" fmla="*/ 493 h 1753"/>
                    <a:gd name="T34" fmla="*/ 1251 w 1252"/>
                    <a:gd name="T35" fmla="*/ 387 h 1753"/>
                    <a:gd name="T36" fmla="*/ 1252 w 1252"/>
                    <a:gd name="T37" fmla="*/ 280 h 1753"/>
                    <a:gd name="T38" fmla="*/ 1246 w 1252"/>
                    <a:gd name="T39" fmla="*/ 174 h 1753"/>
                    <a:gd name="T40" fmla="*/ 1231 w 1252"/>
                    <a:gd name="T41" fmla="*/ 69 h 1753"/>
                    <a:gd name="T42" fmla="*/ 1180 w 1252"/>
                    <a:gd name="T43" fmla="*/ 8 h 1753"/>
                    <a:gd name="T44" fmla="*/ 1073 w 1252"/>
                    <a:gd name="T45" fmla="*/ 37 h 1753"/>
                    <a:gd name="T46" fmla="*/ 968 w 1252"/>
                    <a:gd name="T47" fmla="*/ 73 h 1753"/>
                    <a:gd name="T48" fmla="*/ 866 w 1252"/>
                    <a:gd name="T49" fmla="*/ 116 h 1753"/>
                    <a:gd name="T50" fmla="*/ 767 w 1252"/>
                    <a:gd name="T51" fmla="*/ 167 h 1753"/>
                    <a:gd name="T52" fmla="*/ 672 w 1252"/>
                    <a:gd name="T53" fmla="*/ 224 h 1753"/>
                    <a:gd name="T54" fmla="*/ 581 w 1252"/>
                    <a:gd name="T55" fmla="*/ 288 h 1753"/>
                    <a:gd name="T56" fmla="*/ 494 w 1252"/>
                    <a:gd name="T57" fmla="*/ 359 h 1753"/>
                    <a:gd name="T58" fmla="*/ 412 w 1252"/>
                    <a:gd name="T59" fmla="*/ 437 h 1753"/>
                    <a:gd name="T60" fmla="*/ 336 w 1252"/>
                    <a:gd name="T61" fmla="*/ 521 h 1753"/>
                    <a:gd name="T62" fmla="*/ 267 w 1252"/>
                    <a:gd name="T63" fmla="*/ 612 h 1753"/>
                    <a:gd name="T64" fmla="*/ 204 w 1252"/>
                    <a:gd name="T65" fmla="*/ 709 h 1753"/>
                    <a:gd name="T66" fmla="*/ 149 w 1252"/>
                    <a:gd name="T67" fmla="*/ 808 h 1753"/>
                    <a:gd name="T68" fmla="*/ 103 w 1252"/>
                    <a:gd name="T69" fmla="*/ 910 h 1753"/>
                    <a:gd name="T70" fmla="*/ 66 w 1252"/>
                    <a:gd name="T71" fmla="*/ 1013 h 1753"/>
                    <a:gd name="T72" fmla="*/ 36 w 1252"/>
                    <a:gd name="T73" fmla="*/ 1118 h 1753"/>
                    <a:gd name="T74" fmla="*/ 16 w 1252"/>
                    <a:gd name="T75" fmla="*/ 1224 h 1753"/>
                    <a:gd name="T76" fmla="*/ 4 w 1252"/>
                    <a:gd name="T77" fmla="*/ 1330 h 1753"/>
                    <a:gd name="T78" fmla="*/ 0 w 1252"/>
                    <a:gd name="T79" fmla="*/ 1437 h 1753"/>
                    <a:gd name="T80" fmla="*/ 4 w 1252"/>
                    <a:gd name="T81" fmla="*/ 1544 h 1753"/>
                    <a:gd name="T82" fmla="*/ 16 w 1252"/>
                    <a:gd name="T83" fmla="*/ 1649 h 1753"/>
                    <a:gd name="T84" fmla="*/ 36 w 1252"/>
                    <a:gd name="T85" fmla="*/ 1753 h 1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5" name="Freeform 228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4" cy="109"/>
                </a:xfrm>
                <a:custGeom>
                  <a:avLst/>
                  <a:gdLst>
                    <a:gd name="T0" fmla="*/ 572 w 931"/>
                    <a:gd name="T1" fmla="*/ 43 h 2057"/>
                    <a:gd name="T2" fmla="*/ 487 w 931"/>
                    <a:gd name="T3" fmla="*/ 114 h 2057"/>
                    <a:gd name="T4" fmla="*/ 408 w 931"/>
                    <a:gd name="T5" fmla="*/ 189 h 2057"/>
                    <a:gd name="T6" fmla="*/ 336 w 931"/>
                    <a:gd name="T7" fmla="*/ 270 h 2057"/>
                    <a:gd name="T8" fmla="*/ 269 w 931"/>
                    <a:gd name="T9" fmla="*/ 356 h 2057"/>
                    <a:gd name="T10" fmla="*/ 208 w 931"/>
                    <a:gd name="T11" fmla="*/ 447 h 2057"/>
                    <a:gd name="T12" fmla="*/ 156 w 931"/>
                    <a:gd name="T13" fmla="*/ 542 h 2057"/>
                    <a:gd name="T14" fmla="*/ 109 w 931"/>
                    <a:gd name="T15" fmla="*/ 642 h 2057"/>
                    <a:gd name="T16" fmla="*/ 71 w 931"/>
                    <a:gd name="T17" fmla="*/ 746 h 2057"/>
                    <a:gd name="T18" fmla="*/ 40 w 931"/>
                    <a:gd name="T19" fmla="*/ 853 h 2057"/>
                    <a:gd name="T20" fmla="*/ 17 w 931"/>
                    <a:gd name="T21" fmla="*/ 964 h 2057"/>
                    <a:gd name="T22" fmla="*/ 4 w 931"/>
                    <a:gd name="T23" fmla="*/ 1077 h 2057"/>
                    <a:gd name="T24" fmla="*/ 0 w 931"/>
                    <a:gd name="T25" fmla="*/ 1188 h 2057"/>
                    <a:gd name="T26" fmla="*/ 4 w 931"/>
                    <a:gd name="T27" fmla="*/ 1299 h 2057"/>
                    <a:gd name="T28" fmla="*/ 17 w 931"/>
                    <a:gd name="T29" fmla="*/ 1407 h 2057"/>
                    <a:gd name="T30" fmla="*/ 38 w 931"/>
                    <a:gd name="T31" fmla="*/ 1513 h 2057"/>
                    <a:gd name="T32" fmla="*/ 67 w 931"/>
                    <a:gd name="T33" fmla="*/ 1617 h 2057"/>
                    <a:gd name="T34" fmla="*/ 104 w 931"/>
                    <a:gd name="T35" fmla="*/ 1718 h 2057"/>
                    <a:gd name="T36" fmla="*/ 148 w 931"/>
                    <a:gd name="T37" fmla="*/ 1815 h 2057"/>
                    <a:gd name="T38" fmla="*/ 200 w 931"/>
                    <a:gd name="T39" fmla="*/ 1909 h 2057"/>
                    <a:gd name="T40" fmla="*/ 258 w 931"/>
                    <a:gd name="T41" fmla="*/ 2000 h 2057"/>
                    <a:gd name="T42" fmla="*/ 330 w 931"/>
                    <a:gd name="T43" fmla="*/ 2036 h 2057"/>
                    <a:gd name="T44" fmla="*/ 416 w 931"/>
                    <a:gd name="T45" fmla="*/ 1968 h 2057"/>
                    <a:gd name="T46" fmla="*/ 497 w 931"/>
                    <a:gd name="T47" fmla="*/ 1895 h 2057"/>
                    <a:gd name="T48" fmla="*/ 572 w 931"/>
                    <a:gd name="T49" fmla="*/ 1816 h 2057"/>
                    <a:gd name="T50" fmla="*/ 640 w 931"/>
                    <a:gd name="T51" fmla="*/ 1732 h 2057"/>
                    <a:gd name="T52" fmla="*/ 703 w 931"/>
                    <a:gd name="T53" fmla="*/ 1643 h 2057"/>
                    <a:gd name="T54" fmla="*/ 759 w 931"/>
                    <a:gd name="T55" fmla="*/ 1549 h 2057"/>
                    <a:gd name="T56" fmla="*/ 807 w 931"/>
                    <a:gd name="T57" fmla="*/ 1450 h 2057"/>
                    <a:gd name="T58" fmla="*/ 848 w 931"/>
                    <a:gd name="T59" fmla="*/ 1348 h 2057"/>
                    <a:gd name="T60" fmla="*/ 882 w 931"/>
                    <a:gd name="T61" fmla="*/ 1241 h 2057"/>
                    <a:gd name="T62" fmla="*/ 907 w 931"/>
                    <a:gd name="T63" fmla="*/ 1131 h 2057"/>
                    <a:gd name="T64" fmla="*/ 923 w 931"/>
                    <a:gd name="T65" fmla="*/ 1019 h 2057"/>
                    <a:gd name="T66" fmla="*/ 930 w 931"/>
                    <a:gd name="T67" fmla="*/ 907 h 2057"/>
                    <a:gd name="T68" fmla="*/ 929 w 931"/>
                    <a:gd name="T69" fmla="*/ 796 h 2057"/>
                    <a:gd name="T70" fmla="*/ 919 w 931"/>
                    <a:gd name="T71" fmla="*/ 687 h 2057"/>
                    <a:gd name="T72" fmla="*/ 901 w 931"/>
                    <a:gd name="T73" fmla="*/ 580 h 2057"/>
                    <a:gd name="T74" fmla="*/ 875 w 931"/>
                    <a:gd name="T75" fmla="*/ 476 h 2057"/>
                    <a:gd name="T76" fmla="*/ 840 w 931"/>
                    <a:gd name="T77" fmla="*/ 374 h 2057"/>
                    <a:gd name="T78" fmla="*/ 798 w 931"/>
                    <a:gd name="T79" fmla="*/ 275 h 2057"/>
                    <a:gd name="T80" fmla="*/ 748 w 931"/>
                    <a:gd name="T81" fmla="*/ 180 h 2057"/>
                    <a:gd name="T82" fmla="*/ 693 w 931"/>
                    <a:gd name="T83" fmla="*/ 87 h 2057"/>
                    <a:gd name="T84" fmla="*/ 630 w 931"/>
                    <a:gd name="T85" fmla="*/ 0 h 20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6" name="Freeform 229"/>
                <p:cNvSpPr>
                  <a:spLocks/>
                </p:cNvSpPr>
                <p:nvPr/>
              </p:nvSpPr>
              <p:spPr bwMode="auto">
                <a:xfrm rot="-2429734">
                  <a:off x="725" y="1881"/>
                  <a:ext cx="60" cy="97"/>
                </a:xfrm>
                <a:custGeom>
                  <a:avLst/>
                  <a:gdLst>
                    <a:gd name="T0" fmla="*/ 51 w 1153"/>
                    <a:gd name="T1" fmla="*/ 67 h 1847"/>
                    <a:gd name="T2" fmla="*/ 26 w 1153"/>
                    <a:gd name="T3" fmla="*/ 171 h 1847"/>
                    <a:gd name="T4" fmla="*/ 9 w 1153"/>
                    <a:gd name="T5" fmla="*/ 277 h 1847"/>
                    <a:gd name="T6" fmla="*/ 1 w 1153"/>
                    <a:gd name="T7" fmla="*/ 383 h 1847"/>
                    <a:gd name="T8" fmla="*/ 0 w 1153"/>
                    <a:gd name="T9" fmla="*/ 489 h 1847"/>
                    <a:gd name="T10" fmla="*/ 7 w 1153"/>
                    <a:gd name="T11" fmla="*/ 597 h 1847"/>
                    <a:gd name="T12" fmla="*/ 24 w 1153"/>
                    <a:gd name="T13" fmla="*/ 704 h 1847"/>
                    <a:gd name="T14" fmla="*/ 48 w 1153"/>
                    <a:gd name="T15" fmla="*/ 810 h 1847"/>
                    <a:gd name="T16" fmla="*/ 81 w 1153"/>
                    <a:gd name="T17" fmla="*/ 916 h 1847"/>
                    <a:gd name="T18" fmla="*/ 123 w 1153"/>
                    <a:gd name="T19" fmla="*/ 1020 h 1847"/>
                    <a:gd name="T20" fmla="*/ 173 w 1153"/>
                    <a:gd name="T21" fmla="*/ 1122 h 1847"/>
                    <a:gd name="T22" fmla="*/ 232 w 1153"/>
                    <a:gd name="T23" fmla="*/ 1221 h 1847"/>
                    <a:gd name="T24" fmla="*/ 299 w 1153"/>
                    <a:gd name="T25" fmla="*/ 1313 h 1847"/>
                    <a:gd name="T26" fmla="*/ 370 w 1153"/>
                    <a:gd name="T27" fmla="*/ 1400 h 1847"/>
                    <a:gd name="T28" fmla="*/ 448 w 1153"/>
                    <a:gd name="T29" fmla="*/ 1480 h 1847"/>
                    <a:gd name="T30" fmla="*/ 530 w 1153"/>
                    <a:gd name="T31" fmla="*/ 1554 h 1847"/>
                    <a:gd name="T32" fmla="*/ 619 w 1153"/>
                    <a:gd name="T33" fmla="*/ 1621 h 1847"/>
                    <a:gd name="T34" fmla="*/ 711 w 1153"/>
                    <a:gd name="T35" fmla="*/ 1682 h 1847"/>
                    <a:gd name="T36" fmla="*/ 807 w 1153"/>
                    <a:gd name="T37" fmla="*/ 1736 h 1847"/>
                    <a:gd name="T38" fmla="*/ 907 w 1153"/>
                    <a:gd name="T39" fmla="*/ 1784 h 1847"/>
                    <a:gd name="T40" fmla="*/ 1010 w 1153"/>
                    <a:gd name="T41" fmla="*/ 1824 h 1847"/>
                    <a:gd name="T42" fmla="*/ 1091 w 1153"/>
                    <a:gd name="T43" fmla="*/ 1813 h 1847"/>
                    <a:gd name="T44" fmla="*/ 1119 w 1153"/>
                    <a:gd name="T45" fmla="*/ 1711 h 1847"/>
                    <a:gd name="T46" fmla="*/ 1138 w 1153"/>
                    <a:gd name="T47" fmla="*/ 1606 h 1847"/>
                    <a:gd name="T48" fmla="*/ 1149 w 1153"/>
                    <a:gd name="T49" fmla="*/ 1500 h 1847"/>
                    <a:gd name="T50" fmla="*/ 1153 w 1153"/>
                    <a:gd name="T51" fmla="*/ 1394 h 1847"/>
                    <a:gd name="T52" fmla="*/ 1148 w 1153"/>
                    <a:gd name="T53" fmla="*/ 1287 h 1847"/>
                    <a:gd name="T54" fmla="*/ 1135 w 1153"/>
                    <a:gd name="T55" fmla="*/ 1180 h 1847"/>
                    <a:gd name="T56" fmla="*/ 1113 w 1153"/>
                    <a:gd name="T57" fmla="*/ 1073 h 1847"/>
                    <a:gd name="T58" fmla="*/ 1083 w 1153"/>
                    <a:gd name="T59" fmla="*/ 967 h 1847"/>
                    <a:gd name="T60" fmla="*/ 1044 w 1153"/>
                    <a:gd name="T61" fmla="*/ 862 h 1847"/>
                    <a:gd name="T62" fmla="*/ 997 w 1153"/>
                    <a:gd name="T63" fmla="*/ 759 h 1847"/>
                    <a:gd name="T64" fmla="*/ 940 w 1153"/>
                    <a:gd name="T65" fmla="*/ 659 h 1847"/>
                    <a:gd name="T66" fmla="*/ 877 w 1153"/>
                    <a:gd name="T67" fmla="*/ 565 h 1847"/>
                    <a:gd name="T68" fmla="*/ 807 w 1153"/>
                    <a:gd name="T69" fmla="*/ 476 h 1847"/>
                    <a:gd name="T70" fmla="*/ 731 w 1153"/>
                    <a:gd name="T71" fmla="*/ 394 h 1847"/>
                    <a:gd name="T72" fmla="*/ 650 w 1153"/>
                    <a:gd name="T73" fmla="*/ 318 h 1847"/>
                    <a:gd name="T74" fmla="*/ 564 w 1153"/>
                    <a:gd name="T75" fmla="*/ 248 h 1847"/>
                    <a:gd name="T76" fmla="*/ 472 w 1153"/>
                    <a:gd name="T77" fmla="*/ 185 h 1847"/>
                    <a:gd name="T78" fmla="*/ 378 w 1153"/>
                    <a:gd name="T79" fmla="*/ 127 h 1847"/>
                    <a:gd name="T80" fmla="*/ 279 w 1153"/>
                    <a:gd name="T81" fmla="*/ 78 h 1847"/>
                    <a:gd name="T82" fmla="*/ 177 w 1153"/>
                    <a:gd name="T83" fmla="*/ 35 h 1847"/>
                    <a:gd name="T84" fmla="*/ 71 w 1153"/>
                    <a:gd name="T85" fmla="*/ 0 h 18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7" name="Freeform 230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17 w 1849"/>
                    <a:gd name="T1" fmla="*/ 105 h 1185"/>
                    <a:gd name="T2" fmla="*/ 50 w 1849"/>
                    <a:gd name="T3" fmla="*/ 206 h 1185"/>
                    <a:gd name="T4" fmla="*/ 91 w 1849"/>
                    <a:gd name="T5" fmla="*/ 304 h 1185"/>
                    <a:gd name="T6" fmla="*/ 141 w 1849"/>
                    <a:gd name="T7" fmla="*/ 400 h 1185"/>
                    <a:gd name="T8" fmla="*/ 196 w 1849"/>
                    <a:gd name="T9" fmla="*/ 493 h 1185"/>
                    <a:gd name="T10" fmla="*/ 260 w 1849"/>
                    <a:gd name="T11" fmla="*/ 582 h 1185"/>
                    <a:gd name="T12" fmla="*/ 330 w 1849"/>
                    <a:gd name="T13" fmla="*/ 667 h 1185"/>
                    <a:gd name="T14" fmla="*/ 407 w 1849"/>
                    <a:gd name="T15" fmla="*/ 747 h 1185"/>
                    <a:gd name="T16" fmla="*/ 492 w 1849"/>
                    <a:gd name="T17" fmla="*/ 822 h 1185"/>
                    <a:gd name="T18" fmla="*/ 584 w 1849"/>
                    <a:gd name="T19" fmla="*/ 892 h 1185"/>
                    <a:gd name="T20" fmla="*/ 682 w 1849"/>
                    <a:gd name="T21" fmla="*/ 956 h 1185"/>
                    <a:gd name="T22" fmla="*/ 785 w 1849"/>
                    <a:gd name="T23" fmla="*/ 1013 h 1185"/>
                    <a:gd name="T24" fmla="*/ 890 w 1849"/>
                    <a:gd name="T25" fmla="*/ 1062 h 1185"/>
                    <a:gd name="T26" fmla="*/ 998 w 1849"/>
                    <a:gd name="T27" fmla="*/ 1102 h 1185"/>
                    <a:gd name="T28" fmla="*/ 1108 w 1849"/>
                    <a:gd name="T29" fmla="*/ 1134 h 1185"/>
                    <a:gd name="T30" fmla="*/ 1218 w 1849"/>
                    <a:gd name="T31" fmla="*/ 1159 h 1185"/>
                    <a:gd name="T32" fmla="*/ 1330 w 1849"/>
                    <a:gd name="T33" fmla="*/ 1175 h 1185"/>
                    <a:gd name="T34" fmla="*/ 1443 w 1849"/>
                    <a:gd name="T35" fmla="*/ 1183 h 1185"/>
                    <a:gd name="T36" fmla="*/ 1554 w 1849"/>
                    <a:gd name="T37" fmla="*/ 1184 h 1185"/>
                    <a:gd name="T38" fmla="*/ 1666 w 1849"/>
                    <a:gd name="T39" fmla="*/ 1177 h 1185"/>
                    <a:gd name="T40" fmla="*/ 1776 w 1849"/>
                    <a:gd name="T41" fmla="*/ 1163 h 1185"/>
                    <a:gd name="T42" fmla="*/ 1840 w 1849"/>
                    <a:gd name="T43" fmla="*/ 1114 h 1185"/>
                    <a:gd name="T44" fmla="*/ 1810 w 1849"/>
                    <a:gd name="T45" fmla="*/ 1013 h 1185"/>
                    <a:gd name="T46" fmla="*/ 1771 w 1849"/>
                    <a:gd name="T47" fmla="*/ 913 h 1185"/>
                    <a:gd name="T48" fmla="*/ 1725 w 1849"/>
                    <a:gd name="T49" fmla="*/ 816 h 1185"/>
                    <a:gd name="T50" fmla="*/ 1671 w 1849"/>
                    <a:gd name="T51" fmla="*/ 723 h 1185"/>
                    <a:gd name="T52" fmla="*/ 1611 w 1849"/>
                    <a:gd name="T53" fmla="*/ 632 h 1185"/>
                    <a:gd name="T54" fmla="*/ 1543 w 1849"/>
                    <a:gd name="T55" fmla="*/ 546 h 1185"/>
                    <a:gd name="T56" fmla="*/ 1468 w 1849"/>
                    <a:gd name="T57" fmla="*/ 464 h 1185"/>
                    <a:gd name="T58" fmla="*/ 1385 w 1849"/>
                    <a:gd name="T59" fmla="*/ 387 h 1185"/>
                    <a:gd name="T60" fmla="*/ 1296 w 1849"/>
                    <a:gd name="T61" fmla="*/ 315 h 1185"/>
                    <a:gd name="T62" fmla="*/ 1200 w 1849"/>
                    <a:gd name="T63" fmla="*/ 249 h 1185"/>
                    <a:gd name="T64" fmla="*/ 1098 w 1849"/>
                    <a:gd name="T65" fmla="*/ 190 h 1185"/>
                    <a:gd name="T66" fmla="*/ 993 w 1849"/>
                    <a:gd name="T67" fmla="*/ 138 h 1185"/>
                    <a:gd name="T68" fmla="*/ 886 w 1849"/>
                    <a:gd name="T69" fmla="*/ 95 h 1185"/>
                    <a:gd name="T70" fmla="*/ 777 w 1849"/>
                    <a:gd name="T71" fmla="*/ 60 h 1185"/>
                    <a:gd name="T72" fmla="*/ 667 w 1849"/>
                    <a:gd name="T73" fmla="*/ 33 h 1185"/>
                    <a:gd name="T74" fmla="*/ 555 w 1849"/>
                    <a:gd name="T75" fmla="*/ 14 h 1185"/>
                    <a:gd name="T76" fmla="*/ 443 w 1849"/>
                    <a:gd name="T77" fmla="*/ 3 h 1185"/>
                    <a:gd name="T78" fmla="*/ 331 w 1849"/>
                    <a:gd name="T79" fmla="*/ 0 h 1185"/>
                    <a:gd name="T80" fmla="*/ 220 w 1849"/>
                    <a:gd name="T81" fmla="*/ 5 h 1185"/>
                    <a:gd name="T82" fmla="*/ 109 w 1849"/>
                    <a:gd name="T83" fmla="*/ 17 h 1185"/>
                    <a:gd name="T84" fmla="*/ 0 w 1849"/>
                    <a:gd name="T85" fmla="*/ 36 h 1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8" name="Freeform 231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34 w 2066"/>
                    <a:gd name="T1" fmla="*/ 208 h 979"/>
                    <a:gd name="T2" fmla="*/ 91 w 2066"/>
                    <a:gd name="T3" fmla="*/ 299 h 979"/>
                    <a:gd name="T4" fmla="*/ 154 w 2066"/>
                    <a:gd name="T5" fmla="*/ 387 h 979"/>
                    <a:gd name="T6" fmla="*/ 224 w 2066"/>
                    <a:gd name="T7" fmla="*/ 470 h 979"/>
                    <a:gd name="T8" fmla="*/ 300 w 2066"/>
                    <a:gd name="T9" fmla="*/ 548 h 979"/>
                    <a:gd name="T10" fmla="*/ 383 w 2066"/>
                    <a:gd name="T11" fmla="*/ 621 h 979"/>
                    <a:gd name="T12" fmla="*/ 472 w 2066"/>
                    <a:gd name="T13" fmla="*/ 689 h 979"/>
                    <a:gd name="T14" fmla="*/ 566 w 2066"/>
                    <a:gd name="T15" fmla="*/ 750 h 979"/>
                    <a:gd name="T16" fmla="*/ 666 w 2066"/>
                    <a:gd name="T17" fmla="*/ 806 h 979"/>
                    <a:gd name="T18" fmla="*/ 772 w 2066"/>
                    <a:gd name="T19" fmla="*/ 854 h 979"/>
                    <a:gd name="T20" fmla="*/ 883 w 2066"/>
                    <a:gd name="T21" fmla="*/ 896 h 979"/>
                    <a:gd name="T22" fmla="*/ 997 w 2066"/>
                    <a:gd name="T23" fmla="*/ 929 h 979"/>
                    <a:gd name="T24" fmla="*/ 1112 w 2066"/>
                    <a:gd name="T25" fmla="*/ 954 h 979"/>
                    <a:gd name="T26" fmla="*/ 1226 w 2066"/>
                    <a:gd name="T27" fmla="*/ 970 h 979"/>
                    <a:gd name="T28" fmla="*/ 1340 w 2066"/>
                    <a:gd name="T29" fmla="*/ 979 h 979"/>
                    <a:gd name="T30" fmla="*/ 1455 w 2066"/>
                    <a:gd name="T31" fmla="*/ 978 h 979"/>
                    <a:gd name="T32" fmla="*/ 1567 w 2066"/>
                    <a:gd name="T33" fmla="*/ 970 h 979"/>
                    <a:gd name="T34" fmla="*/ 1678 w 2066"/>
                    <a:gd name="T35" fmla="*/ 955 h 979"/>
                    <a:gd name="T36" fmla="*/ 1787 w 2066"/>
                    <a:gd name="T37" fmla="*/ 931 h 979"/>
                    <a:gd name="T38" fmla="*/ 1895 w 2066"/>
                    <a:gd name="T39" fmla="*/ 901 h 979"/>
                    <a:gd name="T40" fmla="*/ 1999 w 2066"/>
                    <a:gd name="T41" fmla="*/ 863 h 979"/>
                    <a:gd name="T42" fmla="*/ 2049 w 2066"/>
                    <a:gd name="T43" fmla="*/ 803 h 979"/>
                    <a:gd name="T44" fmla="*/ 1996 w 2066"/>
                    <a:gd name="T45" fmla="*/ 710 h 979"/>
                    <a:gd name="T46" fmla="*/ 1935 w 2066"/>
                    <a:gd name="T47" fmla="*/ 621 h 979"/>
                    <a:gd name="T48" fmla="*/ 1866 w 2066"/>
                    <a:gd name="T49" fmla="*/ 537 h 979"/>
                    <a:gd name="T50" fmla="*/ 1793 w 2066"/>
                    <a:gd name="T51" fmla="*/ 457 h 979"/>
                    <a:gd name="T52" fmla="*/ 1712 w 2066"/>
                    <a:gd name="T53" fmla="*/ 382 h 979"/>
                    <a:gd name="T54" fmla="*/ 1625 w 2066"/>
                    <a:gd name="T55" fmla="*/ 312 h 979"/>
                    <a:gd name="T56" fmla="*/ 1533 w 2066"/>
                    <a:gd name="T57" fmla="*/ 249 h 979"/>
                    <a:gd name="T58" fmla="*/ 1434 w 2066"/>
                    <a:gd name="T59" fmla="*/ 191 h 979"/>
                    <a:gd name="T60" fmla="*/ 1331 w 2066"/>
                    <a:gd name="T61" fmla="*/ 140 h 979"/>
                    <a:gd name="T62" fmla="*/ 1221 w 2066"/>
                    <a:gd name="T63" fmla="*/ 96 h 979"/>
                    <a:gd name="T64" fmla="*/ 1107 w 2066"/>
                    <a:gd name="T65" fmla="*/ 60 h 979"/>
                    <a:gd name="T66" fmla="*/ 993 w 2066"/>
                    <a:gd name="T67" fmla="*/ 32 h 979"/>
                    <a:gd name="T68" fmla="*/ 879 w 2066"/>
                    <a:gd name="T69" fmla="*/ 13 h 979"/>
                    <a:gd name="T70" fmla="*/ 764 w 2066"/>
                    <a:gd name="T71" fmla="*/ 3 h 979"/>
                    <a:gd name="T72" fmla="*/ 650 w 2066"/>
                    <a:gd name="T73" fmla="*/ 0 h 979"/>
                    <a:gd name="T74" fmla="*/ 537 w 2066"/>
                    <a:gd name="T75" fmla="*/ 5 h 979"/>
                    <a:gd name="T76" fmla="*/ 425 w 2066"/>
                    <a:gd name="T77" fmla="*/ 18 h 979"/>
                    <a:gd name="T78" fmla="*/ 315 w 2066"/>
                    <a:gd name="T79" fmla="*/ 39 h 979"/>
                    <a:gd name="T80" fmla="*/ 208 w 2066"/>
                    <a:gd name="T81" fmla="*/ 67 h 979"/>
                    <a:gd name="T82" fmla="*/ 102 w 2066"/>
                    <a:gd name="T83" fmla="*/ 103 h 979"/>
                    <a:gd name="T84" fmla="*/ 0 w 2066"/>
                    <a:gd name="T85" fmla="*/ 145 h 9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19" name="Freeform 232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4"/>
                </a:xfrm>
                <a:custGeom>
                  <a:avLst/>
                  <a:gdLst>
                    <a:gd name="T0" fmla="*/ 45 w 2160"/>
                    <a:gd name="T1" fmla="*/ 331 h 889"/>
                    <a:gd name="T2" fmla="*/ 117 w 2160"/>
                    <a:gd name="T3" fmla="*/ 412 h 889"/>
                    <a:gd name="T4" fmla="*/ 195 w 2160"/>
                    <a:gd name="T5" fmla="*/ 487 h 889"/>
                    <a:gd name="T6" fmla="*/ 279 w 2160"/>
                    <a:gd name="T7" fmla="*/ 557 h 889"/>
                    <a:gd name="T8" fmla="*/ 369 w 2160"/>
                    <a:gd name="T9" fmla="*/ 622 h 889"/>
                    <a:gd name="T10" fmla="*/ 463 w 2160"/>
                    <a:gd name="T11" fmla="*/ 681 h 889"/>
                    <a:gd name="T12" fmla="*/ 563 w 2160"/>
                    <a:gd name="T13" fmla="*/ 733 h 889"/>
                    <a:gd name="T14" fmla="*/ 668 w 2160"/>
                    <a:gd name="T15" fmla="*/ 778 h 889"/>
                    <a:gd name="T16" fmla="*/ 776 w 2160"/>
                    <a:gd name="T17" fmla="*/ 816 h 889"/>
                    <a:gd name="T18" fmla="*/ 890 w 2160"/>
                    <a:gd name="T19" fmla="*/ 846 h 889"/>
                    <a:gd name="T20" fmla="*/ 1007 w 2160"/>
                    <a:gd name="T21" fmla="*/ 869 h 889"/>
                    <a:gd name="T22" fmla="*/ 1124 w 2160"/>
                    <a:gd name="T23" fmla="*/ 883 h 889"/>
                    <a:gd name="T24" fmla="*/ 1241 w 2160"/>
                    <a:gd name="T25" fmla="*/ 889 h 889"/>
                    <a:gd name="T26" fmla="*/ 1358 w 2160"/>
                    <a:gd name="T27" fmla="*/ 886 h 889"/>
                    <a:gd name="T28" fmla="*/ 1472 w 2160"/>
                    <a:gd name="T29" fmla="*/ 875 h 889"/>
                    <a:gd name="T30" fmla="*/ 1584 w 2160"/>
                    <a:gd name="T31" fmla="*/ 857 h 889"/>
                    <a:gd name="T32" fmla="*/ 1694 w 2160"/>
                    <a:gd name="T33" fmla="*/ 830 h 889"/>
                    <a:gd name="T34" fmla="*/ 1800 w 2160"/>
                    <a:gd name="T35" fmla="*/ 797 h 889"/>
                    <a:gd name="T36" fmla="*/ 1903 w 2160"/>
                    <a:gd name="T37" fmla="*/ 756 h 889"/>
                    <a:gd name="T38" fmla="*/ 2003 w 2160"/>
                    <a:gd name="T39" fmla="*/ 708 h 889"/>
                    <a:gd name="T40" fmla="*/ 2099 w 2160"/>
                    <a:gd name="T41" fmla="*/ 654 h 889"/>
                    <a:gd name="T42" fmla="*/ 2138 w 2160"/>
                    <a:gd name="T43" fmla="*/ 586 h 889"/>
                    <a:gd name="T44" fmla="*/ 2069 w 2160"/>
                    <a:gd name="T45" fmla="*/ 503 h 889"/>
                    <a:gd name="T46" fmla="*/ 1992 w 2160"/>
                    <a:gd name="T47" fmla="*/ 426 h 889"/>
                    <a:gd name="T48" fmla="*/ 1910 w 2160"/>
                    <a:gd name="T49" fmla="*/ 354 h 889"/>
                    <a:gd name="T50" fmla="*/ 1822 w 2160"/>
                    <a:gd name="T51" fmla="*/ 287 h 889"/>
                    <a:gd name="T52" fmla="*/ 1729 w 2160"/>
                    <a:gd name="T53" fmla="*/ 227 h 889"/>
                    <a:gd name="T54" fmla="*/ 1631 w 2160"/>
                    <a:gd name="T55" fmla="*/ 173 h 889"/>
                    <a:gd name="T56" fmla="*/ 1528 w 2160"/>
                    <a:gd name="T57" fmla="*/ 125 h 889"/>
                    <a:gd name="T58" fmla="*/ 1420 w 2160"/>
                    <a:gd name="T59" fmla="*/ 85 h 889"/>
                    <a:gd name="T60" fmla="*/ 1310 w 2160"/>
                    <a:gd name="T61" fmla="*/ 51 h 889"/>
                    <a:gd name="T62" fmla="*/ 1194 w 2160"/>
                    <a:gd name="T63" fmla="*/ 26 h 889"/>
                    <a:gd name="T64" fmla="*/ 1075 w 2160"/>
                    <a:gd name="T65" fmla="*/ 9 h 889"/>
                    <a:gd name="T66" fmla="*/ 958 w 2160"/>
                    <a:gd name="T67" fmla="*/ 0 h 889"/>
                    <a:gd name="T68" fmla="*/ 841 w 2160"/>
                    <a:gd name="T69" fmla="*/ 0 h 889"/>
                    <a:gd name="T70" fmla="*/ 727 w 2160"/>
                    <a:gd name="T71" fmla="*/ 9 h 889"/>
                    <a:gd name="T72" fmla="*/ 614 w 2160"/>
                    <a:gd name="T73" fmla="*/ 25 h 889"/>
                    <a:gd name="T74" fmla="*/ 503 w 2160"/>
                    <a:gd name="T75" fmla="*/ 49 h 889"/>
                    <a:gd name="T76" fmla="*/ 396 w 2160"/>
                    <a:gd name="T77" fmla="*/ 80 h 889"/>
                    <a:gd name="T78" fmla="*/ 291 w 2160"/>
                    <a:gd name="T79" fmla="*/ 119 h 889"/>
                    <a:gd name="T80" fmla="*/ 190 w 2160"/>
                    <a:gd name="T81" fmla="*/ 164 h 889"/>
                    <a:gd name="T82" fmla="*/ 93 w 2160"/>
                    <a:gd name="T83" fmla="*/ 216 h 889"/>
                    <a:gd name="T84" fmla="*/ 0 w 2160"/>
                    <a:gd name="T85" fmla="*/ 274 h 8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20" name="Freeform 233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3" cy="46"/>
                </a:xfrm>
                <a:custGeom>
                  <a:avLst/>
                  <a:gdLst>
                    <a:gd name="T0" fmla="*/ 66 w 2113"/>
                    <a:gd name="T1" fmla="*/ 774 h 936"/>
                    <a:gd name="T2" fmla="*/ 166 w 2113"/>
                    <a:gd name="T3" fmla="*/ 819 h 936"/>
                    <a:gd name="T4" fmla="*/ 271 w 2113"/>
                    <a:gd name="T5" fmla="*/ 857 h 936"/>
                    <a:gd name="T6" fmla="*/ 378 w 2113"/>
                    <a:gd name="T7" fmla="*/ 888 h 936"/>
                    <a:gd name="T8" fmla="*/ 488 w 2113"/>
                    <a:gd name="T9" fmla="*/ 911 h 936"/>
                    <a:gd name="T10" fmla="*/ 600 w 2113"/>
                    <a:gd name="T11" fmla="*/ 927 h 936"/>
                    <a:gd name="T12" fmla="*/ 713 w 2113"/>
                    <a:gd name="T13" fmla="*/ 935 h 936"/>
                    <a:gd name="T14" fmla="*/ 828 w 2113"/>
                    <a:gd name="T15" fmla="*/ 935 h 936"/>
                    <a:gd name="T16" fmla="*/ 943 w 2113"/>
                    <a:gd name="T17" fmla="*/ 926 h 936"/>
                    <a:gd name="T18" fmla="*/ 1060 w 2113"/>
                    <a:gd name="T19" fmla="*/ 910 h 936"/>
                    <a:gd name="T20" fmla="*/ 1175 w 2113"/>
                    <a:gd name="T21" fmla="*/ 884 h 936"/>
                    <a:gd name="T22" fmla="*/ 1289 w 2113"/>
                    <a:gd name="T23" fmla="*/ 850 h 936"/>
                    <a:gd name="T24" fmla="*/ 1398 w 2113"/>
                    <a:gd name="T25" fmla="*/ 809 h 936"/>
                    <a:gd name="T26" fmla="*/ 1503 w 2113"/>
                    <a:gd name="T27" fmla="*/ 761 h 936"/>
                    <a:gd name="T28" fmla="*/ 1602 w 2113"/>
                    <a:gd name="T29" fmla="*/ 706 h 936"/>
                    <a:gd name="T30" fmla="*/ 1695 w 2113"/>
                    <a:gd name="T31" fmla="*/ 644 h 936"/>
                    <a:gd name="T32" fmla="*/ 1784 w 2113"/>
                    <a:gd name="T33" fmla="*/ 577 h 936"/>
                    <a:gd name="T34" fmla="*/ 1866 w 2113"/>
                    <a:gd name="T35" fmla="*/ 504 h 936"/>
                    <a:gd name="T36" fmla="*/ 1942 w 2113"/>
                    <a:gd name="T37" fmla="*/ 425 h 936"/>
                    <a:gd name="T38" fmla="*/ 2011 w 2113"/>
                    <a:gd name="T39" fmla="*/ 343 h 936"/>
                    <a:gd name="T40" fmla="*/ 2075 w 2113"/>
                    <a:gd name="T41" fmla="*/ 255 h 936"/>
                    <a:gd name="T42" fmla="*/ 2080 w 2113"/>
                    <a:gd name="T43" fmla="*/ 178 h 936"/>
                    <a:gd name="T44" fmla="*/ 1980 w 2113"/>
                    <a:gd name="T45" fmla="*/ 131 h 936"/>
                    <a:gd name="T46" fmla="*/ 1877 w 2113"/>
                    <a:gd name="T47" fmla="*/ 91 h 936"/>
                    <a:gd name="T48" fmla="*/ 1771 w 2113"/>
                    <a:gd name="T49" fmla="*/ 57 h 936"/>
                    <a:gd name="T50" fmla="*/ 1663 w 2113"/>
                    <a:gd name="T51" fmla="*/ 32 h 936"/>
                    <a:gd name="T52" fmla="*/ 1551 w 2113"/>
                    <a:gd name="T53" fmla="*/ 13 h 936"/>
                    <a:gd name="T54" fmla="*/ 1438 w 2113"/>
                    <a:gd name="T55" fmla="*/ 3 h 936"/>
                    <a:gd name="T56" fmla="*/ 1324 w 2113"/>
                    <a:gd name="T57" fmla="*/ 0 h 936"/>
                    <a:gd name="T58" fmla="*/ 1209 w 2113"/>
                    <a:gd name="T59" fmla="*/ 6 h 936"/>
                    <a:gd name="T60" fmla="*/ 1093 w 2113"/>
                    <a:gd name="T61" fmla="*/ 20 h 936"/>
                    <a:gd name="T62" fmla="*/ 976 w 2113"/>
                    <a:gd name="T63" fmla="*/ 42 h 936"/>
                    <a:gd name="T64" fmla="*/ 862 w 2113"/>
                    <a:gd name="T65" fmla="*/ 73 h 936"/>
                    <a:gd name="T66" fmla="*/ 751 w 2113"/>
                    <a:gd name="T67" fmla="*/ 112 h 936"/>
                    <a:gd name="T68" fmla="*/ 645 w 2113"/>
                    <a:gd name="T69" fmla="*/ 158 h 936"/>
                    <a:gd name="T70" fmla="*/ 544 w 2113"/>
                    <a:gd name="T71" fmla="*/ 211 h 936"/>
                    <a:gd name="T72" fmla="*/ 449 w 2113"/>
                    <a:gd name="T73" fmla="*/ 270 h 936"/>
                    <a:gd name="T74" fmla="*/ 359 w 2113"/>
                    <a:gd name="T75" fmla="*/ 336 h 936"/>
                    <a:gd name="T76" fmla="*/ 274 w 2113"/>
                    <a:gd name="T77" fmla="*/ 407 h 936"/>
                    <a:gd name="T78" fmla="*/ 196 w 2113"/>
                    <a:gd name="T79" fmla="*/ 483 h 936"/>
                    <a:gd name="T80" fmla="*/ 125 w 2113"/>
                    <a:gd name="T81" fmla="*/ 565 h 936"/>
                    <a:gd name="T82" fmla="*/ 59 w 2113"/>
                    <a:gd name="T83" fmla="*/ 651 h 936"/>
                    <a:gd name="T84" fmla="*/ 0 w 2113"/>
                    <a:gd name="T85" fmla="*/ 741 h 9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21" name="Freeform 234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72 w 1964"/>
                    <a:gd name="T1" fmla="*/ 1020 h 1077"/>
                    <a:gd name="T2" fmla="*/ 179 w 1964"/>
                    <a:gd name="T3" fmla="*/ 1045 h 1077"/>
                    <a:gd name="T4" fmla="*/ 289 w 1964"/>
                    <a:gd name="T5" fmla="*/ 1063 h 1077"/>
                    <a:gd name="T6" fmla="*/ 401 w 1964"/>
                    <a:gd name="T7" fmla="*/ 1074 h 1077"/>
                    <a:gd name="T8" fmla="*/ 513 w 1964"/>
                    <a:gd name="T9" fmla="*/ 1077 h 1077"/>
                    <a:gd name="T10" fmla="*/ 626 w 1964"/>
                    <a:gd name="T11" fmla="*/ 1072 h 1077"/>
                    <a:gd name="T12" fmla="*/ 739 w 1964"/>
                    <a:gd name="T13" fmla="*/ 1059 h 1077"/>
                    <a:gd name="T14" fmla="*/ 851 w 1964"/>
                    <a:gd name="T15" fmla="*/ 1038 h 1077"/>
                    <a:gd name="T16" fmla="*/ 963 w 1964"/>
                    <a:gd name="T17" fmla="*/ 1009 h 1077"/>
                    <a:gd name="T18" fmla="*/ 1073 w 1964"/>
                    <a:gd name="T19" fmla="*/ 971 h 1077"/>
                    <a:gd name="T20" fmla="*/ 1182 w 1964"/>
                    <a:gd name="T21" fmla="*/ 925 h 1077"/>
                    <a:gd name="T22" fmla="*/ 1287 w 1964"/>
                    <a:gd name="T23" fmla="*/ 871 h 1077"/>
                    <a:gd name="T24" fmla="*/ 1386 w 1964"/>
                    <a:gd name="T25" fmla="*/ 810 h 1077"/>
                    <a:gd name="T26" fmla="*/ 1479 w 1964"/>
                    <a:gd name="T27" fmla="*/ 744 h 1077"/>
                    <a:gd name="T28" fmla="*/ 1564 w 1964"/>
                    <a:gd name="T29" fmla="*/ 672 h 1077"/>
                    <a:gd name="T30" fmla="*/ 1644 w 1964"/>
                    <a:gd name="T31" fmla="*/ 595 h 1077"/>
                    <a:gd name="T32" fmla="*/ 1717 w 1964"/>
                    <a:gd name="T33" fmla="*/ 512 h 1077"/>
                    <a:gd name="T34" fmla="*/ 1783 w 1964"/>
                    <a:gd name="T35" fmla="*/ 426 h 1077"/>
                    <a:gd name="T36" fmla="*/ 1842 w 1964"/>
                    <a:gd name="T37" fmla="*/ 336 h 1077"/>
                    <a:gd name="T38" fmla="*/ 1893 w 1964"/>
                    <a:gd name="T39" fmla="*/ 242 h 1077"/>
                    <a:gd name="T40" fmla="*/ 1938 w 1964"/>
                    <a:gd name="T41" fmla="*/ 144 h 1077"/>
                    <a:gd name="T42" fmla="*/ 1928 w 1964"/>
                    <a:gd name="T43" fmla="*/ 67 h 1077"/>
                    <a:gd name="T44" fmla="*/ 1821 w 1964"/>
                    <a:gd name="T45" fmla="*/ 39 h 1077"/>
                    <a:gd name="T46" fmla="*/ 1711 w 1964"/>
                    <a:gd name="T47" fmla="*/ 19 h 1077"/>
                    <a:gd name="T48" fmla="*/ 1600 w 1964"/>
                    <a:gd name="T49" fmla="*/ 6 h 1077"/>
                    <a:gd name="T50" fmla="*/ 1488 w 1964"/>
                    <a:gd name="T51" fmla="*/ 0 h 1077"/>
                    <a:gd name="T52" fmla="*/ 1376 w 1964"/>
                    <a:gd name="T53" fmla="*/ 2 h 1077"/>
                    <a:gd name="T54" fmla="*/ 1262 w 1964"/>
                    <a:gd name="T55" fmla="*/ 13 h 1077"/>
                    <a:gd name="T56" fmla="*/ 1149 w 1964"/>
                    <a:gd name="T57" fmla="*/ 31 h 1077"/>
                    <a:gd name="T58" fmla="*/ 1038 w 1964"/>
                    <a:gd name="T59" fmla="*/ 58 h 1077"/>
                    <a:gd name="T60" fmla="*/ 926 w 1964"/>
                    <a:gd name="T61" fmla="*/ 93 h 1077"/>
                    <a:gd name="T62" fmla="*/ 817 w 1964"/>
                    <a:gd name="T63" fmla="*/ 136 h 1077"/>
                    <a:gd name="T64" fmla="*/ 710 w 1964"/>
                    <a:gd name="T65" fmla="*/ 187 h 1077"/>
                    <a:gd name="T66" fmla="*/ 609 w 1964"/>
                    <a:gd name="T67" fmla="*/ 246 h 1077"/>
                    <a:gd name="T68" fmla="*/ 516 w 1964"/>
                    <a:gd name="T69" fmla="*/ 310 h 1077"/>
                    <a:gd name="T70" fmla="*/ 427 w 1964"/>
                    <a:gd name="T71" fmla="*/ 381 h 1077"/>
                    <a:gd name="T72" fmla="*/ 345 w 1964"/>
                    <a:gd name="T73" fmla="*/ 456 h 1077"/>
                    <a:gd name="T74" fmla="*/ 270 w 1964"/>
                    <a:gd name="T75" fmla="*/ 537 h 1077"/>
                    <a:gd name="T76" fmla="*/ 202 w 1964"/>
                    <a:gd name="T77" fmla="*/ 622 h 1077"/>
                    <a:gd name="T78" fmla="*/ 141 w 1964"/>
                    <a:gd name="T79" fmla="*/ 711 h 1077"/>
                    <a:gd name="T80" fmla="*/ 86 w 1964"/>
                    <a:gd name="T81" fmla="*/ 804 h 1077"/>
                    <a:gd name="T82" fmla="*/ 40 w 1964"/>
                    <a:gd name="T83" fmla="*/ 900 h 1077"/>
                    <a:gd name="T84" fmla="*/ 0 w 1964"/>
                    <a:gd name="T85" fmla="*/ 999 h 10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22" name="Freeform 235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104 w 1272"/>
                    <a:gd name="T1" fmla="*/ 1720 h 1736"/>
                    <a:gd name="T2" fmla="*/ 211 w 1272"/>
                    <a:gd name="T3" fmla="*/ 1690 h 1736"/>
                    <a:gd name="T4" fmla="*/ 315 w 1272"/>
                    <a:gd name="T5" fmla="*/ 1653 h 1736"/>
                    <a:gd name="T6" fmla="*/ 417 w 1272"/>
                    <a:gd name="T7" fmla="*/ 1609 h 1736"/>
                    <a:gd name="T8" fmla="*/ 516 w 1272"/>
                    <a:gd name="T9" fmla="*/ 1558 h 1736"/>
                    <a:gd name="T10" fmla="*/ 611 w 1272"/>
                    <a:gd name="T11" fmla="*/ 1500 h 1736"/>
                    <a:gd name="T12" fmla="*/ 701 w 1272"/>
                    <a:gd name="T13" fmla="*/ 1434 h 1736"/>
                    <a:gd name="T14" fmla="*/ 788 w 1272"/>
                    <a:gd name="T15" fmla="*/ 1362 h 1736"/>
                    <a:gd name="T16" fmla="*/ 869 w 1272"/>
                    <a:gd name="T17" fmla="*/ 1283 h 1736"/>
                    <a:gd name="T18" fmla="*/ 944 w 1272"/>
                    <a:gd name="T19" fmla="*/ 1197 h 1736"/>
                    <a:gd name="T20" fmla="*/ 1014 w 1272"/>
                    <a:gd name="T21" fmla="*/ 1105 h 1736"/>
                    <a:gd name="T22" fmla="*/ 1076 w 1272"/>
                    <a:gd name="T23" fmla="*/ 1009 h 1736"/>
                    <a:gd name="T24" fmla="*/ 1130 w 1272"/>
                    <a:gd name="T25" fmla="*/ 909 h 1736"/>
                    <a:gd name="T26" fmla="*/ 1174 w 1272"/>
                    <a:gd name="T27" fmla="*/ 808 h 1736"/>
                    <a:gd name="T28" fmla="*/ 1210 w 1272"/>
                    <a:gd name="T29" fmla="*/ 704 h 1736"/>
                    <a:gd name="T30" fmla="*/ 1238 w 1272"/>
                    <a:gd name="T31" fmla="*/ 599 h 1736"/>
                    <a:gd name="T32" fmla="*/ 1257 w 1272"/>
                    <a:gd name="T33" fmla="*/ 494 h 1736"/>
                    <a:gd name="T34" fmla="*/ 1269 w 1272"/>
                    <a:gd name="T35" fmla="*/ 387 h 1736"/>
                    <a:gd name="T36" fmla="*/ 1272 w 1272"/>
                    <a:gd name="T37" fmla="*/ 281 h 1736"/>
                    <a:gd name="T38" fmla="*/ 1267 w 1272"/>
                    <a:gd name="T39" fmla="*/ 175 h 1736"/>
                    <a:gd name="T40" fmla="*/ 1254 w 1272"/>
                    <a:gd name="T41" fmla="*/ 70 h 1736"/>
                    <a:gd name="T42" fmla="*/ 1204 w 1272"/>
                    <a:gd name="T43" fmla="*/ 8 h 1736"/>
                    <a:gd name="T44" fmla="*/ 1097 w 1272"/>
                    <a:gd name="T45" fmla="*/ 35 h 1736"/>
                    <a:gd name="T46" fmla="*/ 991 w 1272"/>
                    <a:gd name="T47" fmla="*/ 70 h 1736"/>
                    <a:gd name="T48" fmla="*/ 889 w 1272"/>
                    <a:gd name="T49" fmla="*/ 111 h 1736"/>
                    <a:gd name="T50" fmla="*/ 789 w 1272"/>
                    <a:gd name="T51" fmla="*/ 160 h 1736"/>
                    <a:gd name="T52" fmla="*/ 692 w 1272"/>
                    <a:gd name="T53" fmla="*/ 216 h 1736"/>
                    <a:gd name="T54" fmla="*/ 600 w 1272"/>
                    <a:gd name="T55" fmla="*/ 279 h 1736"/>
                    <a:gd name="T56" fmla="*/ 512 w 1272"/>
                    <a:gd name="T57" fmla="*/ 349 h 1736"/>
                    <a:gd name="T58" fmla="*/ 430 w 1272"/>
                    <a:gd name="T59" fmla="*/ 425 h 1736"/>
                    <a:gd name="T60" fmla="*/ 352 w 1272"/>
                    <a:gd name="T61" fmla="*/ 509 h 1736"/>
                    <a:gd name="T62" fmla="*/ 280 w 1272"/>
                    <a:gd name="T63" fmla="*/ 598 h 1736"/>
                    <a:gd name="T64" fmla="*/ 216 w 1272"/>
                    <a:gd name="T65" fmla="*/ 694 h 1736"/>
                    <a:gd name="T66" fmla="*/ 159 w 1272"/>
                    <a:gd name="T67" fmla="*/ 792 h 1736"/>
                    <a:gd name="T68" fmla="*/ 112 w 1272"/>
                    <a:gd name="T69" fmla="*/ 893 h 1736"/>
                    <a:gd name="T70" fmla="*/ 73 w 1272"/>
                    <a:gd name="T71" fmla="*/ 996 h 1736"/>
                    <a:gd name="T72" fmla="*/ 42 w 1272"/>
                    <a:gd name="T73" fmla="*/ 1101 h 1736"/>
                    <a:gd name="T74" fmla="*/ 20 w 1272"/>
                    <a:gd name="T75" fmla="*/ 1206 h 1736"/>
                    <a:gd name="T76" fmla="*/ 7 w 1272"/>
                    <a:gd name="T77" fmla="*/ 1312 h 1736"/>
                    <a:gd name="T78" fmla="*/ 0 w 1272"/>
                    <a:gd name="T79" fmla="*/ 1419 h 1736"/>
                    <a:gd name="T80" fmla="*/ 2 w 1272"/>
                    <a:gd name="T81" fmla="*/ 1526 h 1736"/>
                    <a:gd name="T82" fmla="*/ 13 w 1272"/>
                    <a:gd name="T83" fmla="*/ 1631 h 1736"/>
                    <a:gd name="T84" fmla="*/ 32 w 1272"/>
                    <a:gd name="T85" fmla="*/ 1736 h 17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23" name="Freeform 236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522 w 920"/>
                    <a:gd name="T1" fmla="*/ 46 h 2068"/>
                    <a:gd name="T2" fmla="*/ 441 w 920"/>
                    <a:gd name="T3" fmla="*/ 119 h 2068"/>
                    <a:gd name="T4" fmla="*/ 366 w 920"/>
                    <a:gd name="T5" fmla="*/ 197 h 2068"/>
                    <a:gd name="T6" fmla="*/ 297 w 920"/>
                    <a:gd name="T7" fmla="*/ 281 h 2068"/>
                    <a:gd name="T8" fmla="*/ 234 w 920"/>
                    <a:gd name="T9" fmla="*/ 369 h 2068"/>
                    <a:gd name="T10" fmla="*/ 178 w 920"/>
                    <a:gd name="T11" fmla="*/ 463 h 2068"/>
                    <a:gd name="T12" fmla="*/ 128 w 920"/>
                    <a:gd name="T13" fmla="*/ 560 h 2068"/>
                    <a:gd name="T14" fmla="*/ 86 w 920"/>
                    <a:gd name="T15" fmla="*/ 661 h 2068"/>
                    <a:gd name="T16" fmla="*/ 53 w 920"/>
                    <a:gd name="T17" fmla="*/ 767 h 2068"/>
                    <a:gd name="T18" fmla="*/ 26 w 920"/>
                    <a:gd name="T19" fmla="*/ 875 h 2068"/>
                    <a:gd name="T20" fmla="*/ 9 w 920"/>
                    <a:gd name="T21" fmla="*/ 987 h 2068"/>
                    <a:gd name="T22" fmla="*/ 1 w 920"/>
                    <a:gd name="T23" fmla="*/ 1100 h 2068"/>
                    <a:gd name="T24" fmla="*/ 1 w 920"/>
                    <a:gd name="T25" fmla="*/ 1212 h 2068"/>
                    <a:gd name="T26" fmla="*/ 10 w 920"/>
                    <a:gd name="T27" fmla="*/ 1322 h 2068"/>
                    <a:gd name="T28" fmla="*/ 28 w 920"/>
                    <a:gd name="T29" fmla="*/ 1430 h 2068"/>
                    <a:gd name="T30" fmla="*/ 54 w 920"/>
                    <a:gd name="T31" fmla="*/ 1535 h 2068"/>
                    <a:gd name="T32" fmla="*/ 87 w 920"/>
                    <a:gd name="T33" fmla="*/ 1637 h 2068"/>
                    <a:gd name="T34" fmla="*/ 128 w 920"/>
                    <a:gd name="T35" fmla="*/ 1737 h 2068"/>
                    <a:gd name="T36" fmla="*/ 178 w 920"/>
                    <a:gd name="T37" fmla="*/ 1832 h 2068"/>
                    <a:gd name="T38" fmla="*/ 233 w 920"/>
                    <a:gd name="T39" fmla="*/ 1924 h 2068"/>
                    <a:gd name="T40" fmla="*/ 296 w 920"/>
                    <a:gd name="T41" fmla="*/ 2012 h 2068"/>
                    <a:gd name="T42" fmla="*/ 369 w 920"/>
                    <a:gd name="T43" fmla="*/ 2046 h 2068"/>
                    <a:gd name="T44" fmla="*/ 451 w 920"/>
                    <a:gd name="T45" fmla="*/ 1975 h 2068"/>
                    <a:gd name="T46" fmla="*/ 528 w 920"/>
                    <a:gd name="T47" fmla="*/ 1898 h 2068"/>
                    <a:gd name="T48" fmla="*/ 600 w 920"/>
                    <a:gd name="T49" fmla="*/ 1816 h 2068"/>
                    <a:gd name="T50" fmla="*/ 665 w 920"/>
                    <a:gd name="T51" fmla="*/ 1730 h 2068"/>
                    <a:gd name="T52" fmla="*/ 724 w 920"/>
                    <a:gd name="T53" fmla="*/ 1638 h 2068"/>
                    <a:gd name="T54" fmla="*/ 776 w 920"/>
                    <a:gd name="T55" fmla="*/ 1542 h 2068"/>
                    <a:gd name="T56" fmla="*/ 820 w 920"/>
                    <a:gd name="T57" fmla="*/ 1442 h 2068"/>
                    <a:gd name="T58" fmla="*/ 857 w 920"/>
                    <a:gd name="T59" fmla="*/ 1338 h 2068"/>
                    <a:gd name="T60" fmla="*/ 885 w 920"/>
                    <a:gd name="T61" fmla="*/ 1230 h 2068"/>
                    <a:gd name="T62" fmla="*/ 905 w 920"/>
                    <a:gd name="T63" fmla="*/ 1119 h 2068"/>
                    <a:gd name="T64" fmla="*/ 917 w 920"/>
                    <a:gd name="T65" fmla="*/ 1006 h 2068"/>
                    <a:gd name="T66" fmla="*/ 919 w 920"/>
                    <a:gd name="T67" fmla="*/ 894 h 2068"/>
                    <a:gd name="T68" fmla="*/ 912 w 920"/>
                    <a:gd name="T69" fmla="*/ 783 h 2068"/>
                    <a:gd name="T70" fmla="*/ 898 w 920"/>
                    <a:gd name="T71" fmla="*/ 675 h 2068"/>
                    <a:gd name="T72" fmla="*/ 875 w 920"/>
                    <a:gd name="T73" fmla="*/ 569 h 2068"/>
                    <a:gd name="T74" fmla="*/ 844 w 920"/>
                    <a:gd name="T75" fmla="*/ 466 h 2068"/>
                    <a:gd name="T76" fmla="*/ 805 w 920"/>
                    <a:gd name="T77" fmla="*/ 365 h 2068"/>
                    <a:gd name="T78" fmla="*/ 759 w 920"/>
                    <a:gd name="T79" fmla="*/ 268 h 2068"/>
                    <a:gd name="T80" fmla="*/ 705 w 920"/>
                    <a:gd name="T81" fmla="*/ 175 h 2068"/>
                    <a:gd name="T82" fmla="*/ 645 w 920"/>
                    <a:gd name="T83" fmla="*/ 85 h 2068"/>
                    <a:gd name="T84" fmla="*/ 579 w 920"/>
                    <a:gd name="T85" fmla="*/ 0 h 20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24" name="Freeform 237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108 w 1252"/>
                    <a:gd name="T1" fmla="*/ 1736 h 1753"/>
                    <a:gd name="T2" fmla="*/ 214 w 1252"/>
                    <a:gd name="T3" fmla="*/ 1705 h 1753"/>
                    <a:gd name="T4" fmla="*/ 318 w 1252"/>
                    <a:gd name="T5" fmla="*/ 1667 h 1753"/>
                    <a:gd name="T6" fmla="*/ 419 w 1252"/>
                    <a:gd name="T7" fmla="*/ 1621 h 1753"/>
                    <a:gd name="T8" fmla="*/ 517 w 1252"/>
                    <a:gd name="T9" fmla="*/ 1568 h 1753"/>
                    <a:gd name="T10" fmla="*/ 611 w 1252"/>
                    <a:gd name="T11" fmla="*/ 1509 h 1753"/>
                    <a:gd name="T12" fmla="*/ 702 w 1252"/>
                    <a:gd name="T13" fmla="*/ 1441 h 1753"/>
                    <a:gd name="T14" fmla="*/ 786 w 1252"/>
                    <a:gd name="T15" fmla="*/ 1368 h 1753"/>
                    <a:gd name="T16" fmla="*/ 866 w 1252"/>
                    <a:gd name="T17" fmla="*/ 1288 h 1753"/>
                    <a:gd name="T18" fmla="*/ 940 w 1252"/>
                    <a:gd name="T19" fmla="*/ 1201 h 1753"/>
                    <a:gd name="T20" fmla="*/ 1008 w 1252"/>
                    <a:gd name="T21" fmla="*/ 1108 h 1753"/>
                    <a:gd name="T22" fmla="*/ 1069 w 1252"/>
                    <a:gd name="T23" fmla="*/ 1011 h 1753"/>
                    <a:gd name="T24" fmla="*/ 1120 w 1252"/>
                    <a:gd name="T25" fmla="*/ 911 h 1753"/>
                    <a:gd name="T26" fmla="*/ 1164 w 1252"/>
                    <a:gd name="T27" fmla="*/ 808 h 1753"/>
                    <a:gd name="T28" fmla="*/ 1197 w 1252"/>
                    <a:gd name="T29" fmla="*/ 704 h 1753"/>
                    <a:gd name="T30" fmla="*/ 1224 w 1252"/>
                    <a:gd name="T31" fmla="*/ 599 h 1753"/>
                    <a:gd name="T32" fmla="*/ 1241 w 1252"/>
                    <a:gd name="T33" fmla="*/ 493 h 1753"/>
                    <a:gd name="T34" fmla="*/ 1251 w 1252"/>
                    <a:gd name="T35" fmla="*/ 387 h 1753"/>
                    <a:gd name="T36" fmla="*/ 1252 w 1252"/>
                    <a:gd name="T37" fmla="*/ 280 h 1753"/>
                    <a:gd name="T38" fmla="*/ 1246 w 1252"/>
                    <a:gd name="T39" fmla="*/ 174 h 1753"/>
                    <a:gd name="T40" fmla="*/ 1231 w 1252"/>
                    <a:gd name="T41" fmla="*/ 69 h 1753"/>
                    <a:gd name="T42" fmla="*/ 1180 w 1252"/>
                    <a:gd name="T43" fmla="*/ 8 h 1753"/>
                    <a:gd name="T44" fmla="*/ 1073 w 1252"/>
                    <a:gd name="T45" fmla="*/ 37 h 1753"/>
                    <a:gd name="T46" fmla="*/ 968 w 1252"/>
                    <a:gd name="T47" fmla="*/ 73 h 1753"/>
                    <a:gd name="T48" fmla="*/ 866 w 1252"/>
                    <a:gd name="T49" fmla="*/ 116 h 1753"/>
                    <a:gd name="T50" fmla="*/ 767 w 1252"/>
                    <a:gd name="T51" fmla="*/ 167 h 1753"/>
                    <a:gd name="T52" fmla="*/ 672 w 1252"/>
                    <a:gd name="T53" fmla="*/ 224 h 1753"/>
                    <a:gd name="T54" fmla="*/ 581 w 1252"/>
                    <a:gd name="T55" fmla="*/ 288 h 1753"/>
                    <a:gd name="T56" fmla="*/ 494 w 1252"/>
                    <a:gd name="T57" fmla="*/ 359 h 1753"/>
                    <a:gd name="T58" fmla="*/ 412 w 1252"/>
                    <a:gd name="T59" fmla="*/ 437 h 1753"/>
                    <a:gd name="T60" fmla="*/ 336 w 1252"/>
                    <a:gd name="T61" fmla="*/ 521 h 1753"/>
                    <a:gd name="T62" fmla="*/ 267 w 1252"/>
                    <a:gd name="T63" fmla="*/ 612 h 1753"/>
                    <a:gd name="T64" fmla="*/ 204 w 1252"/>
                    <a:gd name="T65" fmla="*/ 709 h 1753"/>
                    <a:gd name="T66" fmla="*/ 149 w 1252"/>
                    <a:gd name="T67" fmla="*/ 808 h 1753"/>
                    <a:gd name="T68" fmla="*/ 103 w 1252"/>
                    <a:gd name="T69" fmla="*/ 910 h 1753"/>
                    <a:gd name="T70" fmla="*/ 66 w 1252"/>
                    <a:gd name="T71" fmla="*/ 1013 h 1753"/>
                    <a:gd name="T72" fmla="*/ 36 w 1252"/>
                    <a:gd name="T73" fmla="*/ 1118 h 1753"/>
                    <a:gd name="T74" fmla="*/ 16 w 1252"/>
                    <a:gd name="T75" fmla="*/ 1224 h 1753"/>
                    <a:gd name="T76" fmla="*/ 4 w 1252"/>
                    <a:gd name="T77" fmla="*/ 1330 h 1753"/>
                    <a:gd name="T78" fmla="*/ 0 w 1252"/>
                    <a:gd name="T79" fmla="*/ 1437 h 1753"/>
                    <a:gd name="T80" fmla="*/ 4 w 1252"/>
                    <a:gd name="T81" fmla="*/ 1544 h 1753"/>
                    <a:gd name="T82" fmla="*/ 16 w 1252"/>
                    <a:gd name="T83" fmla="*/ 1649 h 1753"/>
                    <a:gd name="T84" fmla="*/ 36 w 1252"/>
                    <a:gd name="T85" fmla="*/ 1753 h 1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</p:grpSp>
          <p:grpSp>
            <p:nvGrpSpPr>
              <p:cNvPr id="88" name="Group 238"/>
              <p:cNvGrpSpPr>
                <a:grpSpLocks/>
              </p:cNvGrpSpPr>
              <p:nvPr/>
            </p:nvGrpSpPr>
            <p:grpSpPr bwMode="auto">
              <a:xfrm flipH="1">
                <a:off x="6349048" y="3400793"/>
                <a:ext cx="498475" cy="963612"/>
                <a:chOff x="708" y="1507"/>
                <a:chExt cx="324" cy="626"/>
              </a:xfrm>
              <a:grpFill/>
            </p:grpSpPr>
            <p:sp>
              <p:nvSpPr>
                <p:cNvPr id="89" name="Freeform 239"/>
                <p:cNvSpPr>
                  <a:spLocks noEditPoints="1"/>
                </p:cNvSpPr>
                <p:nvPr/>
              </p:nvSpPr>
              <p:spPr bwMode="auto">
                <a:xfrm rot="-2429734">
                  <a:off x="755" y="1611"/>
                  <a:ext cx="277" cy="456"/>
                </a:xfrm>
                <a:custGeom>
                  <a:avLst/>
                  <a:gdLst>
                    <a:gd name="T0" fmla="*/ 1907 w 5540"/>
                    <a:gd name="T1" fmla="*/ 8486 h 8668"/>
                    <a:gd name="T2" fmla="*/ 1615 w 5540"/>
                    <a:gd name="T3" fmla="*/ 8247 h 8668"/>
                    <a:gd name="T4" fmla="*/ 1345 w 5540"/>
                    <a:gd name="T5" fmla="*/ 7994 h 8668"/>
                    <a:gd name="T6" fmla="*/ 1096 w 5540"/>
                    <a:gd name="T7" fmla="*/ 7730 h 8668"/>
                    <a:gd name="T8" fmla="*/ 870 w 5540"/>
                    <a:gd name="T9" fmla="*/ 7454 h 8668"/>
                    <a:gd name="T10" fmla="*/ 668 w 5540"/>
                    <a:gd name="T11" fmla="*/ 7168 h 8668"/>
                    <a:gd name="T12" fmla="*/ 745 w 5540"/>
                    <a:gd name="T13" fmla="*/ 6969 h 8668"/>
                    <a:gd name="T14" fmla="*/ 931 w 5540"/>
                    <a:gd name="T15" fmla="*/ 7250 h 8668"/>
                    <a:gd name="T16" fmla="*/ 1141 w 5540"/>
                    <a:gd name="T17" fmla="*/ 7521 h 8668"/>
                    <a:gd name="T18" fmla="*/ 1372 w 5540"/>
                    <a:gd name="T19" fmla="*/ 7781 h 8668"/>
                    <a:gd name="T20" fmla="*/ 1627 w 5540"/>
                    <a:gd name="T21" fmla="*/ 8031 h 8668"/>
                    <a:gd name="T22" fmla="*/ 1902 w 5540"/>
                    <a:gd name="T23" fmla="*/ 8268 h 8668"/>
                    <a:gd name="T24" fmla="*/ 2195 w 5540"/>
                    <a:gd name="T25" fmla="*/ 8493 h 8668"/>
                    <a:gd name="T26" fmla="*/ 493 w 5540"/>
                    <a:gd name="T27" fmla="*/ 6876 h 8668"/>
                    <a:gd name="T28" fmla="*/ 346 w 5540"/>
                    <a:gd name="T29" fmla="*/ 6581 h 8668"/>
                    <a:gd name="T30" fmla="*/ 224 w 5540"/>
                    <a:gd name="T31" fmla="*/ 6279 h 8668"/>
                    <a:gd name="T32" fmla="*/ 127 w 5540"/>
                    <a:gd name="T33" fmla="*/ 5968 h 8668"/>
                    <a:gd name="T34" fmla="*/ 57 w 5540"/>
                    <a:gd name="T35" fmla="*/ 5651 h 8668"/>
                    <a:gd name="T36" fmla="*/ 15 w 5540"/>
                    <a:gd name="T37" fmla="*/ 5328 h 8668"/>
                    <a:gd name="T38" fmla="*/ 0 w 5540"/>
                    <a:gd name="T39" fmla="*/ 5000 h 8668"/>
                    <a:gd name="T40" fmla="*/ 182 w 5540"/>
                    <a:gd name="T41" fmla="*/ 5253 h 8668"/>
                    <a:gd name="T42" fmla="*/ 218 w 5540"/>
                    <a:gd name="T43" fmla="*/ 5563 h 8668"/>
                    <a:gd name="T44" fmla="*/ 280 w 5540"/>
                    <a:gd name="T45" fmla="*/ 5869 h 8668"/>
                    <a:gd name="T46" fmla="*/ 368 w 5540"/>
                    <a:gd name="T47" fmla="*/ 6168 h 8668"/>
                    <a:gd name="T48" fmla="*/ 481 w 5540"/>
                    <a:gd name="T49" fmla="*/ 6460 h 8668"/>
                    <a:gd name="T50" fmla="*/ 618 w 5540"/>
                    <a:gd name="T51" fmla="*/ 6745 h 8668"/>
                    <a:gd name="T52" fmla="*/ 0 w 5540"/>
                    <a:gd name="T53" fmla="*/ 5000 h 8668"/>
                    <a:gd name="T54" fmla="*/ 42 w 5540"/>
                    <a:gd name="T55" fmla="*/ 4444 h 8668"/>
                    <a:gd name="T56" fmla="*/ 163 w 5540"/>
                    <a:gd name="T57" fmla="*/ 3906 h 8668"/>
                    <a:gd name="T58" fmla="*/ 361 w 5540"/>
                    <a:gd name="T59" fmla="*/ 3387 h 8668"/>
                    <a:gd name="T60" fmla="*/ 631 w 5540"/>
                    <a:gd name="T61" fmla="*/ 2891 h 8668"/>
                    <a:gd name="T62" fmla="*/ 968 w 5540"/>
                    <a:gd name="T63" fmla="*/ 2422 h 8668"/>
                    <a:gd name="T64" fmla="*/ 1369 w 5540"/>
                    <a:gd name="T65" fmla="*/ 1983 h 8668"/>
                    <a:gd name="T66" fmla="*/ 1494 w 5540"/>
                    <a:gd name="T67" fmla="*/ 2096 h 8668"/>
                    <a:gd name="T68" fmla="*/ 1108 w 5540"/>
                    <a:gd name="T69" fmla="*/ 2520 h 8668"/>
                    <a:gd name="T70" fmla="*/ 783 w 5540"/>
                    <a:gd name="T71" fmla="*/ 2971 h 8668"/>
                    <a:gd name="T72" fmla="*/ 522 w 5540"/>
                    <a:gd name="T73" fmla="*/ 3449 h 8668"/>
                    <a:gd name="T74" fmla="*/ 331 w 5540"/>
                    <a:gd name="T75" fmla="*/ 3948 h 8668"/>
                    <a:gd name="T76" fmla="*/ 213 w 5540"/>
                    <a:gd name="T77" fmla="*/ 4466 h 8668"/>
                    <a:gd name="T78" fmla="*/ 173 w 5540"/>
                    <a:gd name="T79" fmla="*/ 5000 h 8668"/>
                    <a:gd name="T80" fmla="*/ 1832 w 5540"/>
                    <a:gd name="T81" fmla="*/ 1572 h 8668"/>
                    <a:gd name="T82" fmla="*/ 2355 w 5540"/>
                    <a:gd name="T83" fmla="*/ 1196 h 8668"/>
                    <a:gd name="T84" fmla="*/ 2930 w 5540"/>
                    <a:gd name="T85" fmla="*/ 859 h 8668"/>
                    <a:gd name="T86" fmla="*/ 3553 w 5540"/>
                    <a:gd name="T87" fmla="*/ 566 h 8668"/>
                    <a:gd name="T88" fmla="*/ 4218 w 5540"/>
                    <a:gd name="T89" fmla="*/ 319 h 8668"/>
                    <a:gd name="T90" fmla="*/ 4921 w 5540"/>
                    <a:gd name="T91" fmla="*/ 120 h 8668"/>
                    <a:gd name="T92" fmla="*/ 5540 w 5540"/>
                    <a:gd name="T93" fmla="*/ 162 h 8668"/>
                    <a:gd name="T94" fmla="*/ 4824 w 5540"/>
                    <a:gd name="T95" fmla="*/ 315 h 8668"/>
                    <a:gd name="T96" fmla="*/ 4143 w 5540"/>
                    <a:gd name="T97" fmla="*/ 518 h 8668"/>
                    <a:gd name="T98" fmla="*/ 3500 w 5540"/>
                    <a:gd name="T99" fmla="*/ 769 h 8668"/>
                    <a:gd name="T100" fmla="*/ 2902 w 5540"/>
                    <a:gd name="T101" fmla="*/ 1064 h 8668"/>
                    <a:gd name="T102" fmla="*/ 2349 w 5540"/>
                    <a:gd name="T103" fmla="*/ 1400 h 8668"/>
                    <a:gd name="T104" fmla="*/ 1849 w 5540"/>
                    <a:gd name="T105" fmla="*/ 1775 h 86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5540" h="8668">
                      <a:moveTo>
                        <a:pt x="2154" y="8668"/>
                      </a:moveTo>
                      <a:lnTo>
                        <a:pt x="2091" y="8624"/>
                      </a:lnTo>
                      <a:lnTo>
                        <a:pt x="2029" y="8578"/>
                      </a:lnTo>
                      <a:lnTo>
                        <a:pt x="1967" y="8533"/>
                      </a:lnTo>
                      <a:lnTo>
                        <a:pt x="1907" y="8486"/>
                      </a:lnTo>
                      <a:lnTo>
                        <a:pt x="1847" y="8439"/>
                      </a:lnTo>
                      <a:lnTo>
                        <a:pt x="1788" y="8392"/>
                      </a:lnTo>
                      <a:lnTo>
                        <a:pt x="1729" y="8344"/>
                      </a:lnTo>
                      <a:lnTo>
                        <a:pt x="1672" y="8296"/>
                      </a:lnTo>
                      <a:lnTo>
                        <a:pt x="1615" y="8247"/>
                      </a:lnTo>
                      <a:lnTo>
                        <a:pt x="1560" y="8197"/>
                      </a:lnTo>
                      <a:lnTo>
                        <a:pt x="1505" y="8147"/>
                      </a:lnTo>
                      <a:lnTo>
                        <a:pt x="1450" y="8097"/>
                      </a:lnTo>
                      <a:lnTo>
                        <a:pt x="1397" y="8046"/>
                      </a:lnTo>
                      <a:lnTo>
                        <a:pt x="1345" y="7994"/>
                      </a:lnTo>
                      <a:lnTo>
                        <a:pt x="1293" y="7942"/>
                      </a:lnTo>
                      <a:lnTo>
                        <a:pt x="1243" y="7890"/>
                      </a:lnTo>
                      <a:lnTo>
                        <a:pt x="1193" y="7837"/>
                      </a:lnTo>
                      <a:lnTo>
                        <a:pt x="1144" y="7784"/>
                      </a:lnTo>
                      <a:lnTo>
                        <a:pt x="1096" y="7730"/>
                      </a:lnTo>
                      <a:lnTo>
                        <a:pt x="1049" y="7676"/>
                      </a:lnTo>
                      <a:lnTo>
                        <a:pt x="1003" y="7621"/>
                      </a:lnTo>
                      <a:lnTo>
                        <a:pt x="959" y="7566"/>
                      </a:lnTo>
                      <a:lnTo>
                        <a:pt x="913" y="7510"/>
                      </a:lnTo>
                      <a:lnTo>
                        <a:pt x="870" y="7454"/>
                      </a:lnTo>
                      <a:lnTo>
                        <a:pt x="828" y="7398"/>
                      </a:lnTo>
                      <a:lnTo>
                        <a:pt x="787" y="7341"/>
                      </a:lnTo>
                      <a:lnTo>
                        <a:pt x="746" y="7284"/>
                      </a:lnTo>
                      <a:lnTo>
                        <a:pt x="707" y="7226"/>
                      </a:lnTo>
                      <a:lnTo>
                        <a:pt x="668" y="7168"/>
                      </a:lnTo>
                      <a:lnTo>
                        <a:pt x="631" y="7110"/>
                      </a:lnTo>
                      <a:lnTo>
                        <a:pt x="594" y="7051"/>
                      </a:lnTo>
                      <a:lnTo>
                        <a:pt x="560" y="6991"/>
                      </a:lnTo>
                      <a:lnTo>
                        <a:pt x="710" y="6912"/>
                      </a:lnTo>
                      <a:lnTo>
                        <a:pt x="745" y="6969"/>
                      </a:lnTo>
                      <a:lnTo>
                        <a:pt x="780" y="7026"/>
                      </a:lnTo>
                      <a:lnTo>
                        <a:pt x="817" y="7082"/>
                      </a:lnTo>
                      <a:lnTo>
                        <a:pt x="853" y="7139"/>
                      </a:lnTo>
                      <a:lnTo>
                        <a:pt x="891" y="7194"/>
                      </a:lnTo>
                      <a:lnTo>
                        <a:pt x="931" y="7250"/>
                      </a:lnTo>
                      <a:lnTo>
                        <a:pt x="971" y="7305"/>
                      </a:lnTo>
                      <a:lnTo>
                        <a:pt x="1012" y="7359"/>
                      </a:lnTo>
                      <a:lnTo>
                        <a:pt x="1053" y="7414"/>
                      </a:lnTo>
                      <a:lnTo>
                        <a:pt x="1096" y="7467"/>
                      </a:lnTo>
                      <a:lnTo>
                        <a:pt x="1141" y="7521"/>
                      </a:lnTo>
                      <a:lnTo>
                        <a:pt x="1185" y="7574"/>
                      </a:lnTo>
                      <a:lnTo>
                        <a:pt x="1230" y="7626"/>
                      </a:lnTo>
                      <a:lnTo>
                        <a:pt x="1276" y="7678"/>
                      </a:lnTo>
                      <a:lnTo>
                        <a:pt x="1324" y="7730"/>
                      </a:lnTo>
                      <a:lnTo>
                        <a:pt x="1372" y="7781"/>
                      </a:lnTo>
                      <a:lnTo>
                        <a:pt x="1422" y="7832"/>
                      </a:lnTo>
                      <a:lnTo>
                        <a:pt x="1471" y="7882"/>
                      </a:lnTo>
                      <a:lnTo>
                        <a:pt x="1523" y="7932"/>
                      </a:lnTo>
                      <a:lnTo>
                        <a:pt x="1574" y="7982"/>
                      </a:lnTo>
                      <a:lnTo>
                        <a:pt x="1627" y="8031"/>
                      </a:lnTo>
                      <a:lnTo>
                        <a:pt x="1680" y="8079"/>
                      </a:lnTo>
                      <a:lnTo>
                        <a:pt x="1734" y="8127"/>
                      </a:lnTo>
                      <a:lnTo>
                        <a:pt x="1789" y="8174"/>
                      </a:lnTo>
                      <a:lnTo>
                        <a:pt x="1845" y="8222"/>
                      </a:lnTo>
                      <a:lnTo>
                        <a:pt x="1902" y="8268"/>
                      </a:lnTo>
                      <a:lnTo>
                        <a:pt x="1958" y="8314"/>
                      </a:lnTo>
                      <a:lnTo>
                        <a:pt x="2016" y="8360"/>
                      </a:lnTo>
                      <a:lnTo>
                        <a:pt x="2075" y="8405"/>
                      </a:lnTo>
                      <a:lnTo>
                        <a:pt x="2135" y="8449"/>
                      </a:lnTo>
                      <a:lnTo>
                        <a:pt x="2195" y="8493"/>
                      </a:lnTo>
                      <a:lnTo>
                        <a:pt x="2256" y="8536"/>
                      </a:lnTo>
                      <a:lnTo>
                        <a:pt x="2154" y="8668"/>
                      </a:lnTo>
                      <a:close/>
                      <a:moveTo>
                        <a:pt x="560" y="6991"/>
                      </a:moveTo>
                      <a:lnTo>
                        <a:pt x="526" y="6934"/>
                      </a:lnTo>
                      <a:lnTo>
                        <a:pt x="493" y="6876"/>
                      </a:lnTo>
                      <a:lnTo>
                        <a:pt x="462" y="6818"/>
                      </a:lnTo>
                      <a:lnTo>
                        <a:pt x="431" y="6759"/>
                      </a:lnTo>
                      <a:lnTo>
                        <a:pt x="402" y="6700"/>
                      </a:lnTo>
                      <a:lnTo>
                        <a:pt x="373" y="6641"/>
                      </a:lnTo>
                      <a:lnTo>
                        <a:pt x="346" y="6581"/>
                      </a:lnTo>
                      <a:lnTo>
                        <a:pt x="320" y="6521"/>
                      </a:lnTo>
                      <a:lnTo>
                        <a:pt x="294" y="6461"/>
                      </a:lnTo>
                      <a:lnTo>
                        <a:pt x="270" y="6401"/>
                      </a:lnTo>
                      <a:lnTo>
                        <a:pt x="246" y="6340"/>
                      </a:lnTo>
                      <a:lnTo>
                        <a:pt x="224" y="6279"/>
                      </a:lnTo>
                      <a:lnTo>
                        <a:pt x="203" y="6217"/>
                      </a:lnTo>
                      <a:lnTo>
                        <a:pt x="182" y="6156"/>
                      </a:lnTo>
                      <a:lnTo>
                        <a:pt x="163" y="6093"/>
                      </a:lnTo>
                      <a:lnTo>
                        <a:pt x="144" y="6030"/>
                      </a:lnTo>
                      <a:lnTo>
                        <a:pt x="127" y="5968"/>
                      </a:lnTo>
                      <a:lnTo>
                        <a:pt x="111" y="5905"/>
                      </a:lnTo>
                      <a:lnTo>
                        <a:pt x="96" y="5842"/>
                      </a:lnTo>
                      <a:lnTo>
                        <a:pt x="82" y="5779"/>
                      </a:lnTo>
                      <a:lnTo>
                        <a:pt x="69" y="5715"/>
                      </a:lnTo>
                      <a:lnTo>
                        <a:pt x="57" y="5651"/>
                      </a:lnTo>
                      <a:lnTo>
                        <a:pt x="46" y="5587"/>
                      </a:lnTo>
                      <a:lnTo>
                        <a:pt x="37" y="5523"/>
                      </a:lnTo>
                      <a:lnTo>
                        <a:pt x="28" y="5458"/>
                      </a:lnTo>
                      <a:lnTo>
                        <a:pt x="21" y="5393"/>
                      </a:lnTo>
                      <a:lnTo>
                        <a:pt x="15" y="5328"/>
                      </a:lnTo>
                      <a:lnTo>
                        <a:pt x="9" y="5263"/>
                      </a:lnTo>
                      <a:lnTo>
                        <a:pt x="5" y="5198"/>
                      </a:lnTo>
                      <a:lnTo>
                        <a:pt x="2" y="5132"/>
                      </a:lnTo>
                      <a:lnTo>
                        <a:pt x="1" y="5066"/>
                      </a:lnTo>
                      <a:lnTo>
                        <a:pt x="0" y="5000"/>
                      </a:lnTo>
                      <a:lnTo>
                        <a:pt x="173" y="5000"/>
                      </a:lnTo>
                      <a:lnTo>
                        <a:pt x="174" y="5064"/>
                      </a:lnTo>
                      <a:lnTo>
                        <a:pt x="176" y="5127"/>
                      </a:lnTo>
                      <a:lnTo>
                        <a:pt x="179" y="5190"/>
                      </a:lnTo>
                      <a:lnTo>
                        <a:pt x="182" y="5253"/>
                      </a:lnTo>
                      <a:lnTo>
                        <a:pt x="187" y="5315"/>
                      </a:lnTo>
                      <a:lnTo>
                        <a:pt x="193" y="5378"/>
                      </a:lnTo>
                      <a:lnTo>
                        <a:pt x="201" y="5440"/>
                      </a:lnTo>
                      <a:lnTo>
                        <a:pt x="209" y="5502"/>
                      </a:lnTo>
                      <a:lnTo>
                        <a:pt x="218" y="5563"/>
                      </a:lnTo>
                      <a:lnTo>
                        <a:pt x="228" y="5625"/>
                      </a:lnTo>
                      <a:lnTo>
                        <a:pt x="240" y="5686"/>
                      </a:lnTo>
                      <a:lnTo>
                        <a:pt x="252" y="5747"/>
                      </a:lnTo>
                      <a:lnTo>
                        <a:pt x="266" y="5808"/>
                      </a:lnTo>
                      <a:lnTo>
                        <a:pt x="280" y="5869"/>
                      </a:lnTo>
                      <a:lnTo>
                        <a:pt x="296" y="5929"/>
                      </a:lnTo>
                      <a:lnTo>
                        <a:pt x="312" y="5989"/>
                      </a:lnTo>
                      <a:lnTo>
                        <a:pt x="330" y="6049"/>
                      </a:lnTo>
                      <a:lnTo>
                        <a:pt x="348" y="6108"/>
                      </a:lnTo>
                      <a:lnTo>
                        <a:pt x="368" y="6168"/>
                      </a:lnTo>
                      <a:lnTo>
                        <a:pt x="388" y="6227"/>
                      </a:lnTo>
                      <a:lnTo>
                        <a:pt x="410" y="6286"/>
                      </a:lnTo>
                      <a:lnTo>
                        <a:pt x="432" y="6344"/>
                      </a:lnTo>
                      <a:lnTo>
                        <a:pt x="457" y="6403"/>
                      </a:lnTo>
                      <a:lnTo>
                        <a:pt x="481" y="6460"/>
                      </a:lnTo>
                      <a:lnTo>
                        <a:pt x="506" y="6518"/>
                      </a:lnTo>
                      <a:lnTo>
                        <a:pt x="532" y="6575"/>
                      </a:lnTo>
                      <a:lnTo>
                        <a:pt x="560" y="6632"/>
                      </a:lnTo>
                      <a:lnTo>
                        <a:pt x="588" y="6689"/>
                      </a:lnTo>
                      <a:lnTo>
                        <a:pt x="618" y="6745"/>
                      </a:lnTo>
                      <a:lnTo>
                        <a:pt x="647" y="6801"/>
                      </a:lnTo>
                      <a:lnTo>
                        <a:pt x="679" y="6856"/>
                      </a:lnTo>
                      <a:lnTo>
                        <a:pt x="710" y="6912"/>
                      </a:lnTo>
                      <a:lnTo>
                        <a:pt x="560" y="6991"/>
                      </a:lnTo>
                      <a:close/>
                      <a:moveTo>
                        <a:pt x="0" y="5000"/>
                      </a:moveTo>
                      <a:lnTo>
                        <a:pt x="2" y="4888"/>
                      </a:lnTo>
                      <a:lnTo>
                        <a:pt x="7" y="4776"/>
                      </a:lnTo>
                      <a:lnTo>
                        <a:pt x="15" y="4665"/>
                      </a:lnTo>
                      <a:lnTo>
                        <a:pt x="27" y="4554"/>
                      </a:lnTo>
                      <a:lnTo>
                        <a:pt x="42" y="4444"/>
                      </a:lnTo>
                      <a:lnTo>
                        <a:pt x="60" y="4335"/>
                      </a:lnTo>
                      <a:lnTo>
                        <a:pt x="81" y="4227"/>
                      </a:lnTo>
                      <a:lnTo>
                        <a:pt x="105" y="4119"/>
                      </a:lnTo>
                      <a:lnTo>
                        <a:pt x="132" y="4012"/>
                      </a:lnTo>
                      <a:lnTo>
                        <a:pt x="163" y="3906"/>
                      </a:lnTo>
                      <a:lnTo>
                        <a:pt x="197" y="3800"/>
                      </a:lnTo>
                      <a:lnTo>
                        <a:pt x="233" y="3696"/>
                      </a:lnTo>
                      <a:lnTo>
                        <a:pt x="273" y="3592"/>
                      </a:lnTo>
                      <a:lnTo>
                        <a:pt x="316" y="3489"/>
                      </a:lnTo>
                      <a:lnTo>
                        <a:pt x="361" y="3387"/>
                      </a:lnTo>
                      <a:lnTo>
                        <a:pt x="409" y="3286"/>
                      </a:lnTo>
                      <a:lnTo>
                        <a:pt x="461" y="3186"/>
                      </a:lnTo>
                      <a:lnTo>
                        <a:pt x="514" y="3086"/>
                      </a:lnTo>
                      <a:lnTo>
                        <a:pt x="571" y="2988"/>
                      </a:lnTo>
                      <a:lnTo>
                        <a:pt x="631" y="2891"/>
                      </a:lnTo>
                      <a:lnTo>
                        <a:pt x="693" y="2795"/>
                      </a:lnTo>
                      <a:lnTo>
                        <a:pt x="758" y="2700"/>
                      </a:lnTo>
                      <a:lnTo>
                        <a:pt x="825" y="2606"/>
                      </a:lnTo>
                      <a:lnTo>
                        <a:pt x="895" y="2514"/>
                      </a:lnTo>
                      <a:lnTo>
                        <a:pt x="968" y="2422"/>
                      </a:lnTo>
                      <a:lnTo>
                        <a:pt x="1043" y="2332"/>
                      </a:lnTo>
                      <a:lnTo>
                        <a:pt x="1121" y="2243"/>
                      </a:lnTo>
                      <a:lnTo>
                        <a:pt x="1201" y="2155"/>
                      </a:lnTo>
                      <a:lnTo>
                        <a:pt x="1284" y="2068"/>
                      </a:lnTo>
                      <a:lnTo>
                        <a:pt x="1369" y="1983"/>
                      </a:lnTo>
                      <a:lnTo>
                        <a:pt x="1455" y="1899"/>
                      </a:lnTo>
                      <a:lnTo>
                        <a:pt x="1546" y="1816"/>
                      </a:lnTo>
                      <a:lnTo>
                        <a:pt x="1665" y="1935"/>
                      </a:lnTo>
                      <a:lnTo>
                        <a:pt x="1579" y="2015"/>
                      </a:lnTo>
                      <a:lnTo>
                        <a:pt x="1494" y="2096"/>
                      </a:lnTo>
                      <a:lnTo>
                        <a:pt x="1412" y="2179"/>
                      </a:lnTo>
                      <a:lnTo>
                        <a:pt x="1332" y="2262"/>
                      </a:lnTo>
                      <a:lnTo>
                        <a:pt x="1255" y="2347"/>
                      </a:lnTo>
                      <a:lnTo>
                        <a:pt x="1181" y="2433"/>
                      </a:lnTo>
                      <a:lnTo>
                        <a:pt x="1108" y="2520"/>
                      </a:lnTo>
                      <a:lnTo>
                        <a:pt x="1038" y="2608"/>
                      </a:lnTo>
                      <a:lnTo>
                        <a:pt x="970" y="2697"/>
                      </a:lnTo>
                      <a:lnTo>
                        <a:pt x="905" y="2788"/>
                      </a:lnTo>
                      <a:lnTo>
                        <a:pt x="843" y="2879"/>
                      </a:lnTo>
                      <a:lnTo>
                        <a:pt x="783" y="2971"/>
                      </a:lnTo>
                      <a:lnTo>
                        <a:pt x="725" y="3065"/>
                      </a:lnTo>
                      <a:lnTo>
                        <a:pt x="670" y="3159"/>
                      </a:lnTo>
                      <a:lnTo>
                        <a:pt x="619" y="3256"/>
                      </a:lnTo>
                      <a:lnTo>
                        <a:pt x="569" y="3352"/>
                      </a:lnTo>
                      <a:lnTo>
                        <a:pt x="522" y="3449"/>
                      </a:lnTo>
                      <a:lnTo>
                        <a:pt x="479" y="3547"/>
                      </a:lnTo>
                      <a:lnTo>
                        <a:pt x="438" y="3646"/>
                      </a:lnTo>
                      <a:lnTo>
                        <a:pt x="399" y="3746"/>
                      </a:lnTo>
                      <a:lnTo>
                        <a:pt x="364" y="3847"/>
                      </a:lnTo>
                      <a:lnTo>
                        <a:pt x="331" y="3948"/>
                      </a:lnTo>
                      <a:lnTo>
                        <a:pt x="302" y="4050"/>
                      </a:lnTo>
                      <a:lnTo>
                        <a:pt x="276" y="4153"/>
                      </a:lnTo>
                      <a:lnTo>
                        <a:pt x="251" y="4257"/>
                      </a:lnTo>
                      <a:lnTo>
                        <a:pt x="231" y="4361"/>
                      </a:lnTo>
                      <a:lnTo>
                        <a:pt x="213" y="4466"/>
                      </a:lnTo>
                      <a:lnTo>
                        <a:pt x="199" y="4572"/>
                      </a:lnTo>
                      <a:lnTo>
                        <a:pt x="188" y="4678"/>
                      </a:lnTo>
                      <a:lnTo>
                        <a:pt x="180" y="4785"/>
                      </a:lnTo>
                      <a:lnTo>
                        <a:pt x="176" y="4892"/>
                      </a:lnTo>
                      <a:lnTo>
                        <a:pt x="173" y="5000"/>
                      </a:lnTo>
                      <a:lnTo>
                        <a:pt x="0" y="5000"/>
                      </a:lnTo>
                      <a:close/>
                      <a:moveTo>
                        <a:pt x="1546" y="1816"/>
                      </a:moveTo>
                      <a:lnTo>
                        <a:pt x="1639" y="1733"/>
                      </a:lnTo>
                      <a:lnTo>
                        <a:pt x="1734" y="1652"/>
                      </a:lnTo>
                      <a:lnTo>
                        <a:pt x="1832" y="1572"/>
                      </a:lnTo>
                      <a:lnTo>
                        <a:pt x="1932" y="1494"/>
                      </a:lnTo>
                      <a:lnTo>
                        <a:pt x="2035" y="1417"/>
                      </a:lnTo>
                      <a:lnTo>
                        <a:pt x="2140" y="1342"/>
                      </a:lnTo>
                      <a:lnTo>
                        <a:pt x="2247" y="1268"/>
                      </a:lnTo>
                      <a:lnTo>
                        <a:pt x="2355" y="1196"/>
                      </a:lnTo>
                      <a:lnTo>
                        <a:pt x="2467" y="1125"/>
                      </a:lnTo>
                      <a:lnTo>
                        <a:pt x="2579" y="1056"/>
                      </a:lnTo>
                      <a:lnTo>
                        <a:pt x="2694" y="989"/>
                      </a:lnTo>
                      <a:lnTo>
                        <a:pt x="2811" y="923"/>
                      </a:lnTo>
                      <a:lnTo>
                        <a:pt x="2930" y="859"/>
                      </a:lnTo>
                      <a:lnTo>
                        <a:pt x="3051" y="797"/>
                      </a:lnTo>
                      <a:lnTo>
                        <a:pt x="3174" y="737"/>
                      </a:lnTo>
                      <a:lnTo>
                        <a:pt x="3298" y="678"/>
                      </a:lnTo>
                      <a:lnTo>
                        <a:pt x="3425" y="621"/>
                      </a:lnTo>
                      <a:lnTo>
                        <a:pt x="3553" y="566"/>
                      </a:lnTo>
                      <a:lnTo>
                        <a:pt x="3682" y="513"/>
                      </a:lnTo>
                      <a:lnTo>
                        <a:pt x="3814" y="461"/>
                      </a:lnTo>
                      <a:lnTo>
                        <a:pt x="3947" y="412"/>
                      </a:lnTo>
                      <a:lnTo>
                        <a:pt x="4081" y="364"/>
                      </a:lnTo>
                      <a:lnTo>
                        <a:pt x="4218" y="319"/>
                      </a:lnTo>
                      <a:lnTo>
                        <a:pt x="4356" y="275"/>
                      </a:lnTo>
                      <a:lnTo>
                        <a:pt x="4495" y="234"/>
                      </a:lnTo>
                      <a:lnTo>
                        <a:pt x="4636" y="193"/>
                      </a:lnTo>
                      <a:lnTo>
                        <a:pt x="4778" y="156"/>
                      </a:lnTo>
                      <a:lnTo>
                        <a:pt x="4921" y="120"/>
                      </a:lnTo>
                      <a:lnTo>
                        <a:pt x="5067" y="87"/>
                      </a:lnTo>
                      <a:lnTo>
                        <a:pt x="5213" y="56"/>
                      </a:lnTo>
                      <a:lnTo>
                        <a:pt x="5360" y="27"/>
                      </a:lnTo>
                      <a:lnTo>
                        <a:pt x="5510" y="0"/>
                      </a:lnTo>
                      <a:lnTo>
                        <a:pt x="5540" y="162"/>
                      </a:lnTo>
                      <a:lnTo>
                        <a:pt x="5394" y="188"/>
                      </a:lnTo>
                      <a:lnTo>
                        <a:pt x="5250" y="217"/>
                      </a:lnTo>
                      <a:lnTo>
                        <a:pt x="5107" y="248"/>
                      </a:lnTo>
                      <a:lnTo>
                        <a:pt x="4964" y="280"/>
                      </a:lnTo>
                      <a:lnTo>
                        <a:pt x="4824" y="315"/>
                      </a:lnTo>
                      <a:lnTo>
                        <a:pt x="4686" y="352"/>
                      </a:lnTo>
                      <a:lnTo>
                        <a:pt x="4548" y="390"/>
                      </a:lnTo>
                      <a:lnTo>
                        <a:pt x="4411" y="431"/>
                      </a:lnTo>
                      <a:lnTo>
                        <a:pt x="4276" y="473"/>
                      </a:lnTo>
                      <a:lnTo>
                        <a:pt x="4143" y="518"/>
                      </a:lnTo>
                      <a:lnTo>
                        <a:pt x="4012" y="564"/>
                      </a:lnTo>
                      <a:lnTo>
                        <a:pt x="3881" y="613"/>
                      </a:lnTo>
                      <a:lnTo>
                        <a:pt x="3753" y="663"/>
                      </a:lnTo>
                      <a:lnTo>
                        <a:pt x="3626" y="715"/>
                      </a:lnTo>
                      <a:lnTo>
                        <a:pt x="3500" y="769"/>
                      </a:lnTo>
                      <a:lnTo>
                        <a:pt x="3377" y="824"/>
                      </a:lnTo>
                      <a:lnTo>
                        <a:pt x="3255" y="882"/>
                      </a:lnTo>
                      <a:lnTo>
                        <a:pt x="3135" y="941"/>
                      </a:lnTo>
                      <a:lnTo>
                        <a:pt x="3017" y="1001"/>
                      </a:lnTo>
                      <a:lnTo>
                        <a:pt x="2902" y="1064"/>
                      </a:lnTo>
                      <a:lnTo>
                        <a:pt x="2787" y="1128"/>
                      </a:lnTo>
                      <a:lnTo>
                        <a:pt x="2674" y="1194"/>
                      </a:lnTo>
                      <a:lnTo>
                        <a:pt x="2564" y="1261"/>
                      </a:lnTo>
                      <a:lnTo>
                        <a:pt x="2455" y="1330"/>
                      </a:lnTo>
                      <a:lnTo>
                        <a:pt x="2349" y="1400"/>
                      </a:lnTo>
                      <a:lnTo>
                        <a:pt x="2245" y="1472"/>
                      </a:lnTo>
                      <a:lnTo>
                        <a:pt x="2143" y="1546"/>
                      </a:lnTo>
                      <a:lnTo>
                        <a:pt x="2043" y="1621"/>
                      </a:lnTo>
                      <a:lnTo>
                        <a:pt x="1945" y="1697"/>
                      </a:lnTo>
                      <a:lnTo>
                        <a:pt x="1849" y="1775"/>
                      </a:lnTo>
                      <a:lnTo>
                        <a:pt x="1756" y="1855"/>
                      </a:lnTo>
                      <a:lnTo>
                        <a:pt x="1665" y="1935"/>
                      </a:lnTo>
                      <a:lnTo>
                        <a:pt x="1546" y="181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0" name="Freeform 240"/>
                <p:cNvSpPr>
                  <a:spLocks/>
                </p:cNvSpPr>
                <p:nvPr/>
              </p:nvSpPr>
              <p:spPr bwMode="auto">
                <a:xfrm rot="-2429734">
                  <a:off x="841" y="2026"/>
                  <a:ext cx="104" cy="54"/>
                </a:xfrm>
                <a:custGeom>
                  <a:avLst/>
                  <a:gdLst>
                    <a:gd name="T0" fmla="*/ 34 w 2069"/>
                    <a:gd name="T1" fmla="*/ 211 h 976"/>
                    <a:gd name="T2" fmla="*/ 91 w 2069"/>
                    <a:gd name="T3" fmla="*/ 302 h 976"/>
                    <a:gd name="T4" fmla="*/ 155 w 2069"/>
                    <a:gd name="T5" fmla="*/ 389 h 976"/>
                    <a:gd name="T6" fmla="*/ 226 w 2069"/>
                    <a:gd name="T7" fmla="*/ 472 h 976"/>
                    <a:gd name="T8" fmla="*/ 302 w 2069"/>
                    <a:gd name="T9" fmla="*/ 550 h 976"/>
                    <a:gd name="T10" fmla="*/ 384 w 2069"/>
                    <a:gd name="T11" fmla="*/ 623 h 976"/>
                    <a:gd name="T12" fmla="*/ 474 w 2069"/>
                    <a:gd name="T13" fmla="*/ 690 h 976"/>
                    <a:gd name="T14" fmla="*/ 569 w 2069"/>
                    <a:gd name="T15" fmla="*/ 751 h 976"/>
                    <a:gd name="T16" fmla="*/ 670 w 2069"/>
                    <a:gd name="T17" fmla="*/ 806 h 976"/>
                    <a:gd name="T18" fmla="*/ 775 w 2069"/>
                    <a:gd name="T19" fmla="*/ 854 h 976"/>
                    <a:gd name="T20" fmla="*/ 886 w 2069"/>
                    <a:gd name="T21" fmla="*/ 895 h 976"/>
                    <a:gd name="T22" fmla="*/ 1000 w 2069"/>
                    <a:gd name="T23" fmla="*/ 928 h 976"/>
                    <a:gd name="T24" fmla="*/ 1115 w 2069"/>
                    <a:gd name="T25" fmla="*/ 952 h 976"/>
                    <a:gd name="T26" fmla="*/ 1230 w 2069"/>
                    <a:gd name="T27" fmla="*/ 968 h 976"/>
                    <a:gd name="T28" fmla="*/ 1344 w 2069"/>
                    <a:gd name="T29" fmla="*/ 975 h 976"/>
                    <a:gd name="T30" fmla="*/ 1458 w 2069"/>
                    <a:gd name="T31" fmla="*/ 975 h 976"/>
                    <a:gd name="T32" fmla="*/ 1571 w 2069"/>
                    <a:gd name="T33" fmla="*/ 966 h 976"/>
                    <a:gd name="T34" fmla="*/ 1682 w 2069"/>
                    <a:gd name="T35" fmla="*/ 950 h 976"/>
                    <a:gd name="T36" fmla="*/ 1791 w 2069"/>
                    <a:gd name="T37" fmla="*/ 926 h 976"/>
                    <a:gd name="T38" fmla="*/ 1898 w 2069"/>
                    <a:gd name="T39" fmla="*/ 895 h 976"/>
                    <a:gd name="T40" fmla="*/ 2002 w 2069"/>
                    <a:gd name="T41" fmla="*/ 857 h 976"/>
                    <a:gd name="T42" fmla="*/ 2053 w 2069"/>
                    <a:gd name="T43" fmla="*/ 796 h 976"/>
                    <a:gd name="T44" fmla="*/ 1998 w 2069"/>
                    <a:gd name="T45" fmla="*/ 704 h 976"/>
                    <a:gd name="T46" fmla="*/ 1936 w 2069"/>
                    <a:gd name="T47" fmla="*/ 615 h 976"/>
                    <a:gd name="T48" fmla="*/ 1868 w 2069"/>
                    <a:gd name="T49" fmla="*/ 531 h 976"/>
                    <a:gd name="T50" fmla="*/ 1794 w 2069"/>
                    <a:gd name="T51" fmla="*/ 452 h 976"/>
                    <a:gd name="T52" fmla="*/ 1713 w 2069"/>
                    <a:gd name="T53" fmla="*/ 377 h 976"/>
                    <a:gd name="T54" fmla="*/ 1625 w 2069"/>
                    <a:gd name="T55" fmla="*/ 308 h 976"/>
                    <a:gd name="T56" fmla="*/ 1533 w 2069"/>
                    <a:gd name="T57" fmla="*/ 245 h 976"/>
                    <a:gd name="T58" fmla="*/ 1434 w 2069"/>
                    <a:gd name="T59" fmla="*/ 188 h 976"/>
                    <a:gd name="T60" fmla="*/ 1330 w 2069"/>
                    <a:gd name="T61" fmla="*/ 137 h 976"/>
                    <a:gd name="T62" fmla="*/ 1220 w 2069"/>
                    <a:gd name="T63" fmla="*/ 94 h 976"/>
                    <a:gd name="T64" fmla="*/ 1106 w 2069"/>
                    <a:gd name="T65" fmla="*/ 58 h 976"/>
                    <a:gd name="T66" fmla="*/ 992 w 2069"/>
                    <a:gd name="T67" fmla="*/ 31 h 976"/>
                    <a:gd name="T68" fmla="*/ 877 w 2069"/>
                    <a:gd name="T69" fmla="*/ 12 h 976"/>
                    <a:gd name="T70" fmla="*/ 762 w 2069"/>
                    <a:gd name="T71" fmla="*/ 2 h 976"/>
                    <a:gd name="T72" fmla="*/ 649 w 2069"/>
                    <a:gd name="T73" fmla="*/ 0 h 976"/>
                    <a:gd name="T74" fmla="*/ 536 w 2069"/>
                    <a:gd name="T75" fmla="*/ 6 h 976"/>
                    <a:gd name="T76" fmla="*/ 424 w 2069"/>
                    <a:gd name="T77" fmla="*/ 20 h 976"/>
                    <a:gd name="T78" fmla="*/ 314 w 2069"/>
                    <a:gd name="T79" fmla="*/ 41 h 976"/>
                    <a:gd name="T80" fmla="*/ 207 w 2069"/>
                    <a:gd name="T81" fmla="*/ 70 h 976"/>
                    <a:gd name="T82" fmla="*/ 101 w 2069"/>
                    <a:gd name="T83" fmla="*/ 106 h 976"/>
                    <a:gd name="T84" fmla="*/ 0 w 2069"/>
                    <a:gd name="T85" fmla="*/ 148 h 9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069" h="976">
                      <a:moveTo>
                        <a:pt x="0" y="148"/>
                      </a:moveTo>
                      <a:lnTo>
                        <a:pt x="16" y="180"/>
                      </a:lnTo>
                      <a:lnTo>
                        <a:pt x="34" y="211"/>
                      </a:lnTo>
                      <a:lnTo>
                        <a:pt x="52" y="242"/>
                      </a:lnTo>
                      <a:lnTo>
                        <a:pt x="71" y="272"/>
                      </a:lnTo>
                      <a:lnTo>
                        <a:pt x="91" y="302"/>
                      </a:lnTo>
                      <a:lnTo>
                        <a:pt x="112" y="332"/>
                      </a:lnTo>
                      <a:lnTo>
                        <a:pt x="133" y="361"/>
                      </a:lnTo>
                      <a:lnTo>
                        <a:pt x="155" y="389"/>
                      </a:lnTo>
                      <a:lnTo>
                        <a:pt x="177" y="417"/>
                      </a:lnTo>
                      <a:lnTo>
                        <a:pt x="201" y="445"/>
                      </a:lnTo>
                      <a:lnTo>
                        <a:pt x="226" y="472"/>
                      </a:lnTo>
                      <a:lnTo>
                        <a:pt x="250" y="498"/>
                      </a:lnTo>
                      <a:lnTo>
                        <a:pt x="276" y="524"/>
                      </a:lnTo>
                      <a:lnTo>
                        <a:pt x="302" y="550"/>
                      </a:lnTo>
                      <a:lnTo>
                        <a:pt x="329" y="575"/>
                      </a:lnTo>
                      <a:lnTo>
                        <a:pt x="357" y="599"/>
                      </a:lnTo>
                      <a:lnTo>
                        <a:pt x="384" y="623"/>
                      </a:lnTo>
                      <a:lnTo>
                        <a:pt x="414" y="646"/>
                      </a:lnTo>
                      <a:lnTo>
                        <a:pt x="443" y="668"/>
                      </a:lnTo>
                      <a:lnTo>
                        <a:pt x="474" y="690"/>
                      </a:lnTo>
                      <a:lnTo>
                        <a:pt x="505" y="711"/>
                      </a:lnTo>
                      <a:lnTo>
                        <a:pt x="537" y="731"/>
                      </a:lnTo>
                      <a:lnTo>
                        <a:pt x="569" y="751"/>
                      </a:lnTo>
                      <a:lnTo>
                        <a:pt x="602" y="770"/>
                      </a:lnTo>
                      <a:lnTo>
                        <a:pt x="635" y="788"/>
                      </a:lnTo>
                      <a:lnTo>
                        <a:pt x="670" y="806"/>
                      </a:lnTo>
                      <a:lnTo>
                        <a:pt x="704" y="823"/>
                      </a:lnTo>
                      <a:lnTo>
                        <a:pt x="739" y="839"/>
                      </a:lnTo>
                      <a:lnTo>
                        <a:pt x="775" y="854"/>
                      </a:lnTo>
                      <a:lnTo>
                        <a:pt x="812" y="869"/>
                      </a:lnTo>
                      <a:lnTo>
                        <a:pt x="849" y="882"/>
                      </a:lnTo>
                      <a:lnTo>
                        <a:pt x="886" y="895"/>
                      </a:lnTo>
                      <a:lnTo>
                        <a:pt x="924" y="907"/>
                      </a:lnTo>
                      <a:lnTo>
                        <a:pt x="962" y="918"/>
                      </a:lnTo>
                      <a:lnTo>
                        <a:pt x="1000" y="928"/>
                      </a:lnTo>
                      <a:lnTo>
                        <a:pt x="1039" y="937"/>
                      </a:lnTo>
                      <a:lnTo>
                        <a:pt x="1077" y="945"/>
                      </a:lnTo>
                      <a:lnTo>
                        <a:pt x="1115" y="952"/>
                      </a:lnTo>
                      <a:lnTo>
                        <a:pt x="1154" y="958"/>
                      </a:lnTo>
                      <a:lnTo>
                        <a:pt x="1192" y="964"/>
                      </a:lnTo>
                      <a:lnTo>
                        <a:pt x="1230" y="968"/>
                      </a:lnTo>
                      <a:lnTo>
                        <a:pt x="1269" y="971"/>
                      </a:lnTo>
                      <a:lnTo>
                        <a:pt x="1306" y="974"/>
                      </a:lnTo>
                      <a:lnTo>
                        <a:pt x="1344" y="975"/>
                      </a:lnTo>
                      <a:lnTo>
                        <a:pt x="1382" y="976"/>
                      </a:lnTo>
                      <a:lnTo>
                        <a:pt x="1420" y="976"/>
                      </a:lnTo>
                      <a:lnTo>
                        <a:pt x="1458" y="975"/>
                      </a:lnTo>
                      <a:lnTo>
                        <a:pt x="1496" y="973"/>
                      </a:lnTo>
                      <a:lnTo>
                        <a:pt x="1534" y="970"/>
                      </a:lnTo>
                      <a:lnTo>
                        <a:pt x="1571" y="966"/>
                      </a:lnTo>
                      <a:lnTo>
                        <a:pt x="1607" y="962"/>
                      </a:lnTo>
                      <a:lnTo>
                        <a:pt x="1645" y="956"/>
                      </a:lnTo>
                      <a:lnTo>
                        <a:pt x="1682" y="950"/>
                      </a:lnTo>
                      <a:lnTo>
                        <a:pt x="1718" y="943"/>
                      </a:lnTo>
                      <a:lnTo>
                        <a:pt x="1755" y="935"/>
                      </a:lnTo>
                      <a:lnTo>
                        <a:pt x="1791" y="926"/>
                      </a:lnTo>
                      <a:lnTo>
                        <a:pt x="1826" y="917"/>
                      </a:lnTo>
                      <a:lnTo>
                        <a:pt x="1862" y="906"/>
                      </a:lnTo>
                      <a:lnTo>
                        <a:pt x="1898" y="895"/>
                      </a:lnTo>
                      <a:lnTo>
                        <a:pt x="1933" y="883"/>
                      </a:lnTo>
                      <a:lnTo>
                        <a:pt x="1967" y="870"/>
                      </a:lnTo>
                      <a:lnTo>
                        <a:pt x="2002" y="857"/>
                      </a:lnTo>
                      <a:lnTo>
                        <a:pt x="2036" y="843"/>
                      </a:lnTo>
                      <a:lnTo>
                        <a:pt x="2069" y="828"/>
                      </a:lnTo>
                      <a:lnTo>
                        <a:pt x="2053" y="796"/>
                      </a:lnTo>
                      <a:lnTo>
                        <a:pt x="2035" y="765"/>
                      </a:lnTo>
                      <a:lnTo>
                        <a:pt x="2017" y="734"/>
                      </a:lnTo>
                      <a:lnTo>
                        <a:pt x="1998" y="704"/>
                      </a:lnTo>
                      <a:lnTo>
                        <a:pt x="1978" y="674"/>
                      </a:lnTo>
                      <a:lnTo>
                        <a:pt x="1958" y="644"/>
                      </a:lnTo>
                      <a:lnTo>
                        <a:pt x="1936" y="615"/>
                      </a:lnTo>
                      <a:lnTo>
                        <a:pt x="1915" y="587"/>
                      </a:lnTo>
                      <a:lnTo>
                        <a:pt x="1892" y="559"/>
                      </a:lnTo>
                      <a:lnTo>
                        <a:pt x="1868" y="531"/>
                      </a:lnTo>
                      <a:lnTo>
                        <a:pt x="1844" y="504"/>
                      </a:lnTo>
                      <a:lnTo>
                        <a:pt x="1819" y="478"/>
                      </a:lnTo>
                      <a:lnTo>
                        <a:pt x="1794" y="452"/>
                      </a:lnTo>
                      <a:lnTo>
                        <a:pt x="1767" y="426"/>
                      </a:lnTo>
                      <a:lnTo>
                        <a:pt x="1740" y="401"/>
                      </a:lnTo>
                      <a:lnTo>
                        <a:pt x="1713" y="377"/>
                      </a:lnTo>
                      <a:lnTo>
                        <a:pt x="1684" y="353"/>
                      </a:lnTo>
                      <a:lnTo>
                        <a:pt x="1655" y="330"/>
                      </a:lnTo>
                      <a:lnTo>
                        <a:pt x="1625" y="308"/>
                      </a:lnTo>
                      <a:lnTo>
                        <a:pt x="1595" y="286"/>
                      </a:lnTo>
                      <a:lnTo>
                        <a:pt x="1564" y="265"/>
                      </a:lnTo>
                      <a:lnTo>
                        <a:pt x="1533" y="245"/>
                      </a:lnTo>
                      <a:lnTo>
                        <a:pt x="1500" y="225"/>
                      </a:lnTo>
                      <a:lnTo>
                        <a:pt x="1467" y="206"/>
                      </a:lnTo>
                      <a:lnTo>
                        <a:pt x="1434" y="188"/>
                      </a:lnTo>
                      <a:lnTo>
                        <a:pt x="1399" y="170"/>
                      </a:lnTo>
                      <a:lnTo>
                        <a:pt x="1364" y="153"/>
                      </a:lnTo>
                      <a:lnTo>
                        <a:pt x="1330" y="137"/>
                      </a:lnTo>
                      <a:lnTo>
                        <a:pt x="1294" y="122"/>
                      </a:lnTo>
                      <a:lnTo>
                        <a:pt x="1257" y="108"/>
                      </a:lnTo>
                      <a:lnTo>
                        <a:pt x="1220" y="94"/>
                      </a:lnTo>
                      <a:lnTo>
                        <a:pt x="1182" y="81"/>
                      </a:lnTo>
                      <a:lnTo>
                        <a:pt x="1144" y="69"/>
                      </a:lnTo>
                      <a:lnTo>
                        <a:pt x="1106" y="58"/>
                      </a:lnTo>
                      <a:lnTo>
                        <a:pt x="1069" y="48"/>
                      </a:lnTo>
                      <a:lnTo>
                        <a:pt x="1031" y="39"/>
                      </a:lnTo>
                      <a:lnTo>
                        <a:pt x="992" y="31"/>
                      </a:lnTo>
                      <a:lnTo>
                        <a:pt x="954" y="24"/>
                      </a:lnTo>
                      <a:lnTo>
                        <a:pt x="916" y="18"/>
                      </a:lnTo>
                      <a:lnTo>
                        <a:pt x="877" y="12"/>
                      </a:lnTo>
                      <a:lnTo>
                        <a:pt x="839" y="8"/>
                      </a:lnTo>
                      <a:lnTo>
                        <a:pt x="801" y="5"/>
                      </a:lnTo>
                      <a:lnTo>
                        <a:pt x="762" y="2"/>
                      </a:lnTo>
                      <a:lnTo>
                        <a:pt x="724" y="1"/>
                      </a:lnTo>
                      <a:lnTo>
                        <a:pt x="687" y="0"/>
                      </a:lnTo>
                      <a:lnTo>
                        <a:pt x="649" y="0"/>
                      </a:lnTo>
                      <a:lnTo>
                        <a:pt x="611" y="1"/>
                      </a:lnTo>
                      <a:lnTo>
                        <a:pt x="573" y="3"/>
                      </a:lnTo>
                      <a:lnTo>
                        <a:pt x="536" y="6"/>
                      </a:lnTo>
                      <a:lnTo>
                        <a:pt x="498" y="10"/>
                      </a:lnTo>
                      <a:lnTo>
                        <a:pt x="461" y="14"/>
                      </a:lnTo>
                      <a:lnTo>
                        <a:pt x="424" y="20"/>
                      </a:lnTo>
                      <a:lnTo>
                        <a:pt x="388" y="26"/>
                      </a:lnTo>
                      <a:lnTo>
                        <a:pt x="351" y="33"/>
                      </a:lnTo>
                      <a:lnTo>
                        <a:pt x="314" y="41"/>
                      </a:lnTo>
                      <a:lnTo>
                        <a:pt x="278" y="50"/>
                      </a:lnTo>
                      <a:lnTo>
                        <a:pt x="242" y="59"/>
                      </a:lnTo>
                      <a:lnTo>
                        <a:pt x="207" y="70"/>
                      </a:lnTo>
                      <a:lnTo>
                        <a:pt x="171" y="81"/>
                      </a:lnTo>
                      <a:lnTo>
                        <a:pt x="136" y="93"/>
                      </a:lnTo>
                      <a:lnTo>
                        <a:pt x="101" y="106"/>
                      </a:lnTo>
                      <a:lnTo>
                        <a:pt x="68" y="119"/>
                      </a:lnTo>
                      <a:lnTo>
                        <a:pt x="33" y="133"/>
                      </a:lnTo>
                      <a:lnTo>
                        <a:pt x="0" y="14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1" name="Freeform 241"/>
                <p:cNvSpPr>
                  <a:spLocks/>
                </p:cNvSpPr>
                <p:nvPr/>
              </p:nvSpPr>
              <p:spPr bwMode="auto">
                <a:xfrm rot="-2429734">
                  <a:off x="896" y="1928"/>
                  <a:ext cx="54" cy="104"/>
                </a:xfrm>
                <a:custGeom>
                  <a:avLst/>
                  <a:gdLst>
                    <a:gd name="T0" fmla="*/ 790 w 1020"/>
                    <a:gd name="T1" fmla="*/ 33 h 1975"/>
                    <a:gd name="T2" fmla="*/ 695 w 1020"/>
                    <a:gd name="T3" fmla="*/ 88 h 1975"/>
                    <a:gd name="T4" fmla="*/ 604 w 1020"/>
                    <a:gd name="T5" fmla="*/ 150 h 1975"/>
                    <a:gd name="T6" fmla="*/ 518 w 1020"/>
                    <a:gd name="T7" fmla="*/ 217 h 1975"/>
                    <a:gd name="T8" fmla="*/ 437 w 1020"/>
                    <a:gd name="T9" fmla="*/ 291 h 1975"/>
                    <a:gd name="T10" fmla="*/ 361 w 1020"/>
                    <a:gd name="T11" fmla="*/ 371 h 1975"/>
                    <a:gd name="T12" fmla="*/ 292 w 1020"/>
                    <a:gd name="T13" fmla="*/ 458 h 1975"/>
                    <a:gd name="T14" fmla="*/ 228 w 1020"/>
                    <a:gd name="T15" fmla="*/ 548 h 1975"/>
                    <a:gd name="T16" fmla="*/ 172 w 1020"/>
                    <a:gd name="T17" fmla="*/ 644 h 1975"/>
                    <a:gd name="T18" fmla="*/ 122 w 1020"/>
                    <a:gd name="T19" fmla="*/ 746 h 1975"/>
                    <a:gd name="T20" fmla="*/ 80 w 1020"/>
                    <a:gd name="T21" fmla="*/ 852 h 1975"/>
                    <a:gd name="T22" fmla="*/ 47 w 1020"/>
                    <a:gd name="T23" fmla="*/ 960 h 1975"/>
                    <a:gd name="T24" fmla="*/ 22 w 1020"/>
                    <a:gd name="T25" fmla="*/ 1070 h 1975"/>
                    <a:gd name="T26" fmla="*/ 8 w 1020"/>
                    <a:gd name="T27" fmla="*/ 1179 h 1975"/>
                    <a:gd name="T28" fmla="*/ 0 w 1020"/>
                    <a:gd name="T29" fmla="*/ 1288 h 1975"/>
                    <a:gd name="T30" fmla="*/ 2 w 1020"/>
                    <a:gd name="T31" fmla="*/ 1396 h 1975"/>
                    <a:gd name="T32" fmla="*/ 13 w 1020"/>
                    <a:gd name="T33" fmla="*/ 1503 h 1975"/>
                    <a:gd name="T34" fmla="*/ 31 w 1020"/>
                    <a:gd name="T35" fmla="*/ 1608 h 1975"/>
                    <a:gd name="T36" fmla="*/ 57 w 1020"/>
                    <a:gd name="T37" fmla="*/ 1711 h 1975"/>
                    <a:gd name="T38" fmla="*/ 92 w 1020"/>
                    <a:gd name="T39" fmla="*/ 1812 h 1975"/>
                    <a:gd name="T40" fmla="*/ 133 w 1020"/>
                    <a:gd name="T41" fmla="*/ 1911 h 1975"/>
                    <a:gd name="T42" fmla="*/ 197 w 1020"/>
                    <a:gd name="T43" fmla="*/ 1958 h 1975"/>
                    <a:gd name="T44" fmla="*/ 294 w 1020"/>
                    <a:gd name="T45" fmla="*/ 1905 h 1975"/>
                    <a:gd name="T46" fmla="*/ 386 w 1020"/>
                    <a:gd name="T47" fmla="*/ 1846 h 1975"/>
                    <a:gd name="T48" fmla="*/ 474 w 1020"/>
                    <a:gd name="T49" fmla="*/ 1780 h 1975"/>
                    <a:gd name="T50" fmla="*/ 557 w 1020"/>
                    <a:gd name="T51" fmla="*/ 1708 h 1975"/>
                    <a:gd name="T52" fmla="*/ 635 w 1020"/>
                    <a:gd name="T53" fmla="*/ 1630 h 1975"/>
                    <a:gd name="T54" fmla="*/ 706 w 1020"/>
                    <a:gd name="T55" fmla="*/ 1547 h 1975"/>
                    <a:gd name="T56" fmla="*/ 772 w 1020"/>
                    <a:gd name="T57" fmla="*/ 1458 h 1975"/>
                    <a:gd name="T58" fmla="*/ 831 w 1020"/>
                    <a:gd name="T59" fmla="*/ 1363 h 1975"/>
                    <a:gd name="T60" fmla="*/ 882 w 1020"/>
                    <a:gd name="T61" fmla="*/ 1264 h 1975"/>
                    <a:gd name="T62" fmla="*/ 927 w 1020"/>
                    <a:gd name="T63" fmla="*/ 1159 h 1975"/>
                    <a:gd name="T64" fmla="*/ 963 w 1020"/>
                    <a:gd name="T65" fmla="*/ 1051 h 1975"/>
                    <a:gd name="T66" fmla="*/ 991 w 1020"/>
                    <a:gd name="T67" fmla="*/ 942 h 1975"/>
                    <a:gd name="T68" fmla="*/ 1008 w 1020"/>
                    <a:gd name="T69" fmla="*/ 833 h 1975"/>
                    <a:gd name="T70" fmla="*/ 1018 w 1020"/>
                    <a:gd name="T71" fmla="*/ 724 h 1975"/>
                    <a:gd name="T72" fmla="*/ 1019 w 1020"/>
                    <a:gd name="T73" fmla="*/ 616 h 1975"/>
                    <a:gd name="T74" fmla="*/ 1012 w 1020"/>
                    <a:gd name="T75" fmla="*/ 508 h 1975"/>
                    <a:gd name="T76" fmla="*/ 996 w 1020"/>
                    <a:gd name="T77" fmla="*/ 401 h 1975"/>
                    <a:gd name="T78" fmla="*/ 973 w 1020"/>
                    <a:gd name="T79" fmla="*/ 297 h 1975"/>
                    <a:gd name="T80" fmla="*/ 941 w 1020"/>
                    <a:gd name="T81" fmla="*/ 195 h 1975"/>
                    <a:gd name="T82" fmla="*/ 902 w 1020"/>
                    <a:gd name="T83" fmla="*/ 96 h 1975"/>
                    <a:gd name="T84" fmla="*/ 856 w 1020"/>
                    <a:gd name="T85" fmla="*/ 0 h 1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20" h="1975">
                      <a:moveTo>
                        <a:pt x="856" y="0"/>
                      </a:moveTo>
                      <a:lnTo>
                        <a:pt x="822" y="16"/>
                      </a:lnTo>
                      <a:lnTo>
                        <a:pt x="790" y="33"/>
                      </a:lnTo>
                      <a:lnTo>
                        <a:pt x="758" y="51"/>
                      </a:lnTo>
                      <a:lnTo>
                        <a:pt x="726" y="69"/>
                      </a:lnTo>
                      <a:lnTo>
                        <a:pt x="695" y="88"/>
                      </a:lnTo>
                      <a:lnTo>
                        <a:pt x="664" y="108"/>
                      </a:lnTo>
                      <a:lnTo>
                        <a:pt x="634" y="128"/>
                      </a:lnTo>
                      <a:lnTo>
                        <a:pt x="604" y="150"/>
                      </a:lnTo>
                      <a:lnTo>
                        <a:pt x="575" y="172"/>
                      </a:lnTo>
                      <a:lnTo>
                        <a:pt x="546" y="194"/>
                      </a:lnTo>
                      <a:lnTo>
                        <a:pt x="518" y="217"/>
                      </a:lnTo>
                      <a:lnTo>
                        <a:pt x="490" y="241"/>
                      </a:lnTo>
                      <a:lnTo>
                        <a:pt x="463" y="266"/>
                      </a:lnTo>
                      <a:lnTo>
                        <a:pt x="437" y="291"/>
                      </a:lnTo>
                      <a:lnTo>
                        <a:pt x="411" y="317"/>
                      </a:lnTo>
                      <a:lnTo>
                        <a:pt x="385" y="344"/>
                      </a:lnTo>
                      <a:lnTo>
                        <a:pt x="361" y="371"/>
                      </a:lnTo>
                      <a:lnTo>
                        <a:pt x="337" y="399"/>
                      </a:lnTo>
                      <a:lnTo>
                        <a:pt x="314" y="428"/>
                      </a:lnTo>
                      <a:lnTo>
                        <a:pt x="292" y="458"/>
                      </a:lnTo>
                      <a:lnTo>
                        <a:pt x="270" y="487"/>
                      </a:lnTo>
                      <a:lnTo>
                        <a:pt x="249" y="518"/>
                      </a:lnTo>
                      <a:lnTo>
                        <a:pt x="228" y="548"/>
                      </a:lnTo>
                      <a:lnTo>
                        <a:pt x="209" y="580"/>
                      </a:lnTo>
                      <a:lnTo>
                        <a:pt x="190" y="612"/>
                      </a:lnTo>
                      <a:lnTo>
                        <a:pt x="172" y="644"/>
                      </a:lnTo>
                      <a:lnTo>
                        <a:pt x="154" y="678"/>
                      </a:lnTo>
                      <a:lnTo>
                        <a:pt x="137" y="711"/>
                      </a:lnTo>
                      <a:lnTo>
                        <a:pt x="122" y="746"/>
                      </a:lnTo>
                      <a:lnTo>
                        <a:pt x="108" y="780"/>
                      </a:lnTo>
                      <a:lnTo>
                        <a:pt x="93" y="816"/>
                      </a:lnTo>
                      <a:lnTo>
                        <a:pt x="80" y="852"/>
                      </a:lnTo>
                      <a:lnTo>
                        <a:pt x="68" y="888"/>
                      </a:lnTo>
                      <a:lnTo>
                        <a:pt x="57" y="924"/>
                      </a:lnTo>
                      <a:lnTo>
                        <a:pt x="47" y="960"/>
                      </a:lnTo>
                      <a:lnTo>
                        <a:pt x="38" y="997"/>
                      </a:lnTo>
                      <a:lnTo>
                        <a:pt x="30" y="1033"/>
                      </a:lnTo>
                      <a:lnTo>
                        <a:pt x="22" y="1070"/>
                      </a:lnTo>
                      <a:lnTo>
                        <a:pt x="16" y="1106"/>
                      </a:lnTo>
                      <a:lnTo>
                        <a:pt x="12" y="1142"/>
                      </a:lnTo>
                      <a:lnTo>
                        <a:pt x="8" y="1179"/>
                      </a:lnTo>
                      <a:lnTo>
                        <a:pt x="4" y="1215"/>
                      </a:lnTo>
                      <a:lnTo>
                        <a:pt x="2" y="1251"/>
                      </a:lnTo>
                      <a:lnTo>
                        <a:pt x="0" y="1288"/>
                      </a:lnTo>
                      <a:lnTo>
                        <a:pt x="0" y="1324"/>
                      </a:lnTo>
                      <a:lnTo>
                        <a:pt x="1" y="1360"/>
                      </a:lnTo>
                      <a:lnTo>
                        <a:pt x="2" y="1396"/>
                      </a:lnTo>
                      <a:lnTo>
                        <a:pt x="5" y="1431"/>
                      </a:lnTo>
                      <a:lnTo>
                        <a:pt x="9" y="1467"/>
                      </a:lnTo>
                      <a:lnTo>
                        <a:pt x="13" y="1503"/>
                      </a:lnTo>
                      <a:lnTo>
                        <a:pt x="18" y="1538"/>
                      </a:lnTo>
                      <a:lnTo>
                        <a:pt x="24" y="1573"/>
                      </a:lnTo>
                      <a:lnTo>
                        <a:pt x="31" y="1608"/>
                      </a:lnTo>
                      <a:lnTo>
                        <a:pt x="39" y="1643"/>
                      </a:lnTo>
                      <a:lnTo>
                        <a:pt x="48" y="1677"/>
                      </a:lnTo>
                      <a:lnTo>
                        <a:pt x="57" y="1711"/>
                      </a:lnTo>
                      <a:lnTo>
                        <a:pt x="68" y="1745"/>
                      </a:lnTo>
                      <a:lnTo>
                        <a:pt x="79" y="1779"/>
                      </a:lnTo>
                      <a:lnTo>
                        <a:pt x="92" y="1812"/>
                      </a:lnTo>
                      <a:lnTo>
                        <a:pt x="104" y="1846"/>
                      </a:lnTo>
                      <a:lnTo>
                        <a:pt x="118" y="1878"/>
                      </a:lnTo>
                      <a:lnTo>
                        <a:pt x="133" y="1911"/>
                      </a:lnTo>
                      <a:lnTo>
                        <a:pt x="149" y="1943"/>
                      </a:lnTo>
                      <a:lnTo>
                        <a:pt x="164" y="1975"/>
                      </a:lnTo>
                      <a:lnTo>
                        <a:pt x="197" y="1958"/>
                      </a:lnTo>
                      <a:lnTo>
                        <a:pt x="230" y="1941"/>
                      </a:lnTo>
                      <a:lnTo>
                        <a:pt x="262" y="1924"/>
                      </a:lnTo>
                      <a:lnTo>
                        <a:pt x="294" y="1905"/>
                      </a:lnTo>
                      <a:lnTo>
                        <a:pt x="325" y="1886"/>
                      </a:lnTo>
                      <a:lnTo>
                        <a:pt x="356" y="1867"/>
                      </a:lnTo>
                      <a:lnTo>
                        <a:pt x="386" y="1846"/>
                      </a:lnTo>
                      <a:lnTo>
                        <a:pt x="416" y="1825"/>
                      </a:lnTo>
                      <a:lnTo>
                        <a:pt x="445" y="1803"/>
                      </a:lnTo>
                      <a:lnTo>
                        <a:pt x="474" y="1780"/>
                      </a:lnTo>
                      <a:lnTo>
                        <a:pt x="502" y="1757"/>
                      </a:lnTo>
                      <a:lnTo>
                        <a:pt x="530" y="1733"/>
                      </a:lnTo>
                      <a:lnTo>
                        <a:pt x="557" y="1708"/>
                      </a:lnTo>
                      <a:lnTo>
                        <a:pt x="583" y="1683"/>
                      </a:lnTo>
                      <a:lnTo>
                        <a:pt x="610" y="1657"/>
                      </a:lnTo>
                      <a:lnTo>
                        <a:pt x="635" y="1630"/>
                      </a:lnTo>
                      <a:lnTo>
                        <a:pt x="659" y="1603"/>
                      </a:lnTo>
                      <a:lnTo>
                        <a:pt x="683" y="1575"/>
                      </a:lnTo>
                      <a:lnTo>
                        <a:pt x="706" y="1547"/>
                      </a:lnTo>
                      <a:lnTo>
                        <a:pt x="729" y="1518"/>
                      </a:lnTo>
                      <a:lnTo>
                        <a:pt x="751" y="1488"/>
                      </a:lnTo>
                      <a:lnTo>
                        <a:pt x="772" y="1458"/>
                      </a:lnTo>
                      <a:lnTo>
                        <a:pt x="792" y="1427"/>
                      </a:lnTo>
                      <a:lnTo>
                        <a:pt x="812" y="1395"/>
                      </a:lnTo>
                      <a:lnTo>
                        <a:pt x="831" y="1363"/>
                      </a:lnTo>
                      <a:lnTo>
                        <a:pt x="849" y="1331"/>
                      </a:lnTo>
                      <a:lnTo>
                        <a:pt x="866" y="1298"/>
                      </a:lnTo>
                      <a:lnTo>
                        <a:pt x="882" y="1264"/>
                      </a:lnTo>
                      <a:lnTo>
                        <a:pt x="898" y="1230"/>
                      </a:lnTo>
                      <a:lnTo>
                        <a:pt x="913" y="1195"/>
                      </a:lnTo>
                      <a:lnTo>
                        <a:pt x="927" y="1159"/>
                      </a:lnTo>
                      <a:lnTo>
                        <a:pt x="940" y="1124"/>
                      </a:lnTo>
                      <a:lnTo>
                        <a:pt x="953" y="1087"/>
                      </a:lnTo>
                      <a:lnTo>
                        <a:pt x="963" y="1051"/>
                      </a:lnTo>
                      <a:lnTo>
                        <a:pt x="974" y="1015"/>
                      </a:lnTo>
                      <a:lnTo>
                        <a:pt x="982" y="979"/>
                      </a:lnTo>
                      <a:lnTo>
                        <a:pt x="991" y="942"/>
                      </a:lnTo>
                      <a:lnTo>
                        <a:pt x="998" y="906"/>
                      </a:lnTo>
                      <a:lnTo>
                        <a:pt x="1003" y="869"/>
                      </a:lnTo>
                      <a:lnTo>
                        <a:pt x="1008" y="833"/>
                      </a:lnTo>
                      <a:lnTo>
                        <a:pt x="1013" y="797"/>
                      </a:lnTo>
                      <a:lnTo>
                        <a:pt x="1016" y="760"/>
                      </a:lnTo>
                      <a:lnTo>
                        <a:pt x="1018" y="724"/>
                      </a:lnTo>
                      <a:lnTo>
                        <a:pt x="1019" y="688"/>
                      </a:lnTo>
                      <a:lnTo>
                        <a:pt x="1020" y="652"/>
                      </a:lnTo>
                      <a:lnTo>
                        <a:pt x="1019" y="616"/>
                      </a:lnTo>
                      <a:lnTo>
                        <a:pt x="1018" y="580"/>
                      </a:lnTo>
                      <a:lnTo>
                        <a:pt x="1015" y="544"/>
                      </a:lnTo>
                      <a:lnTo>
                        <a:pt x="1012" y="508"/>
                      </a:lnTo>
                      <a:lnTo>
                        <a:pt x="1007" y="473"/>
                      </a:lnTo>
                      <a:lnTo>
                        <a:pt x="1002" y="437"/>
                      </a:lnTo>
                      <a:lnTo>
                        <a:pt x="996" y="401"/>
                      </a:lnTo>
                      <a:lnTo>
                        <a:pt x="988" y="366"/>
                      </a:lnTo>
                      <a:lnTo>
                        <a:pt x="981" y="332"/>
                      </a:lnTo>
                      <a:lnTo>
                        <a:pt x="973" y="297"/>
                      </a:lnTo>
                      <a:lnTo>
                        <a:pt x="962" y="263"/>
                      </a:lnTo>
                      <a:lnTo>
                        <a:pt x="952" y="229"/>
                      </a:lnTo>
                      <a:lnTo>
                        <a:pt x="941" y="195"/>
                      </a:lnTo>
                      <a:lnTo>
                        <a:pt x="928" y="162"/>
                      </a:lnTo>
                      <a:lnTo>
                        <a:pt x="916" y="129"/>
                      </a:lnTo>
                      <a:lnTo>
                        <a:pt x="902" y="96"/>
                      </a:lnTo>
                      <a:lnTo>
                        <a:pt x="887" y="64"/>
                      </a:lnTo>
                      <a:lnTo>
                        <a:pt x="872" y="31"/>
                      </a:lnTo>
                      <a:lnTo>
                        <a:pt x="856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2" name="Freeform 242"/>
                <p:cNvSpPr>
                  <a:spLocks/>
                </p:cNvSpPr>
                <p:nvPr/>
              </p:nvSpPr>
              <p:spPr bwMode="auto">
                <a:xfrm rot="-2429734">
                  <a:off x="966" y="1936"/>
                  <a:ext cx="46" cy="109"/>
                </a:xfrm>
                <a:custGeom>
                  <a:avLst/>
                  <a:gdLst>
                    <a:gd name="T0" fmla="*/ 522 w 920"/>
                    <a:gd name="T1" fmla="*/ 46 h 2068"/>
                    <a:gd name="T2" fmla="*/ 441 w 920"/>
                    <a:gd name="T3" fmla="*/ 119 h 2068"/>
                    <a:gd name="T4" fmla="*/ 366 w 920"/>
                    <a:gd name="T5" fmla="*/ 197 h 2068"/>
                    <a:gd name="T6" fmla="*/ 297 w 920"/>
                    <a:gd name="T7" fmla="*/ 281 h 2068"/>
                    <a:gd name="T8" fmla="*/ 234 w 920"/>
                    <a:gd name="T9" fmla="*/ 369 h 2068"/>
                    <a:gd name="T10" fmla="*/ 178 w 920"/>
                    <a:gd name="T11" fmla="*/ 463 h 2068"/>
                    <a:gd name="T12" fmla="*/ 128 w 920"/>
                    <a:gd name="T13" fmla="*/ 560 h 2068"/>
                    <a:gd name="T14" fmla="*/ 86 w 920"/>
                    <a:gd name="T15" fmla="*/ 661 h 2068"/>
                    <a:gd name="T16" fmla="*/ 53 w 920"/>
                    <a:gd name="T17" fmla="*/ 767 h 2068"/>
                    <a:gd name="T18" fmla="*/ 26 w 920"/>
                    <a:gd name="T19" fmla="*/ 875 h 2068"/>
                    <a:gd name="T20" fmla="*/ 9 w 920"/>
                    <a:gd name="T21" fmla="*/ 987 h 2068"/>
                    <a:gd name="T22" fmla="*/ 1 w 920"/>
                    <a:gd name="T23" fmla="*/ 1100 h 2068"/>
                    <a:gd name="T24" fmla="*/ 1 w 920"/>
                    <a:gd name="T25" fmla="*/ 1212 h 2068"/>
                    <a:gd name="T26" fmla="*/ 10 w 920"/>
                    <a:gd name="T27" fmla="*/ 1322 h 2068"/>
                    <a:gd name="T28" fmla="*/ 28 w 920"/>
                    <a:gd name="T29" fmla="*/ 1430 h 2068"/>
                    <a:gd name="T30" fmla="*/ 54 w 920"/>
                    <a:gd name="T31" fmla="*/ 1535 h 2068"/>
                    <a:gd name="T32" fmla="*/ 87 w 920"/>
                    <a:gd name="T33" fmla="*/ 1637 h 2068"/>
                    <a:gd name="T34" fmla="*/ 128 w 920"/>
                    <a:gd name="T35" fmla="*/ 1737 h 2068"/>
                    <a:gd name="T36" fmla="*/ 178 w 920"/>
                    <a:gd name="T37" fmla="*/ 1832 h 2068"/>
                    <a:gd name="T38" fmla="*/ 233 w 920"/>
                    <a:gd name="T39" fmla="*/ 1924 h 2068"/>
                    <a:gd name="T40" fmla="*/ 296 w 920"/>
                    <a:gd name="T41" fmla="*/ 2012 h 2068"/>
                    <a:gd name="T42" fmla="*/ 369 w 920"/>
                    <a:gd name="T43" fmla="*/ 2046 h 2068"/>
                    <a:gd name="T44" fmla="*/ 451 w 920"/>
                    <a:gd name="T45" fmla="*/ 1975 h 2068"/>
                    <a:gd name="T46" fmla="*/ 528 w 920"/>
                    <a:gd name="T47" fmla="*/ 1898 h 2068"/>
                    <a:gd name="T48" fmla="*/ 600 w 920"/>
                    <a:gd name="T49" fmla="*/ 1816 h 2068"/>
                    <a:gd name="T50" fmla="*/ 665 w 920"/>
                    <a:gd name="T51" fmla="*/ 1730 h 2068"/>
                    <a:gd name="T52" fmla="*/ 724 w 920"/>
                    <a:gd name="T53" fmla="*/ 1638 h 2068"/>
                    <a:gd name="T54" fmla="*/ 776 w 920"/>
                    <a:gd name="T55" fmla="*/ 1542 h 2068"/>
                    <a:gd name="T56" fmla="*/ 820 w 920"/>
                    <a:gd name="T57" fmla="*/ 1442 h 2068"/>
                    <a:gd name="T58" fmla="*/ 857 w 920"/>
                    <a:gd name="T59" fmla="*/ 1338 h 2068"/>
                    <a:gd name="T60" fmla="*/ 885 w 920"/>
                    <a:gd name="T61" fmla="*/ 1230 h 2068"/>
                    <a:gd name="T62" fmla="*/ 905 w 920"/>
                    <a:gd name="T63" fmla="*/ 1119 h 2068"/>
                    <a:gd name="T64" fmla="*/ 917 w 920"/>
                    <a:gd name="T65" fmla="*/ 1006 h 2068"/>
                    <a:gd name="T66" fmla="*/ 919 w 920"/>
                    <a:gd name="T67" fmla="*/ 894 h 2068"/>
                    <a:gd name="T68" fmla="*/ 912 w 920"/>
                    <a:gd name="T69" fmla="*/ 783 h 2068"/>
                    <a:gd name="T70" fmla="*/ 898 w 920"/>
                    <a:gd name="T71" fmla="*/ 675 h 2068"/>
                    <a:gd name="T72" fmla="*/ 875 w 920"/>
                    <a:gd name="T73" fmla="*/ 569 h 2068"/>
                    <a:gd name="T74" fmla="*/ 844 w 920"/>
                    <a:gd name="T75" fmla="*/ 466 h 2068"/>
                    <a:gd name="T76" fmla="*/ 805 w 920"/>
                    <a:gd name="T77" fmla="*/ 365 h 2068"/>
                    <a:gd name="T78" fmla="*/ 759 w 920"/>
                    <a:gd name="T79" fmla="*/ 268 h 2068"/>
                    <a:gd name="T80" fmla="*/ 705 w 920"/>
                    <a:gd name="T81" fmla="*/ 175 h 2068"/>
                    <a:gd name="T82" fmla="*/ 645 w 920"/>
                    <a:gd name="T83" fmla="*/ 85 h 2068"/>
                    <a:gd name="T84" fmla="*/ 579 w 920"/>
                    <a:gd name="T85" fmla="*/ 0 h 20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3" name="Freeform 243"/>
                <p:cNvSpPr>
                  <a:spLocks/>
                </p:cNvSpPr>
                <p:nvPr/>
              </p:nvSpPr>
              <p:spPr bwMode="auto">
                <a:xfrm rot="-2429734">
                  <a:off x="733" y="1618"/>
                  <a:ext cx="54" cy="103"/>
                </a:xfrm>
                <a:custGeom>
                  <a:avLst/>
                  <a:gdLst>
                    <a:gd name="T0" fmla="*/ 796 w 1022"/>
                    <a:gd name="T1" fmla="*/ 33 h 1973"/>
                    <a:gd name="T2" fmla="*/ 700 w 1022"/>
                    <a:gd name="T3" fmla="*/ 88 h 1973"/>
                    <a:gd name="T4" fmla="*/ 609 w 1022"/>
                    <a:gd name="T5" fmla="*/ 149 h 1973"/>
                    <a:gd name="T6" fmla="*/ 522 w 1022"/>
                    <a:gd name="T7" fmla="*/ 217 h 1973"/>
                    <a:gd name="T8" fmla="*/ 441 w 1022"/>
                    <a:gd name="T9" fmla="*/ 290 h 1973"/>
                    <a:gd name="T10" fmla="*/ 366 w 1022"/>
                    <a:gd name="T11" fmla="*/ 370 h 1973"/>
                    <a:gd name="T12" fmla="*/ 295 w 1022"/>
                    <a:gd name="T13" fmla="*/ 455 h 1973"/>
                    <a:gd name="T14" fmla="*/ 231 w 1022"/>
                    <a:gd name="T15" fmla="*/ 546 h 1973"/>
                    <a:gd name="T16" fmla="*/ 174 w 1022"/>
                    <a:gd name="T17" fmla="*/ 641 h 1973"/>
                    <a:gd name="T18" fmla="*/ 125 w 1022"/>
                    <a:gd name="T19" fmla="*/ 742 h 1973"/>
                    <a:gd name="T20" fmla="*/ 83 w 1022"/>
                    <a:gd name="T21" fmla="*/ 848 h 1973"/>
                    <a:gd name="T22" fmla="*/ 48 w 1022"/>
                    <a:gd name="T23" fmla="*/ 957 h 1973"/>
                    <a:gd name="T24" fmla="*/ 24 w 1022"/>
                    <a:gd name="T25" fmla="*/ 1067 h 1973"/>
                    <a:gd name="T26" fmla="*/ 8 w 1022"/>
                    <a:gd name="T27" fmla="*/ 1176 h 1973"/>
                    <a:gd name="T28" fmla="*/ 0 w 1022"/>
                    <a:gd name="T29" fmla="*/ 1285 h 1973"/>
                    <a:gd name="T30" fmla="*/ 3 w 1022"/>
                    <a:gd name="T31" fmla="*/ 1393 h 1973"/>
                    <a:gd name="T32" fmla="*/ 12 w 1022"/>
                    <a:gd name="T33" fmla="*/ 1500 h 1973"/>
                    <a:gd name="T34" fmla="*/ 30 w 1022"/>
                    <a:gd name="T35" fmla="*/ 1605 h 1973"/>
                    <a:gd name="T36" fmla="*/ 56 w 1022"/>
                    <a:gd name="T37" fmla="*/ 1709 h 1973"/>
                    <a:gd name="T38" fmla="*/ 89 w 1022"/>
                    <a:gd name="T39" fmla="*/ 1810 h 1973"/>
                    <a:gd name="T40" fmla="*/ 130 w 1022"/>
                    <a:gd name="T41" fmla="*/ 1909 h 1973"/>
                    <a:gd name="T42" fmla="*/ 194 w 1022"/>
                    <a:gd name="T43" fmla="*/ 1956 h 1973"/>
                    <a:gd name="T44" fmla="*/ 291 w 1022"/>
                    <a:gd name="T45" fmla="*/ 1904 h 1973"/>
                    <a:gd name="T46" fmla="*/ 384 w 1022"/>
                    <a:gd name="T47" fmla="*/ 1845 h 1973"/>
                    <a:gd name="T48" fmla="*/ 472 w 1022"/>
                    <a:gd name="T49" fmla="*/ 1779 h 1973"/>
                    <a:gd name="T50" fmla="*/ 555 w 1022"/>
                    <a:gd name="T51" fmla="*/ 1708 h 1973"/>
                    <a:gd name="T52" fmla="*/ 633 w 1022"/>
                    <a:gd name="T53" fmla="*/ 1630 h 1973"/>
                    <a:gd name="T54" fmla="*/ 706 w 1022"/>
                    <a:gd name="T55" fmla="*/ 1547 h 1973"/>
                    <a:gd name="T56" fmla="*/ 771 w 1022"/>
                    <a:gd name="T57" fmla="*/ 1458 h 1973"/>
                    <a:gd name="T58" fmla="*/ 831 w 1022"/>
                    <a:gd name="T59" fmla="*/ 1364 h 1973"/>
                    <a:gd name="T60" fmla="*/ 882 w 1022"/>
                    <a:gd name="T61" fmla="*/ 1265 h 1973"/>
                    <a:gd name="T62" fmla="*/ 928 w 1022"/>
                    <a:gd name="T63" fmla="*/ 1161 h 1973"/>
                    <a:gd name="T64" fmla="*/ 965 w 1022"/>
                    <a:gd name="T65" fmla="*/ 1052 h 1973"/>
                    <a:gd name="T66" fmla="*/ 992 w 1022"/>
                    <a:gd name="T67" fmla="*/ 942 h 1973"/>
                    <a:gd name="T68" fmla="*/ 1011 w 1022"/>
                    <a:gd name="T69" fmla="*/ 833 h 1973"/>
                    <a:gd name="T70" fmla="*/ 1021 w 1022"/>
                    <a:gd name="T71" fmla="*/ 724 h 1973"/>
                    <a:gd name="T72" fmla="*/ 1022 w 1022"/>
                    <a:gd name="T73" fmla="*/ 616 h 1973"/>
                    <a:gd name="T74" fmla="*/ 1015 w 1022"/>
                    <a:gd name="T75" fmla="*/ 509 h 1973"/>
                    <a:gd name="T76" fmla="*/ 1000 w 1022"/>
                    <a:gd name="T77" fmla="*/ 403 h 1973"/>
                    <a:gd name="T78" fmla="*/ 977 w 1022"/>
                    <a:gd name="T79" fmla="*/ 299 h 1973"/>
                    <a:gd name="T80" fmla="*/ 946 w 1022"/>
                    <a:gd name="T81" fmla="*/ 197 h 1973"/>
                    <a:gd name="T82" fmla="*/ 908 w 1022"/>
                    <a:gd name="T83" fmla="*/ 97 h 1973"/>
                    <a:gd name="T84" fmla="*/ 861 w 1022"/>
                    <a:gd name="T85" fmla="*/ 0 h 19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22" h="1973">
                      <a:moveTo>
                        <a:pt x="861" y="0"/>
                      </a:moveTo>
                      <a:lnTo>
                        <a:pt x="829" y="17"/>
                      </a:lnTo>
                      <a:lnTo>
                        <a:pt x="796" y="33"/>
                      </a:lnTo>
                      <a:lnTo>
                        <a:pt x="763" y="51"/>
                      </a:lnTo>
                      <a:lnTo>
                        <a:pt x="732" y="69"/>
                      </a:lnTo>
                      <a:lnTo>
                        <a:pt x="700" y="88"/>
                      </a:lnTo>
                      <a:lnTo>
                        <a:pt x="670" y="108"/>
                      </a:lnTo>
                      <a:lnTo>
                        <a:pt x="639" y="128"/>
                      </a:lnTo>
                      <a:lnTo>
                        <a:pt x="609" y="149"/>
                      </a:lnTo>
                      <a:lnTo>
                        <a:pt x="580" y="171"/>
                      </a:lnTo>
                      <a:lnTo>
                        <a:pt x="551" y="194"/>
                      </a:lnTo>
                      <a:lnTo>
                        <a:pt x="522" y="217"/>
                      </a:lnTo>
                      <a:lnTo>
                        <a:pt x="495" y="241"/>
                      </a:lnTo>
                      <a:lnTo>
                        <a:pt x="468" y="265"/>
                      </a:lnTo>
                      <a:lnTo>
                        <a:pt x="441" y="290"/>
                      </a:lnTo>
                      <a:lnTo>
                        <a:pt x="415" y="316"/>
                      </a:lnTo>
                      <a:lnTo>
                        <a:pt x="390" y="343"/>
                      </a:lnTo>
                      <a:lnTo>
                        <a:pt x="366" y="370"/>
                      </a:lnTo>
                      <a:lnTo>
                        <a:pt x="341" y="398"/>
                      </a:lnTo>
                      <a:lnTo>
                        <a:pt x="318" y="426"/>
                      </a:lnTo>
                      <a:lnTo>
                        <a:pt x="295" y="455"/>
                      </a:lnTo>
                      <a:lnTo>
                        <a:pt x="273" y="485"/>
                      </a:lnTo>
                      <a:lnTo>
                        <a:pt x="252" y="515"/>
                      </a:lnTo>
                      <a:lnTo>
                        <a:pt x="231" y="546"/>
                      </a:lnTo>
                      <a:lnTo>
                        <a:pt x="212" y="577"/>
                      </a:lnTo>
                      <a:lnTo>
                        <a:pt x="193" y="609"/>
                      </a:lnTo>
                      <a:lnTo>
                        <a:pt x="174" y="641"/>
                      </a:lnTo>
                      <a:lnTo>
                        <a:pt x="157" y="675"/>
                      </a:lnTo>
                      <a:lnTo>
                        <a:pt x="140" y="708"/>
                      </a:lnTo>
                      <a:lnTo>
                        <a:pt x="125" y="742"/>
                      </a:lnTo>
                      <a:lnTo>
                        <a:pt x="110" y="777"/>
                      </a:lnTo>
                      <a:lnTo>
                        <a:pt x="95" y="812"/>
                      </a:lnTo>
                      <a:lnTo>
                        <a:pt x="83" y="848"/>
                      </a:lnTo>
                      <a:lnTo>
                        <a:pt x="70" y="884"/>
                      </a:lnTo>
                      <a:lnTo>
                        <a:pt x="58" y="921"/>
                      </a:lnTo>
                      <a:lnTo>
                        <a:pt x="48" y="957"/>
                      </a:lnTo>
                      <a:lnTo>
                        <a:pt x="39" y="994"/>
                      </a:lnTo>
                      <a:lnTo>
                        <a:pt x="31" y="1031"/>
                      </a:lnTo>
                      <a:lnTo>
                        <a:pt x="24" y="1067"/>
                      </a:lnTo>
                      <a:lnTo>
                        <a:pt x="17" y="1103"/>
                      </a:lnTo>
                      <a:lnTo>
                        <a:pt x="12" y="1140"/>
                      </a:lnTo>
                      <a:lnTo>
                        <a:pt x="8" y="1176"/>
                      </a:lnTo>
                      <a:lnTo>
                        <a:pt x="5" y="1212"/>
                      </a:lnTo>
                      <a:lnTo>
                        <a:pt x="3" y="1249"/>
                      </a:lnTo>
                      <a:lnTo>
                        <a:pt x="0" y="1285"/>
                      </a:lnTo>
                      <a:lnTo>
                        <a:pt x="0" y="1321"/>
                      </a:lnTo>
                      <a:lnTo>
                        <a:pt x="0" y="1357"/>
                      </a:lnTo>
                      <a:lnTo>
                        <a:pt x="3" y="1393"/>
                      </a:lnTo>
                      <a:lnTo>
                        <a:pt x="5" y="1429"/>
                      </a:lnTo>
                      <a:lnTo>
                        <a:pt x="8" y="1464"/>
                      </a:lnTo>
                      <a:lnTo>
                        <a:pt x="12" y="1500"/>
                      </a:lnTo>
                      <a:lnTo>
                        <a:pt x="17" y="1535"/>
                      </a:lnTo>
                      <a:lnTo>
                        <a:pt x="24" y="1570"/>
                      </a:lnTo>
                      <a:lnTo>
                        <a:pt x="30" y="1605"/>
                      </a:lnTo>
                      <a:lnTo>
                        <a:pt x="37" y="1640"/>
                      </a:lnTo>
                      <a:lnTo>
                        <a:pt x="47" y="1675"/>
                      </a:lnTo>
                      <a:lnTo>
                        <a:pt x="56" y="1709"/>
                      </a:lnTo>
                      <a:lnTo>
                        <a:pt x="66" y="1743"/>
                      </a:lnTo>
                      <a:lnTo>
                        <a:pt x="77" y="1777"/>
                      </a:lnTo>
                      <a:lnTo>
                        <a:pt x="89" y="1810"/>
                      </a:lnTo>
                      <a:lnTo>
                        <a:pt x="103" y="1843"/>
                      </a:lnTo>
                      <a:lnTo>
                        <a:pt x="115" y="1876"/>
                      </a:lnTo>
                      <a:lnTo>
                        <a:pt x="130" y="1909"/>
                      </a:lnTo>
                      <a:lnTo>
                        <a:pt x="146" y="1941"/>
                      </a:lnTo>
                      <a:lnTo>
                        <a:pt x="161" y="1973"/>
                      </a:lnTo>
                      <a:lnTo>
                        <a:pt x="194" y="1956"/>
                      </a:lnTo>
                      <a:lnTo>
                        <a:pt x="228" y="1940"/>
                      </a:lnTo>
                      <a:lnTo>
                        <a:pt x="259" y="1922"/>
                      </a:lnTo>
                      <a:lnTo>
                        <a:pt x="291" y="1904"/>
                      </a:lnTo>
                      <a:lnTo>
                        <a:pt x="322" y="1885"/>
                      </a:lnTo>
                      <a:lnTo>
                        <a:pt x="353" y="1865"/>
                      </a:lnTo>
                      <a:lnTo>
                        <a:pt x="384" y="1845"/>
                      </a:lnTo>
                      <a:lnTo>
                        <a:pt x="414" y="1824"/>
                      </a:lnTo>
                      <a:lnTo>
                        <a:pt x="444" y="1802"/>
                      </a:lnTo>
                      <a:lnTo>
                        <a:pt x="472" y="1779"/>
                      </a:lnTo>
                      <a:lnTo>
                        <a:pt x="500" y="1756"/>
                      </a:lnTo>
                      <a:lnTo>
                        <a:pt x="528" y="1732"/>
                      </a:lnTo>
                      <a:lnTo>
                        <a:pt x="555" y="1708"/>
                      </a:lnTo>
                      <a:lnTo>
                        <a:pt x="581" y="1683"/>
                      </a:lnTo>
                      <a:lnTo>
                        <a:pt x="608" y="1657"/>
                      </a:lnTo>
                      <a:lnTo>
                        <a:pt x="633" y="1630"/>
                      </a:lnTo>
                      <a:lnTo>
                        <a:pt x="658" y="1603"/>
                      </a:lnTo>
                      <a:lnTo>
                        <a:pt x="681" y="1575"/>
                      </a:lnTo>
                      <a:lnTo>
                        <a:pt x="706" y="1547"/>
                      </a:lnTo>
                      <a:lnTo>
                        <a:pt x="728" y="1518"/>
                      </a:lnTo>
                      <a:lnTo>
                        <a:pt x="750" y="1488"/>
                      </a:lnTo>
                      <a:lnTo>
                        <a:pt x="771" y="1458"/>
                      </a:lnTo>
                      <a:lnTo>
                        <a:pt x="792" y="1427"/>
                      </a:lnTo>
                      <a:lnTo>
                        <a:pt x="812" y="1396"/>
                      </a:lnTo>
                      <a:lnTo>
                        <a:pt x="831" y="1364"/>
                      </a:lnTo>
                      <a:lnTo>
                        <a:pt x="849" y="1332"/>
                      </a:lnTo>
                      <a:lnTo>
                        <a:pt x="867" y="1299"/>
                      </a:lnTo>
                      <a:lnTo>
                        <a:pt x="882" y="1265"/>
                      </a:lnTo>
                      <a:lnTo>
                        <a:pt x="898" y="1231"/>
                      </a:lnTo>
                      <a:lnTo>
                        <a:pt x="914" y="1196"/>
                      </a:lnTo>
                      <a:lnTo>
                        <a:pt x="928" y="1161"/>
                      </a:lnTo>
                      <a:lnTo>
                        <a:pt x="941" y="1125"/>
                      </a:lnTo>
                      <a:lnTo>
                        <a:pt x="953" y="1089"/>
                      </a:lnTo>
                      <a:lnTo>
                        <a:pt x="965" y="1052"/>
                      </a:lnTo>
                      <a:lnTo>
                        <a:pt x="975" y="1016"/>
                      </a:lnTo>
                      <a:lnTo>
                        <a:pt x="985" y="980"/>
                      </a:lnTo>
                      <a:lnTo>
                        <a:pt x="992" y="942"/>
                      </a:lnTo>
                      <a:lnTo>
                        <a:pt x="999" y="906"/>
                      </a:lnTo>
                      <a:lnTo>
                        <a:pt x="1006" y="870"/>
                      </a:lnTo>
                      <a:lnTo>
                        <a:pt x="1011" y="833"/>
                      </a:lnTo>
                      <a:lnTo>
                        <a:pt x="1015" y="797"/>
                      </a:lnTo>
                      <a:lnTo>
                        <a:pt x="1018" y="761"/>
                      </a:lnTo>
                      <a:lnTo>
                        <a:pt x="1021" y="724"/>
                      </a:lnTo>
                      <a:lnTo>
                        <a:pt x="1022" y="688"/>
                      </a:lnTo>
                      <a:lnTo>
                        <a:pt x="1022" y="652"/>
                      </a:lnTo>
                      <a:lnTo>
                        <a:pt x="1022" y="616"/>
                      </a:lnTo>
                      <a:lnTo>
                        <a:pt x="1021" y="580"/>
                      </a:lnTo>
                      <a:lnTo>
                        <a:pt x="1018" y="544"/>
                      </a:lnTo>
                      <a:lnTo>
                        <a:pt x="1015" y="509"/>
                      </a:lnTo>
                      <a:lnTo>
                        <a:pt x="1011" y="473"/>
                      </a:lnTo>
                      <a:lnTo>
                        <a:pt x="1006" y="438"/>
                      </a:lnTo>
                      <a:lnTo>
                        <a:pt x="1000" y="403"/>
                      </a:lnTo>
                      <a:lnTo>
                        <a:pt x="993" y="368"/>
                      </a:lnTo>
                      <a:lnTo>
                        <a:pt x="986" y="333"/>
                      </a:lnTo>
                      <a:lnTo>
                        <a:pt x="977" y="299"/>
                      </a:lnTo>
                      <a:lnTo>
                        <a:pt x="968" y="264"/>
                      </a:lnTo>
                      <a:lnTo>
                        <a:pt x="957" y="230"/>
                      </a:lnTo>
                      <a:lnTo>
                        <a:pt x="946" y="197"/>
                      </a:lnTo>
                      <a:lnTo>
                        <a:pt x="934" y="163"/>
                      </a:lnTo>
                      <a:lnTo>
                        <a:pt x="921" y="130"/>
                      </a:lnTo>
                      <a:lnTo>
                        <a:pt x="908" y="97"/>
                      </a:lnTo>
                      <a:lnTo>
                        <a:pt x="893" y="64"/>
                      </a:lnTo>
                      <a:lnTo>
                        <a:pt x="878" y="32"/>
                      </a:lnTo>
                      <a:lnTo>
                        <a:pt x="861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4" name="Freeform 244"/>
                <p:cNvSpPr>
                  <a:spLocks/>
                </p:cNvSpPr>
                <p:nvPr/>
              </p:nvSpPr>
              <p:spPr bwMode="auto">
                <a:xfrm rot="-2429734">
                  <a:off x="708" y="1789"/>
                  <a:ext cx="47" cy="109"/>
                </a:xfrm>
                <a:custGeom>
                  <a:avLst/>
                  <a:gdLst>
                    <a:gd name="T0" fmla="*/ 264 w 929"/>
                    <a:gd name="T1" fmla="*/ 58 h 2060"/>
                    <a:gd name="T2" fmla="*/ 205 w 929"/>
                    <a:gd name="T3" fmla="*/ 148 h 2060"/>
                    <a:gd name="T4" fmla="*/ 154 w 929"/>
                    <a:gd name="T5" fmla="*/ 242 h 2060"/>
                    <a:gd name="T6" fmla="*/ 108 w 929"/>
                    <a:gd name="T7" fmla="*/ 339 h 2060"/>
                    <a:gd name="T8" fmla="*/ 70 w 929"/>
                    <a:gd name="T9" fmla="*/ 440 h 2060"/>
                    <a:gd name="T10" fmla="*/ 41 w 929"/>
                    <a:gd name="T11" fmla="*/ 543 h 2060"/>
                    <a:gd name="T12" fmla="*/ 19 w 929"/>
                    <a:gd name="T13" fmla="*/ 649 h 2060"/>
                    <a:gd name="T14" fmla="*/ 5 w 929"/>
                    <a:gd name="T15" fmla="*/ 758 h 2060"/>
                    <a:gd name="T16" fmla="*/ 0 w 929"/>
                    <a:gd name="T17" fmla="*/ 868 h 2060"/>
                    <a:gd name="T18" fmla="*/ 3 w 929"/>
                    <a:gd name="T19" fmla="*/ 979 h 2060"/>
                    <a:gd name="T20" fmla="*/ 16 w 929"/>
                    <a:gd name="T21" fmla="*/ 1092 h 2060"/>
                    <a:gd name="T22" fmla="*/ 37 w 929"/>
                    <a:gd name="T23" fmla="*/ 1203 h 2060"/>
                    <a:gd name="T24" fmla="*/ 67 w 929"/>
                    <a:gd name="T25" fmla="*/ 1311 h 2060"/>
                    <a:gd name="T26" fmla="*/ 105 w 929"/>
                    <a:gd name="T27" fmla="*/ 1415 h 2060"/>
                    <a:gd name="T28" fmla="*/ 150 w 929"/>
                    <a:gd name="T29" fmla="*/ 1515 h 2060"/>
                    <a:gd name="T30" fmla="*/ 203 w 929"/>
                    <a:gd name="T31" fmla="*/ 1611 h 2060"/>
                    <a:gd name="T32" fmla="*/ 263 w 929"/>
                    <a:gd name="T33" fmla="*/ 1702 h 2060"/>
                    <a:gd name="T34" fmla="*/ 329 w 929"/>
                    <a:gd name="T35" fmla="*/ 1788 h 2060"/>
                    <a:gd name="T36" fmla="*/ 401 w 929"/>
                    <a:gd name="T37" fmla="*/ 1871 h 2060"/>
                    <a:gd name="T38" fmla="*/ 479 w 929"/>
                    <a:gd name="T39" fmla="*/ 1947 h 2060"/>
                    <a:gd name="T40" fmla="*/ 563 w 929"/>
                    <a:gd name="T41" fmla="*/ 2017 h 2060"/>
                    <a:gd name="T42" fmla="*/ 643 w 929"/>
                    <a:gd name="T43" fmla="*/ 2032 h 2060"/>
                    <a:gd name="T44" fmla="*/ 704 w 929"/>
                    <a:gd name="T45" fmla="*/ 1943 h 2060"/>
                    <a:gd name="T46" fmla="*/ 759 w 929"/>
                    <a:gd name="T47" fmla="*/ 1851 h 2060"/>
                    <a:gd name="T48" fmla="*/ 806 w 929"/>
                    <a:gd name="T49" fmla="*/ 1754 h 2060"/>
                    <a:gd name="T50" fmla="*/ 846 w 929"/>
                    <a:gd name="T51" fmla="*/ 1654 h 2060"/>
                    <a:gd name="T52" fmla="*/ 879 w 929"/>
                    <a:gd name="T53" fmla="*/ 1551 h 2060"/>
                    <a:gd name="T54" fmla="*/ 903 w 929"/>
                    <a:gd name="T55" fmla="*/ 1446 h 2060"/>
                    <a:gd name="T56" fmla="*/ 920 w 929"/>
                    <a:gd name="T57" fmla="*/ 1339 h 2060"/>
                    <a:gd name="T58" fmla="*/ 928 w 929"/>
                    <a:gd name="T59" fmla="*/ 1229 h 2060"/>
                    <a:gd name="T60" fmla="*/ 927 w 929"/>
                    <a:gd name="T61" fmla="*/ 1118 h 2060"/>
                    <a:gd name="T62" fmla="*/ 918 w 929"/>
                    <a:gd name="T63" fmla="*/ 1006 h 2060"/>
                    <a:gd name="T64" fmla="*/ 900 w 929"/>
                    <a:gd name="T65" fmla="*/ 894 h 2060"/>
                    <a:gd name="T66" fmla="*/ 872 w 929"/>
                    <a:gd name="T67" fmla="*/ 784 h 2060"/>
                    <a:gd name="T68" fmla="*/ 837 w 929"/>
                    <a:gd name="T69" fmla="*/ 679 h 2060"/>
                    <a:gd name="T70" fmla="*/ 794 w 929"/>
                    <a:gd name="T71" fmla="*/ 578 h 2060"/>
                    <a:gd name="T72" fmla="*/ 744 w 929"/>
                    <a:gd name="T73" fmla="*/ 480 h 2060"/>
                    <a:gd name="T74" fmla="*/ 686 w 929"/>
                    <a:gd name="T75" fmla="*/ 388 h 2060"/>
                    <a:gd name="T76" fmla="*/ 622 w 929"/>
                    <a:gd name="T77" fmla="*/ 300 h 2060"/>
                    <a:gd name="T78" fmla="*/ 551 w 929"/>
                    <a:gd name="T79" fmla="*/ 217 h 2060"/>
                    <a:gd name="T80" fmla="*/ 476 w 929"/>
                    <a:gd name="T81" fmla="*/ 139 h 2060"/>
                    <a:gd name="T82" fmla="*/ 395 w 929"/>
                    <a:gd name="T83" fmla="*/ 67 h 2060"/>
                    <a:gd name="T84" fmla="*/ 307 w 929"/>
                    <a:gd name="T85" fmla="*/ 0 h 2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9" h="2060">
                      <a:moveTo>
                        <a:pt x="307" y="0"/>
                      </a:moveTo>
                      <a:lnTo>
                        <a:pt x="285" y="29"/>
                      </a:lnTo>
                      <a:lnTo>
                        <a:pt x="264" y="58"/>
                      </a:lnTo>
                      <a:lnTo>
                        <a:pt x="244" y="88"/>
                      </a:lnTo>
                      <a:lnTo>
                        <a:pt x="224" y="118"/>
                      </a:lnTo>
                      <a:lnTo>
                        <a:pt x="205" y="148"/>
                      </a:lnTo>
                      <a:lnTo>
                        <a:pt x="187" y="179"/>
                      </a:lnTo>
                      <a:lnTo>
                        <a:pt x="169" y="210"/>
                      </a:lnTo>
                      <a:lnTo>
                        <a:pt x="154" y="242"/>
                      </a:lnTo>
                      <a:lnTo>
                        <a:pt x="137" y="274"/>
                      </a:lnTo>
                      <a:lnTo>
                        <a:pt x="122" y="306"/>
                      </a:lnTo>
                      <a:lnTo>
                        <a:pt x="108" y="339"/>
                      </a:lnTo>
                      <a:lnTo>
                        <a:pt x="95" y="372"/>
                      </a:lnTo>
                      <a:lnTo>
                        <a:pt x="82" y="406"/>
                      </a:lnTo>
                      <a:lnTo>
                        <a:pt x="70" y="440"/>
                      </a:lnTo>
                      <a:lnTo>
                        <a:pt x="60" y="474"/>
                      </a:lnTo>
                      <a:lnTo>
                        <a:pt x="49" y="508"/>
                      </a:lnTo>
                      <a:lnTo>
                        <a:pt x="41" y="543"/>
                      </a:lnTo>
                      <a:lnTo>
                        <a:pt x="33" y="578"/>
                      </a:lnTo>
                      <a:lnTo>
                        <a:pt x="25" y="614"/>
                      </a:lnTo>
                      <a:lnTo>
                        <a:pt x="19" y="649"/>
                      </a:lnTo>
                      <a:lnTo>
                        <a:pt x="13" y="685"/>
                      </a:lnTo>
                      <a:lnTo>
                        <a:pt x="8" y="721"/>
                      </a:lnTo>
                      <a:lnTo>
                        <a:pt x="5" y="758"/>
                      </a:lnTo>
                      <a:lnTo>
                        <a:pt x="2" y="794"/>
                      </a:lnTo>
                      <a:lnTo>
                        <a:pt x="0" y="831"/>
                      </a:lnTo>
                      <a:lnTo>
                        <a:pt x="0" y="868"/>
                      </a:lnTo>
                      <a:lnTo>
                        <a:pt x="0" y="905"/>
                      </a:lnTo>
                      <a:lnTo>
                        <a:pt x="1" y="942"/>
                      </a:lnTo>
                      <a:lnTo>
                        <a:pt x="3" y="979"/>
                      </a:lnTo>
                      <a:lnTo>
                        <a:pt x="6" y="1016"/>
                      </a:lnTo>
                      <a:lnTo>
                        <a:pt x="10" y="1054"/>
                      </a:lnTo>
                      <a:lnTo>
                        <a:pt x="16" y="1092"/>
                      </a:lnTo>
                      <a:lnTo>
                        <a:pt x="22" y="1129"/>
                      </a:lnTo>
                      <a:lnTo>
                        <a:pt x="29" y="1166"/>
                      </a:lnTo>
                      <a:lnTo>
                        <a:pt x="37" y="1203"/>
                      </a:lnTo>
                      <a:lnTo>
                        <a:pt x="46" y="1239"/>
                      </a:lnTo>
                      <a:lnTo>
                        <a:pt x="56" y="1275"/>
                      </a:lnTo>
                      <a:lnTo>
                        <a:pt x="67" y="1311"/>
                      </a:lnTo>
                      <a:lnTo>
                        <a:pt x="79" y="1346"/>
                      </a:lnTo>
                      <a:lnTo>
                        <a:pt x="92" y="1381"/>
                      </a:lnTo>
                      <a:lnTo>
                        <a:pt x="105" y="1415"/>
                      </a:lnTo>
                      <a:lnTo>
                        <a:pt x="119" y="1449"/>
                      </a:lnTo>
                      <a:lnTo>
                        <a:pt x="135" y="1482"/>
                      </a:lnTo>
                      <a:lnTo>
                        <a:pt x="150" y="1515"/>
                      </a:lnTo>
                      <a:lnTo>
                        <a:pt x="167" y="1548"/>
                      </a:lnTo>
                      <a:lnTo>
                        <a:pt x="185" y="1579"/>
                      </a:lnTo>
                      <a:lnTo>
                        <a:pt x="203" y="1611"/>
                      </a:lnTo>
                      <a:lnTo>
                        <a:pt x="222" y="1642"/>
                      </a:lnTo>
                      <a:lnTo>
                        <a:pt x="242" y="1672"/>
                      </a:lnTo>
                      <a:lnTo>
                        <a:pt x="263" y="1702"/>
                      </a:lnTo>
                      <a:lnTo>
                        <a:pt x="284" y="1731"/>
                      </a:lnTo>
                      <a:lnTo>
                        <a:pt x="306" y="1760"/>
                      </a:lnTo>
                      <a:lnTo>
                        <a:pt x="329" y="1788"/>
                      </a:lnTo>
                      <a:lnTo>
                        <a:pt x="353" y="1817"/>
                      </a:lnTo>
                      <a:lnTo>
                        <a:pt x="377" y="1844"/>
                      </a:lnTo>
                      <a:lnTo>
                        <a:pt x="401" y="1871"/>
                      </a:lnTo>
                      <a:lnTo>
                        <a:pt x="426" y="1897"/>
                      </a:lnTo>
                      <a:lnTo>
                        <a:pt x="453" y="1922"/>
                      </a:lnTo>
                      <a:lnTo>
                        <a:pt x="479" y="1947"/>
                      </a:lnTo>
                      <a:lnTo>
                        <a:pt x="506" y="1971"/>
                      </a:lnTo>
                      <a:lnTo>
                        <a:pt x="535" y="1994"/>
                      </a:lnTo>
                      <a:lnTo>
                        <a:pt x="563" y="2017"/>
                      </a:lnTo>
                      <a:lnTo>
                        <a:pt x="591" y="2039"/>
                      </a:lnTo>
                      <a:lnTo>
                        <a:pt x="621" y="2060"/>
                      </a:lnTo>
                      <a:lnTo>
                        <a:pt x="643" y="2032"/>
                      </a:lnTo>
                      <a:lnTo>
                        <a:pt x="664" y="2003"/>
                      </a:lnTo>
                      <a:lnTo>
                        <a:pt x="684" y="1973"/>
                      </a:lnTo>
                      <a:lnTo>
                        <a:pt x="704" y="1943"/>
                      </a:lnTo>
                      <a:lnTo>
                        <a:pt x="723" y="1913"/>
                      </a:lnTo>
                      <a:lnTo>
                        <a:pt x="741" y="1882"/>
                      </a:lnTo>
                      <a:lnTo>
                        <a:pt x="759" y="1851"/>
                      </a:lnTo>
                      <a:lnTo>
                        <a:pt x="776" y="1819"/>
                      </a:lnTo>
                      <a:lnTo>
                        <a:pt x="791" y="1786"/>
                      </a:lnTo>
                      <a:lnTo>
                        <a:pt x="806" y="1754"/>
                      </a:lnTo>
                      <a:lnTo>
                        <a:pt x="820" y="1721"/>
                      </a:lnTo>
                      <a:lnTo>
                        <a:pt x="834" y="1688"/>
                      </a:lnTo>
                      <a:lnTo>
                        <a:pt x="846" y="1654"/>
                      </a:lnTo>
                      <a:lnTo>
                        <a:pt x="858" y="1620"/>
                      </a:lnTo>
                      <a:lnTo>
                        <a:pt x="868" y="1586"/>
                      </a:lnTo>
                      <a:lnTo>
                        <a:pt x="879" y="1551"/>
                      </a:lnTo>
                      <a:lnTo>
                        <a:pt x="888" y="1517"/>
                      </a:lnTo>
                      <a:lnTo>
                        <a:pt x="896" y="1482"/>
                      </a:lnTo>
                      <a:lnTo>
                        <a:pt x="903" y="1446"/>
                      </a:lnTo>
                      <a:lnTo>
                        <a:pt x="910" y="1411"/>
                      </a:lnTo>
                      <a:lnTo>
                        <a:pt x="916" y="1375"/>
                      </a:lnTo>
                      <a:lnTo>
                        <a:pt x="920" y="1339"/>
                      </a:lnTo>
                      <a:lnTo>
                        <a:pt x="924" y="1302"/>
                      </a:lnTo>
                      <a:lnTo>
                        <a:pt x="926" y="1266"/>
                      </a:lnTo>
                      <a:lnTo>
                        <a:pt x="928" y="1229"/>
                      </a:lnTo>
                      <a:lnTo>
                        <a:pt x="929" y="1192"/>
                      </a:lnTo>
                      <a:lnTo>
                        <a:pt x="928" y="1155"/>
                      </a:lnTo>
                      <a:lnTo>
                        <a:pt x="927" y="1118"/>
                      </a:lnTo>
                      <a:lnTo>
                        <a:pt x="925" y="1081"/>
                      </a:lnTo>
                      <a:lnTo>
                        <a:pt x="922" y="1043"/>
                      </a:lnTo>
                      <a:lnTo>
                        <a:pt x="918" y="1006"/>
                      </a:lnTo>
                      <a:lnTo>
                        <a:pt x="912" y="968"/>
                      </a:lnTo>
                      <a:lnTo>
                        <a:pt x="906" y="931"/>
                      </a:lnTo>
                      <a:lnTo>
                        <a:pt x="900" y="894"/>
                      </a:lnTo>
                      <a:lnTo>
                        <a:pt x="891" y="857"/>
                      </a:lnTo>
                      <a:lnTo>
                        <a:pt x="882" y="820"/>
                      </a:lnTo>
                      <a:lnTo>
                        <a:pt x="872" y="784"/>
                      </a:lnTo>
                      <a:lnTo>
                        <a:pt x="861" y="749"/>
                      </a:lnTo>
                      <a:lnTo>
                        <a:pt x="849" y="714"/>
                      </a:lnTo>
                      <a:lnTo>
                        <a:pt x="837" y="679"/>
                      </a:lnTo>
                      <a:lnTo>
                        <a:pt x="823" y="645"/>
                      </a:lnTo>
                      <a:lnTo>
                        <a:pt x="809" y="611"/>
                      </a:lnTo>
                      <a:lnTo>
                        <a:pt x="794" y="578"/>
                      </a:lnTo>
                      <a:lnTo>
                        <a:pt x="778" y="545"/>
                      </a:lnTo>
                      <a:lnTo>
                        <a:pt x="761" y="512"/>
                      </a:lnTo>
                      <a:lnTo>
                        <a:pt x="744" y="480"/>
                      </a:lnTo>
                      <a:lnTo>
                        <a:pt x="725" y="449"/>
                      </a:lnTo>
                      <a:lnTo>
                        <a:pt x="706" y="418"/>
                      </a:lnTo>
                      <a:lnTo>
                        <a:pt x="686" y="388"/>
                      </a:lnTo>
                      <a:lnTo>
                        <a:pt x="665" y="358"/>
                      </a:lnTo>
                      <a:lnTo>
                        <a:pt x="644" y="329"/>
                      </a:lnTo>
                      <a:lnTo>
                        <a:pt x="622" y="300"/>
                      </a:lnTo>
                      <a:lnTo>
                        <a:pt x="600" y="272"/>
                      </a:lnTo>
                      <a:lnTo>
                        <a:pt x="576" y="244"/>
                      </a:lnTo>
                      <a:lnTo>
                        <a:pt x="551" y="217"/>
                      </a:lnTo>
                      <a:lnTo>
                        <a:pt x="527" y="190"/>
                      </a:lnTo>
                      <a:lnTo>
                        <a:pt x="502" y="164"/>
                      </a:lnTo>
                      <a:lnTo>
                        <a:pt x="476" y="139"/>
                      </a:lnTo>
                      <a:lnTo>
                        <a:pt x="449" y="114"/>
                      </a:lnTo>
                      <a:lnTo>
                        <a:pt x="422" y="90"/>
                      </a:lnTo>
                      <a:lnTo>
                        <a:pt x="395" y="67"/>
                      </a:lnTo>
                      <a:lnTo>
                        <a:pt x="366" y="44"/>
                      </a:lnTo>
                      <a:lnTo>
                        <a:pt x="337" y="2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5" name="Freeform 245"/>
                <p:cNvSpPr>
                  <a:spLocks/>
                </p:cNvSpPr>
                <p:nvPr/>
              </p:nvSpPr>
              <p:spPr bwMode="auto">
                <a:xfrm rot="-2429734">
                  <a:off x="773" y="1968"/>
                  <a:ext cx="85" cy="70"/>
                </a:xfrm>
                <a:custGeom>
                  <a:avLst/>
                  <a:gdLst>
                    <a:gd name="T0" fmla="*/ 9 w 1706"/>
                    <a:gd name="T1" fmla="*/ 78 h 1321"/>
                    <a:gd name="T2" fmla="*/ 31 w 1706"/>
                    <a:gd name="T3" fmla="*/ 182 h 1321"/>
                    <a:gd name="T4" fmla="*/ 60 w 1706"/>
                    <a:gd name="T5" fmla="*/ 285 h 1321"/>
                    <a:gd name="T6" fmla="*/ 97 w 1706"/>
                    <a:gd name="T7" fmla="*/ 385 h 1321"/>
                    <a:gd name="T8" fmla="*/ 142 w 1706"/>
                    <a:gd name="T9" fmla="*/ 483 h 1321"/>
                    <a:gd name="T10" fmla="*/ 194 w 1706"/>
                    <a:gd name="T11" fmla="*/ 578 h 1321"/>
                    <a:gd name="T12" fmla="*/ 254 w 1706"/>
                    <a:gd name="T13" fmla="*/ 670 h 1321"/>
                    <a:gd name="T14" fmla="*/ 321 w 1706"/>
                    <a:gd name="T15" fmla="*/ 758 h 1321"/>
                    <a:gd name="T16" fmla="*/ 397 w 1706"/>
                    <a:gd name="T17" fmla="*/ 842 h 1321"/>
                    <a:gd name="T18" fmla="*/ 479 w 1706"/>
                    <a:gd name="T19" fmla="*/ 921 h 1321"/>
                    <a:gd name="T20" fmla="*/ 569 w 1706"/>
                    <a:gd name="T21" fmla="*/ 995 h 1321"/>
                    <a:gd name="T22" fmla="*/ 665 w 1706"/>
                    <a:gd name="T23" fmla="*/ 1064 h 1321"/>
                    <a:gd name="T24" fmla="*/ 764 w 1706"/>
                    <a:gd name="T25" fmla="*/ 1124 h 1321"/>
                    <a:gd name="T26" fmla="*/ 866 w 1706"/>
                    <a:gd name="T27" fmla="*/ 1175 h 1321"/>
                    <a:gd name="T28" fmla="*/ 971 w 1706"/>
                    <a:gd name="T29" fmla="*/ 1219 h 1321"/>
                    <a:gd name="T30" fmla="*/ 1079 w 1706"/>
                    <a:gd name="T31" fmla="*/ 1255 h 1321"/>
                    <a:gd name="T32" fmla="*/ 1188 w 1706"/>
                    <a:gd name="T33" fmla="*/ 1283 h 1321"/>
                    <a:gd name="T34" fmla="*/ 1298 w 1706"/>
                    <a:gd name="T35" fmla="*/ 1303 h 1321"/>
                    <a:gd name="T36" fmla="*/ 1409 w 1706"/>
                    <a:gd name="T37" fmla="*/ 1316 h 1321"/>
                    <a:gd name="T38" fmla="*/ 1521 w 1706"/>
                    <a:gd name="T39" fmla="*/ 1321 h 1321"/>
                    <a:gd name="T40" fmla="*/ 1632 w 1706"/>
                    <a:gd name="T41" fmla="*/ 1318 h 1321"/>
                    <a:gd name="T42" fmla="*/ 1702 w 1706"/>
                    <a:gd name="T43" fmla="*/ 1278 h 1321"/>
                    <a:gd name="T44" fmla="*/ 1683 w 1706"/>
                    <a:gd name="T45" fmla="*/ 1173 h 1321"/>
                    <a:gd name="T46" fmla="*/ 1657 w 1706"/>
                    <a:gd name="T47" fmla="*/ 1070 h 1321"/>
                    <a:gd name="T48" fmla="*/ 1623 w 1706"/>
                    <a:gd name="T49" fmla="*/ 968 h 1321"/>
                    <a:gd name="T50" fmla="*/ 1581 w 1706"/>
                    <a:gd name="T51" fmla="*/ 869 h 1321"/>
                    <a:gd name="T52" fmla="*/ 1530 w 1706"/>
                    <a:gd name="T53" fmla="*/ 773 h 1321"/>
                    <a:gd name="T54" fmla="*/ 1474 w 1706"/>
                    <a:gd name="T55" fmla="*/ 680 h 1321"/>
                    <a:gd name="T56" fmla="*/ 1408 w 1706"/>
                    <a:gd name="T57" fmla="*/ 591 h 1321"/>
                    <a:gd name="T58" fmla="*/ 1336 w 1706"/>
                    <a:gd name="T59" fmla="*/ 505 h 1321"/>
                    <a:gd name="T60" fmla="*/ 1256 w 1706"/>
                    <a:gd name="T61" fmla="*/ 424 h 1321"/>
                    <a:gd name="T62" fmla="*/ 1168 w 1706"/>
                    <a:gd name="T63" fmla="*/ 348 h 1321"/>
                    <a:gd name="T64" fmla="*/ 1074 w 1706"/>
                    <a:gd name="T65" fmla="*/ 278 h 1321"/>
                    <a:gd name="T66" fmla="*/ 976 w 1706"/>
                    <a:gd name="T67" fmla="*/ 216 h 1321"/>
                    <a:gd name="T68" fmla="*/ 875 w 1706"/>
                    <a:gd name="T69" fmla="*/ 162 h 1321"/>
                    <a:gd name="T70" fmla="*/ 770 w 1706"/>
                    <a:gd name="T71" fmla="*/ 115 h 1321"/>
                    <a:gd name="T72" fmla="*/ 663 w 1706"/>
                    <a:gd name="T73" fmla="*/ 77 h 1321"/>
                    <a:gd name="T74" fmla="*/ 555 w 1706"/>
                    <a:gd name="T75" fmla="*/ 46 h 1321"/>
                    <a:gd name="T76" fmla="*/ 445 w 1706"/>
                    <a:gd name="T77" fmla="*/ 23 h 1321"/>
                    <a:gd name="T78" fmla="*/ 334 w 1706"/>
                    <a:gd name="T79" fmla="*/ 8 h 1321"/>
                    <a:gd name="T80" fmla="*/ 223 w 1706"/>
                    <a:gd name="T81" fmla="*/ 0 h 1321"/>
                    <a:gd name="T82" fmla="*/ 112 w 1706"/>
                    <a:gd name="T83" fmla="*/ 1 h 1321"/>
                    <a:gd name="T84" fmla="*/ 0 w 1706"/>
                    <a:gd name="T85" fmla="*/ 8 h 1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06" h="1321">
                      <a:moveTo>
                        <a:pt x="0" y="8"/>
                      </a:moveTo>
                      <a:lnTo>
                        <a:pt x="4" y="43"/>
                      </a:lnTo>
                      <a:lnTo>
                        <a:pt x="9" y="78"/>
                      </a:lnTo>
                      <a:lnTo>
                        <a:pt x="16" y="113"/>
                      </a:lnTo>
                      <a:lnTo>
                        <a:pt x="23" y="148"/>
                      </a:lnTo>
                      <a:lnTo>
                        <a:pt x="31" y="182"/>
                      </a:lnTo>
                      <a:lnTo>
                        <a:pt x="40" y="217"/>
                      </a:lnTo>
                      <a:lnTo>
                        <a:pt x="49" y="251"/>
                      </a:lnTo>
                      <a:lnTo>
                        <a:pt x="60" y="285"/>
                      </a:lnTo>
                      <a:lnTo>
                        <a:pt x="72" y="318"/>
                      </a:lnTo>
                      <a:lnTo>
                        <a:pt x="84" y="352"/>
                      </a:lnTo>
                      <a:lnTo>
                        <a:pt x="97" y="385"/>
                      </a:lnTo>
                      <a:lnTo>
                        <a:pt x="112" y="418"/>
                      </a:lnTo>
                      <a:lnTo>
                        <a:pt x="126" y="451"/>
                      </a:lnTo>
                      <a:lnTo>
                        <a:pt x="142" y="483"/>
                      </a:lnTo>
                      <a:lnTo>
                        <a:pt x="158" y="515"/>
                      </a:lnTo>
                      <a:lnTo>
                        <a:pt x="176" y="547"/>
                      </a:lnTo>
                      <a:lnTo>
                        <a:pt x="194" y="578"/>
                      </a:lnTo>
                      <a:lnTo>
                        <a:pt x="214" y="609"/>
                      </a:lnTo>
                      <a:lnTo>
                        <a:pt x="233" y="640"/>
                      </a:lnTo>
                      <a:lnTo>
                        <a:pt x="254" y="670"/>
                      </a:lnTo>
                      <a:lnTo>
                        <a:pt x="276" y="700"/>
                      </a:lnTo>
                      <a:lnTo>
                        <a:pt x="298" y="729"/>
                      </a:lnTo>
                      <a:lnTo>
                        <a:pt x="321" y="758"/>
                      </a:lnTo>
                      <a:lnTo>
                        <a:pt x="345" y="787"/>
                      </a:lnTo>
                      <a:lnTo>
                        <a:pt x="370" y="815"/>
                      </a:lnTo>
                      <a:lnTo>
                        <a:pt x="397" y="842"/>
                      </a:lnTo>
                      <a:lnTo>
                        <a:pt x="423" y="869"/>
                      </a:lnTo>
                      <a:lnTo>
                        <a:pt x="450" y="895"/>
                      </a:lnTo>
                      <a:lnTo>
                        <a:pt x="479" y="921"/>
                      </a:lnTo>
                      <a:lnTo>
                        <a:pt x="508" y="947"/>
                      </a:lnTo>
                      <a:lnTo>
                        <a:pt x="538" y="971"/>
                      </a:lnTo>
                      <a:lnTo>
                        <a:pt x="569" y="995"/>
                      </a:lnTo>
                      <a:lnTo>
                        <a:pt x="601" y="1019"/>
                      </a:lnTo>
                      <a:lnTo>
                        <a:pt x="633" y="1041"/>
                      </a:lnTo>
                      <a:lnTo>
                        <a:pt x="665" y="1064"/>
                      </a:lnTo>
                      <a:lnTo>
                        <a:pt x="698" y="1085"/>
                      </a:lnTo>
                      <a:lnTo>
                        <a:pt x="730" y="1105"/>
                      </a:lnTo>
                      <a:lnTo>
                        <a:pt x="764" y="1124"/>
                      </a:lnTo>
                      <a:lnTo>
                        <a:pt x="798" y="1142"/>
                      </a:lnTo>
                      <a:lnTo>
                        <a:pt x="833" y="1159"/>
                      </a:lnTo>
                      <a:lnTo>
                        <a:pt x="866" y="1175"/>
                      </a:lnTo>
                      <a:lnTo>
                        <a:pt x="901" y="1191"/>
                      </a:lnTo>
                      <a:lnTo>
                        <a:pt x="937" y="1205"/>
                      </a:lnTo>
                      <a:lnTo>
                        <a:pt x="971" y="1219"/>
                      </a:lnTo>
                      <a:lnTo>
                        <a:pt x="1007" y="1232"/>
                      </a:lnTo>
                      <a:lnTo>
                        <a:pt x="1043" y="1244"/>
                      </a:lnTo>
                      <a:lnTo>
                        <a:pt x="1079" y="1255"/>
                      </a:lnTo>
                      <a:lnTo>
                        <a:pt x="1115" y="1265"/>
                      </a:lnTo>
                      <a:lnTo>
                        <a:pt x="1151" y="1275"/>
                      </a:lnTo>
                      <a:lnTo>
                        <a:pt x="1188" y="1283"/>
                      </a:lnTo>
                      <a:lnTo>
                        <a:pt x="1224" y="1291"/>
                      </a:lnTo>
                      <a:lnTo>
                        <a:pt x="1261" y="1297"/>
                      </a:lnTo>
                      <a:lnTo>
                        <a:pt x="1298" y="1303"/>
                      </a:lnTo>
                      <a:lnTo>
                        <a:pt x="1336" y="1308"/>
                      </a:lnTo>
                      <a:lnTo>
                        <a:pt x="1372" y="1313"/>
                      </a:lnTo>
                      <a:lnTo>
                        <a:pt x="1409" y="1316"/>
                      </a:lnTo>
                      <a:lnTo>
                        <a:pt x="1446" y="1319"/>
                      </a:lnTo>
                      <a:lnTo>
                        <a:pt x="1484" y="1320"/>
                      </a:lnTo>
                      <a:lnTo>
                        <a:pt x="1521" y="1321"/>
                      </a:lnTo>
                      <a:lnTo>
                        <a:pt x="1558" y="1321"/>
                      </a:lnTo>
                      <a:lnTo>
                        <a:pt x="1596" y="1320"/>
                      </a:lnTo>
                      <a:lnTo>
                        <a:pt x="1632" y="1318"/>
                      </a:lnTo>
                      <a:lnTo>
                        <a:pt x="1669" y="1316"/>
                      </a:lnTo>
                      <a:lnTo>
                        <a:pt x="1706" y="1313"/>
                      </a:lnTo>
                      <a:lnTo>
                        <a:pt x="1702" y="1278"/>
                      </a:lnTo>
                      <a:lnTo>
                        <a:pt x="1697" y="1243"/>
                      </a:lnTo>
                      <a:lnTo>
                        <a:pt x="1690" y="1208"/>
                      </a:lnTo>
                      <a:lnTo>
                        <a:pt x="1683" y="1173"/>
                      </a:lnTo>
                      <a:lnTo>
                        <a:pt x="1676" y="1139"/>
                      </a:lnTo>
                      <a:lnTo>
                        <a:pt x="1666" y="1104"/>
                      </a:lnTo>
                      <a:lnTo>
                        <a:pt x="1657" y="1070"/>
                      </a:lnTo>
                      <a:lnTo>
                        <a:pt x="1646" y="1035"/>
                      </a:lnTo>
                      <a:lnTo>
                        <a:pt x="1635" y="1001"/>
                      </a:lnTo>
                      <a:lnTo>
                        <a:pt x="1623" y="968"/>
                      </a:lnTo>
                      <a:lnTo>
                        <a:pt x="1609" y="935"/>
                      </a:lnTo>
                      <a:lnTo>
                        <a:pt x="1596" y="902"/>
                      </a:lnTo>
                      <a:lnTo>
                        <a:pt x="1581" y="869"/>
                      </a:lnTo>
                      <a:lnTo>
                        <a:pt x="1565" y="837"/>
                      </a:lnTo>
                      <a:lnTo>
                        <a:pt x="1548" y="805"/>
                      </a:lnTo>
                      <a:lnTo>
                        <a:pt x="1530" y="773"/>
                      </a:lnTo>
                      <a:lnTo>
                        <a:pt x="1512" y="742"/>
                      </a:lnTo>
                      <a:lnTo>
                        <a:pt x="1493" y="711"/>
                      </a:lnTo>
                      <a:lnTo>
                        <a:pt x="1474" y="680"/>
                      </a:lnTo>
                      <a:lnTo>
                        <a:pt x="1452" y="650"/>
                      </a:lnTo>
                      <a:lnTo>
                        <a:pt x="1430" y="620"/>
                      </a:lnTo>
                      <a:lnTo>
                        <a:pt x="1408" y="591"/>
                      </a:lnTo>
                      <a:lnTo>
                        <a:pt x="1385" y="562"/>
                      </a:lnTo>
                      <a:lnTo>
                        <a:pt x="1361" y="533"/>
                      </a:lnTo>
                      <a:lnTo>
                        <a:pt x="1336" y="505"/>
                      </a:lnTo>
                      <a:lnTo>
                        <a:pt x="1309" y="478"/>
                      </a:lnTo>
                      <a:lnTo>
                        <a:pt x="1283" y="451"/>
                      </a:lnTo>
                      <a:lnTo>
                        <a:pt x="1256" y="424"/>
                      </a:lnTo>
                      <a:lnTo>
                        <a:pt x="1227" y="398"/>
                      </a:lnTo>
                      <a:lnTo>
                        <a:pt x="1198" y="373"/>
                      </a:lnTo>
                      <a:lnTo>
                        <a:pt x="1168" y="348"/>
                      </a:lnTo>
                      <a:lnTo>
                        <a:pt x="1137" y="324"/>
                      </a:lnTo>
                      <a:lnTo>
                        <a:pt x="1106" y="301"/>
                      </a:lnTo>
                      <a:lnTo>
                        <a:pt x="1074" y="278"/>
                      </a:lnTo>
                      <a:lnTo>
                        <a:pt x="1042" y="257"/>
                      </a:lnTo>
                      <a:lnTo>
                        <a:pt x="1008" y="236"/>
                      </a:lnTo>
                      <a:lnTo>
                        <a:pt x="976" y="216"/>
                      </a:lnTo>
                      <a:lnTo>
                        <a:pt x="942" y="197"/>
                      </a:lnTo>
                      <a:lnTo>
                        <a:pt x="908" y="179"/>
                      </a:lnTo>
                      <a:lnTo>
                        <a:pt x="875" y="162"/>
                      </a:lnTo>
                      <a:lnTo>
                        <a:pt x="840" y="145"/>
                      </a:lnTo>
                      <a:lnTo>
                        <a:pt x="805" y="130"/>
                      </a:lnTo>
                      <a:lnTo>
                        <a:pt x="770" y="115"/>
                      </a:lnTo>
                      <a:lnTo>
                        <a:pt x="735" y="102"/>
                      </a:lnTo>
                      <a:lnTo>
                        <a:pt x="699" y="89"/>
                      </a:lnTo>
                      <a:lnTo>
                        <a:pt x="663" y="77"/>
                      </a:lnTo>
                      <a:lnTo>
                        <a:pt x="627" y="66"/>
                      </a:lnTo>
                      <a:lnTo>
                        <a:pt x="592" y="56"/>
                      </a:lnTo>
                      <a:lnTo>
                        <a:pt x="555" y="46"/>
                      </a:lnTo>
                      <a:lnTo>
                        <a:pt x="519" y="38"/>
                      </a:lnTo>
                      <a:lnTo>
                        <a:pt x="482" y="30"/>
                      </a:lnTo>
                      <a:lnTo>
                        <a:pt x="445" y="23"/>
                      </a:lnTo>
                      <a:lnTo>
                        <a:pt x="408" y="17"/>
                      </a:lnTo>
                      <a:lnTo>
                        <a:pt x="372" y="12"/>
                      </a:lnTo>
                      <a:lnTo>
                        <a:pt x="334" y="8"/>
                      </a:lnTo>
                      <a:lnTo>
                        <a:pt x="297" y="5"/>
                      </a:lnTo>
                      <a:lnTo>
                        <a:pt x="260" y="2"/>
                      </a:lnTo>
                      <a:lnTo>
                        <a:pt x="223" y="0"/>
                      </a:lnTo>
                      <a:lnTo>
                        <a:pt x="185" y="0"/>
                      </a:lnTo>
                      <a:lnTo>
                        <a:pt x="148" y="0"/>
                      </a:lnTo>
                      <a:lnTo>
                        <a:pt x="112" y="1"/>
                      </a:lnTo>
                      <a:lnTo>
                        <a:pt x="74" y="2"/>
                      </a:lnTo>
                      <a:lnTo>
                        <a:pt x="37" y="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6" name="Freeform 246"/>
                <p:cNvSpPr>
                  <a:spLocks/>
                </p:cNvSpPr>
                <p:nvPr/>
              </p:nvSpPr>
              <p:spPr bwMode="auto">
                <a:xfrm rot="-2429734">
                  <a:off x="769" y="1546"/>
                  <a:ext cx="63" cy="92"/>
                </a:xfrm>
                <a:custGeom>
                  <a:avLst/>
                  <a:gdLst>
                    <a:gd name="T0" fmla="*/ 108 w 1252"/>
                    <a:gd name="T1" fmla="*/ 1736 h 1753"/>
                    <a:gd name="T2" fmla="*/ 214 w 1252"/>
                    <a:gd name="T3" fmla="*/ 1705 h 1753"/>
                    <a:gd name="T4" fmla="*/ 318 w 1252"/>
                    <a:gd name="T5" fmla="*/ 1667 h 1753"/>
                    <a:gd name="T6" fmla="*/ 419 w 1252"/>
                    <a:gd name="T7" fmla="*/ 1621 h 1753"/>
                    <a:gd name="T8" fmla="*/ 517 w 1252"/>
                    <a:gd name="T9" fmla="*/ 1568 h 1753"/>
                    <a:gd name="T10" fmla="*/ 611 w 1252"/>
                    <a:gd name="T11" fmla="*/ 1509 h 1753"/>
                    <a:gd name="T12" fmla="*/ 702 w 1252"/>
                    <a:gd name="T13" fmla="*/ 1441 h 1753"/>
                    <a:gd name="T14" fmla="*/ 786 w 1252"/>
                    <a:gd name="T15" fmla="*/ 1368 h 1753"/>
                    <a:gd name="T16" fmla="*/ 866 w 1252"/>
                    <a:gd name="T17" fmla="*/ 1288 h 1753"/>
                    <a:gd name="T18" fmla="*/ 940 w 1252"/>
                    <a:gd name="T19" fmla="*/ 1201 h 1753"/>
                    <a:gd name="T20" fmla="*/ 1008 w 1252"/>
                    <a:gd name="T21" fmla="*/ 1108 h 1753"/>
                    <a:gd name="T22" fmla="*/ 1069 w 1252"/>
                    <a:gd name="T23" fmla="*/ 1011 h 1753"/>
                    <a:gd name="T24" fmla="*/ 1120 w 1252"/>
                    <a:gd name="T25" fmla="*/ 911 h 1753"/>
                    <a:gd name="T26" fmla="*/ 1164 w 1252"/>
                    <a:gd name="T27" fmla="*/ 808 h 1753"/>
                    <a:gd name="T28" fmla="*/ 1197 w 1252"/>
                    <a:gd name="T29" fmla="*/ 704 h 1753"/>
                    <a:gd name="T30" fmla="*/ 1224 w 1252"/>
                    <a:gd name="T31" fmla="*/ 599 h 1753"/>
                    <a:gd name="T32" fmla="*/ 1241 w 1252"/>
                    <a:gd name="T33" fmla="*/ 493 h 1753"/>
                    <a:gd name="T34" fmla="*/ 1251 w 1252"/>
                    <a:gd name="T35" fmla="*/ 387 h 1753"/>
                    <a:gd name="T36" fmla="*/ 1252 w 1252"/>
                    <a:gd name="T37" fmla="*/ 280 h 1753"/>
                    <a:gd name="T38" fmla="*/ 1246 w 1252"/>
                    <a:gd name="T39" fmla="*/ 174 h 1753"/>
                    <a:gd name="T40" fmla="*/ 1231 w 1252"/>
                    <a:gd name="T41" fmla="*/ 69 h 1753"/>
                    <a:gd name="T42" fmla="*/ 1180 w 1252"/>
                    <a:gd name="T43" fmla="*/ 8 h 1753"/>
                    <a:gd name="T44" fmla="*/ 1073 w 1252"/>
                    <a:gd name="T45" fmla="*/ 37 h 1753"/>
                    <a:gd name="T46" fmla="*/ 968 w 1252"/>
                    <a:gd name="T47" fmla="*/ 73 h 1753"/>
                    <a:gd name="T48" fmla="*/ 866 w 1252"/>
                    <a:gd name="T49" fmla="*/ 116 h 1753"/>
                    <a:gd name="T50" fmla="*/ 767 w 1252"/>
                    <a:gd name="T51" fmla="*/ 167 h 1753"/>
                    <a:gd name="T52" fmla="*/ 672 w 1252"/>
                    <a:gd name="T53" fmla="*/ 224 h 1753"/>
                    <a:gd name="T54" fmla="*/ 581 w 1252"/>
                    <a:gd name="T55" fmla="*/ 288 h 1753"/>
                    <a:gd name="T56" fmla="*/ 494 w 1252"/>
                    <a:gd name="T57" fmla="*/ 359 h 1753"/>
                    <a:gd name="T58" fmla="*/ 412 w 1252"/>
                    <a:gd name="T59" fmla="*/ 437 h 1753"/>
                    <a:gd name="T60" fmla="*/ 336 w 1252"/>
                    <a:gd name="T61" fmla="*/ 521 h 1753"/>
                    <a:gd name="T62" fmla="*/ 267 w 1252"/>
                    <a:gd name="T63" fmla="*/ 612 h 1753"/>
                    <a:gd name="T64" fmla="*/ 204 w 1252"/>
                    <a:gd name="T65" fmla="*/ 709 h 1753"/>
                    <a:gd name="T66" fmla="*/ 149 w 1252"/>
                    <a:gd name="T67" fmla="*/ 808 h 1753"/>
                    <a:gd name="T68" fmla="*/ 103 w 1252"/>
                    <a:gd name="T69" fmla="*/ 910 h 1753"/>
                    <a:gd name="T70" fmla="*/ 66 w 1252"/>
                    <a:gd name="T71" fmla="*/ 1013 h 1753"/>
                    <a:gd name="T72" fmla="*/ 36 w 1252"/>
                    <a:gd name="T73" fmla="*/ 1118 h 1753"/>
                    <a:gd name="T74" fmla="*/ 16 w 1252"/>
                    <a:gd name="T75" fmla="*/ 1224 h 1753"/>
                    <a:gd name="T76" fmla="*/ 4 w 1252"/>
                    <a:gd name="T77" fmla="*/ 1330 h 1753"/>
                    <a:gd name="T78" fmla="*/ 0 w 1252"/>
                    <a:gd name="T79" fmla="*/ 1437 h 1753"/>
                    <a:gd name="T80" fmla="*/ 4 w 1252"/>
                    <a:gd name="T81" fmla="*/ 1544 h 1753"/>
                    <a:gd name="T82" fmla="*/ 16 w 1252"/>
                    <a:gd name="T83" fmla="*/ 1649 h 1753"/>
                    <a:gd name="T84" fmla="*/ 36 w 1252"/>
                    <a:gd name="T85" fmla="*/ 1753 h 1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7" name="Freeform 247"/>
                <p:cNvSpPr>
                  <a:spLocks/>
                </p:cNvSpPr>
                <p:nvPr/>
              </p:nvSpPr>
              <p:spPr bwMode="auto">
                <a:xfrm rot="-2429734">
                  <a:off x="713" y="1697"/>
                  <a:ext cx="44" cy="109"/>
                </a:xfrm>
                <a:custGeom>
                  <a:avLst/>
                  <a:gdLst>
                    <a:gd name="T0" fmla="*/ 572 w 931"/>
                    <a:gd name="T1" fmla="*/ 43 h 2057"/>
                    <a:gd name="T2" fmla="*/ 487 w 931"/>
                    <a:gd name="T3" fmla="*/ 114 h 2057"/>
                    <a:gd name="T4" fmla="*/ 408 w 931"/>
                    <a:gd name="T5" fmla="*/ 189 h 2057"/>
                    <a:gd name="T6" fmla="*/ 336 w 931"/>
                    <a:gd name="T7" fmla="*/ 270 h 2057"/>
                    <a:gd name="T8" fmla="*/ 269 w 931"/>
                    <a:gd name="T9" fmla="*/ 356 h 2057"/>
                    <a:gd name="T10" fmla="*/ 208 w 931"/>
                    <a:gd name="T11" fmla="*/ 447 h 2057"/>
                    <a:gd name="T12" fmla="*/ 156 w 931"/>
                    <a:gd name="T13" fmla="*/ 542 h 2057"/>
                    <a:gd name="T14" fmla="*/ 109 w 931"/>
                    <a:gd name="T15" fmla="*/ 642 h 2057"/>
                    <a:gd name="T16" fmla="*/ 71 w 931"/>
                    <a:gd name="T17" fmla="*/ 746 h 2057"/>
                    <a:gd name="T18" fmla="*/ 40 w 931"/>
                    <a:gd name="T19" fmla="*/ 853 h 2057"/>
                    <a:gd name="T20" fmla="*/ 17 w 931"/>
                    <a:gd name="T21" fmla="*/ 964 h 2057"/>
                    <a:gd name="T22" fmla="*/ 4 w 931"/>
                    <a:gd name="T23" fmla="*/ 1077 h 2057"/>
                    <a:gd name="T24" fmla="*/ 0 w 931"/>
                    <a:gd name="T25" fmla="*/ 1188 h 2057"/>
                    <a:gd name="T26" fmla="*/ 4 w 931"/>
                    <a:gd name="T27" fmla="*/ 1299 h 2057"/>
                    <a:gd name="T28" fmla="*/ 17 w 931"/>
                    <a:gd name="T29" fmla="*/ 1407 h 2057"/>
                    <a:gd name="T30" fmla="*/ 38 w 931"/>
                    <a:gd name="T31" fmla="*/ 1513 h 2057"/>
                    <a:gd name="T32" fmla="*/ 67 w 931"/>
                    <a:gd name="T33" fmla="*/ 1617 h 2057"/>
                    <a:gd name="T34" fmla="*/ 104 w 931"/>
                    <a:gd name="T35" fmla="*/ 1718 h 2057"/>
                    <a:gd name="T36" fmla="*/ 148 w 931"/>
                    <a:gd name="T37" fmla="*/ 1815 h 2057"/>
                    <a:gd name="T38" fmla="*/ 200 w 931"/>
                    <a:gd name="T39" fmla="*/ 1909 h 2057"/>
                    <a:gd name="T40" fmla="*/ 258 w 931"/>
                    <a:gd name="T41" fmla="*/ 2000 h 2057"/>
                    <a:gd name="T42" fmla="*/ 330 w 931"/>
                    <a:gd name="T43" fmla="*/ 2036 h 2057"/>
                    <a:gd name="T44" fmla="*/ 416 w 931"/>
                    <a:gd name="T45" fmla="*/ 1968 h 2057"/>
                    <a:gd name="T46" fmla="*/ 497 w 931"/>
                    <a:gd name="T47" fmla="*/ 1895 h 2057"/>
                    <a:gd name="T48" fmla="*/ 572 w 931"/>
                    <a:gd name="T49" fmla="*/ 1816 h 2057"/>
                    <a:gd name="T50" fmla="*/ 640 w 931"/>
                    <a:gd name="T51" fmla="*/ 1732 h 2057"/>
                    <a:gd name="T52" fmla="*/ 703 w 931"/>
                    <a:gd name="T53" fmla="*/ 1643 h 2057"/>
                    <a:gd name="T54" fmla="*/ 759 w 931"/>
                    <a:gd name="T55" fmla="*/ 1549 h 2057"/>
                    <a:gd name="T56" fmla="*/ 807 w 931"/>
                    <a:gd name="T57" fmla="*/ 1450 h 2057"/>
                    <a:gd name="T58" fmla="*/ 848 w 931"/>
                    <a:gd name="T59" fmla="*/ 1348 h 2057"/>
                    <a:gd name="T60" fmla="*/ 882 w 931"/>
                    <a:gd name="T61" fmla="*/ 1241 h 2057"/>
                    <a:gd name="T62" fmla="*/ 907 w 931"/>
                    <a:gd name="T63" fmla="*/ 1131 h 2057"/>
                    <a:gd name="T64" fmla="*/ 923 w 931"/>
                    <a:gd name="T65" fmla="*/ 1019 h 2057"/>
                    <a:gd name="T66" fmla="*/ 930 w 931"/>
                    <a:gd name="T67" fmla="*/ 907 h 2057"/>
                    <a:gd name="T68" fmla="*/ 929 w 931"/>
                    <a:gd name="T69" fmla="*/ 796 h 2057"/>
                    <a:gd name="T70" fmla="*/ 919 w 931"/>
                    <a:gd name="T71" fmla="*/ 687 h 2057"/>
                    <a:gd name="T72" fmla="*/ 901 w 931"/>
                    <a:gd name="T73" fmla="*/ 580 h 2057"/>
                    <a:gd name="T74" fmla="*/ 875 w 931"/>
                    <a:gd name="T75" fmla="*/ 476 h 2057"/>
                    <a:gd name="T76" fmla="*/ 840 w 931"/>
                    <a:gd name="T77" fmla="*/ 374 h 2057"/>
                    <a:gd name="T78" fmla="*/ 798 w 931"/>
                    <a:gd name="T79" fmla="*/ 275 h 2057"/>
                    <a:gd name="T80" fmla="*/ 748 w 931"/>
                    <a:gd name="T81" fmla="*/ 180 h 2057"/>
                    <a:gd name="T82" fmla="*/ 693 w 931"/>
                    <a:gd name="T83" fmla="*/ 87 h 2057"/>
                    <a:gd name="T84" fmla="*/ 630 w 931"/>
                    <a:gd name="T85" fmla="*/ 0 h 20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31" h="2057">
                      <a:moveTo>
                        <a:pt x="630" y="0"/>
                      </a:moveTo>
                      <a:lnTo>
                        <a:pt x="600" y="21"/>
                      </a:lnTo>
                      <a:lnTo>
                        <a:pt x="572" y="43"/>
                      </a:lnTo>
                      <a:lnTo>
                        <a:pt x="543" y="66"/>
                      </a:lnTo>
                      <a:lnTo>
                        <a:pt x="515" y="89"/>
                      </a:lnTo>
                      <a:lnTo>
                        <a:pt x="487" y="114"/>
                      </a:lnTo>
                      <a:lnTo>
                        <a:pt x="460" y="138"/>
                      </a:lnTo>
                      <a:lnTo>
                        <a:pt x="435" y="163"/>
                      </a:lnTo>
                      <a:lnTo>
                        <a:pt x="408" y="189"/>
                      </a:lnTo>
                      <a:lnTo>
                        <a:pt x="384" y="215"/>
                      </a:lnTo>
                      <a:lnTo>
                        <a:pt x="359" y="242"/>
                      </a:lnTo>
                      <a:lnTo>
                        <a:pt x="336" y="270"/>
                      </a:lnTo>
                      <a:lnTo>
                        <a:pt x="313" y="298"/>
                      </a:lnTo>
                      <a:lnTo>
                        <a:pt x="291" y="327"/>
                      </a:lnTo>
                      <a:lnTo>
                        <a:pt x="269" y="356"/>
                      </a:lnTo>
                      <a:lnTo>
                        <a:pt x="248" y="385"/>
                      </a:lnTo>
                      <a:lnTo>
                        <a:pt x="228" y="416"/>
                      </a:lnTo>
                      <a:lnTo>
                        <a:pt x="208" y="447"/>
                      </a:lnTo>
                      <a:lnTo>
                        <a:pt x="191" y="478"/>
                      </a:lnTo>
                      <a:lnTo>
                        <a:pt x="173" y="510"/>
                      </a:lnTo>
                      <a:lnTo>
                        <a:pt x="156" y="542"/>
                      </a:lnTo>
                      <a:lnTo>
                        <a:pt x="139" y="575"/>
                      </a:lnTo>
                      <a:lnTo>
                        <a:pt x="123" y="608"/>
                      </a:lnTo>
                      <a:lnTo>
                        <a:pt x="109" y="642"/>
                      </a:lnTo>
                      <a:lnTo>
                        <a:pt x="96" y="676"/>
                      </a:lnTo>
                      <a:lnTo>
                        <a:pt x="82" y="710"/>
                      </a:lnTo>
                      <a:lnTo>
                        <a:pt x="71" y="746"/>
                      </a:lnTo>
                      <a:lnTo>
                        <a:pt x="59" y="781"/>
                      </a:lnTo>
                      <a:lnTo>
                        <a:pt x="49" y="817"/>
                      </a:lnTo>
                      <a:lnTo>
                        <a:pt x="40" y="853"/>
                      </a:lnTo>
                      <a:lnTo>
                        <a:pt x="32" y="890"/>
                      </a:lnTo>
                      <a:lnTo>
                        <a:pt x="24" y="927"/>
                      </a:lnTo>
                      <a:lnTo>
                        <a:pt x="17" y="964"/>
                      </a:lnTo>
                      <a:lnTo>
                        <a:pt x="12" y="1002"/>
                      </a:lnTo>
                      <a:lnTo>
                        <a:pt x="7" y="1040"/>
                      </a:lnTo>
                      <a:lnTo>
                        <a:pt x="4" y="1077"/>
                      </a:lnTo>
                      <a:lnTo>
                        <a:pt x="1" y="1114"/>
                      </a:lnTo>
                      <a:lnTo>
                        <a:pt x="0" y="1151"/>
                      </a:lnTo>
                      <a:lnTo>
                        <a:pt x="0" y="1188"/>
                      </a:lnTo>
                      <a:lnTo>
                        <a:pt x="0" y="1225"/>
                      </a:lnTo>
                      <a:lnTo>
                        <a:pt x="1" y="1262"/>
                      </a:lnTo>
                      <a:lnTo>
                        <a:pt x="4" y="1299"/>
                      </a:lnTo>
                      <a:lnTo>
                        <a:pt x="7" y="1335"/>
                      </a:lnTo>
                      <a:lnTo>
                        <a:pt x="12" y="1371"/>
                      </a:lnTo>
                      <a:lnTo>
                        <a:pt x="17" y="1407"/>
                      </a:lnTo>
                      <a:lnTo>
                        <a:pt x="23" y="1442"/>
                      </a:lnTo>
                      <a:lnTo>
                        <a:pt x="31" y="1478"/>
                      </a:lnTo>
                      <a:lnTo>
                        <a:pt x="38" y="1513"/>
                      </a:lnTo>
                      <a:lnTo>
                        <a:pt x="47" y="1548"/>
                      </a:lnTo>
                      <a:lnTo>
                        <a:pt x="57" y="1582"/>
                      </a:lnTo>
                      <a:lnTo>
                        <a:pt x="67" y="1617"/>
                      </a:lnTo>
                      <a:lnTo>
                        <a:pt x="79" y="1651"/>
                      </a:lnTo>
                      <a:lnTo>
                        <a:pt x="91" y="1684"/>
                      </a:lnTo>
                      <a:lnTo>
                        <a:pt x="104" y="1718"/>
                      </a:lnTo>
                      <a:lnTo>
                        <a:pt x="118" y="1751"/>
                      </a:lnTo>
                      <a:lnTo>
                        <a:pt x="133" y="1783"/>
                      </a:lnTo>
                      <a:lnTo>
                        <a:pt x="148" y="1815"/>
                      </a:lnTo>
                      <a:lnTo>
                        <a:pt x="165" y="1847"/>
                      </a:lnTo>
                      <a:lnTo>
                        <a:pt x="182" y="1878"/>
                      </a:lnTo>
                      <a:lnTo>
                        <a:pt x="200" y="1909"/>
                      </a:lnTo>
                      <a:lnTo>
                        <a:pt x="219" y="1940"/>
                      </a:lnTo>
                      <a:lnTo>
                        <a:pt x="238" y="1970"/>
                      </a:lnTo>
                      <a:lnTo>
                        <a:pt x="258" y="2000"/>
                      </a:lnTo>
                      <a:lnTo>
                        <a:pt x="279" y="2029"/>
                      </a:lnTo>
                      <a:lnTo>
                        <a:pt x="301" y="2057"/>
                      </a:lnTo>
                      <a:lnTo>
                        <a:pt x="330" y="2036"/>
                      </a:lnTo>
                      <a:lnTo>
                        <a:pt x="360" y="2014"/>
                      </a:lnTo>
                      <a:lnTo>
                        <a:pt x="388" y="1992"/>
                      </a:lnTo>
                      <a:lnTo>
                        <a:pt x="416" y="1968"/>
                      </a:lnTo>
                      <a:lnTo>
                        <a:pt x="443" y="1945"/>
                      </a:lnTo>
                      <a:lnTo>
                        <a:pt x="470" y="1920"/>
                      </a:lnTo>
                      <a:lnTo>
                        <a:pt x="497" y="1895"/>
                      </a:lnTo>
                      <a:lnTo>
                        <a:pt x="522" y="1869"/>
                      </a:lnTo>
                      <a:lnTo>
                        <a:pt x="547" y="1843"/>
                      </a:lnTo>
                      <a:lnTo>
                        <a:pt x="572" y="1816"/>
                      </a:lnTo>
                      <a:lnTo>
                        <a:pt x="595" y="1789"/>
                      </a:lnTo>
                      <a:lnTo>
                        <a:pt x="618" y="1760"/>
                      </a:lnTo>
                      <a:lnTo>
                        <a:pt x="640" y="1732"/>
                      </a:lnTo>
                      <a:lnTo>
                        <a:pt x="662" y="1703"/>
                      </a:lnTo>
                      <a:lnTo>
                        <a:pt x="683" y="1673"/>
                      </a:lnTo>
                      <a:lnTo>
                        <a:pt x="703" y="1643"/>
                      </a:lnTo>
                      <a:lnTo>
                        <a:pt x="722" y="1612"/>
                      </a:lnTo>
                      <a:lnTo>
                        <a:pt x="741" y="1581"/>
                      </a:lnTo>
                      <a:lnTo>
                        <a:pt x="759" y="1549"/>
                      </a:lnTo>
                      <a:lnTo>
                        <a:pt x="776" y="1516"/>
                      </a:lnTo>
                      <a:lnTo>
                        <a:pt x="791" y="1484"/>
                      </a:lnTo>
                      <a:lnTo>
                        <a:pt x="807" y="1450"/>
                      </a:lnTo>
                      <a:lnTo>
                        <a:pt x="822" y="1417"/>
                      </a:lnTo>
                      <a:lnTo>
                        <a:pt x="836" y="1382"/>
                      </a:lnTo>
                      <a:lnTo>
                        <a:pt x="848" y="1348"/>
                      </a:lnTo>
                      <a:lnTo>
                        <a:pt x="861" y="1313"/>
                      </a:lnTo>
                      <a:lnTo>
                        <a:pt x="871" y="1277"/>
                      </a:lnTo>
                      <a:lnTo>
                        <a:pt x="882" y="1241"/>
                      </a:lnTo>
                      <a:lnTo>
                        <a:pt x="891" y="1205"/>
                      </a:lnTo>
                      <a:lnTo>
                        <a:pt x="900" y="1168"/>
                      </a:lnTo>
                      <a:lnTo>
                        <a:pt x="907" y="1131"/>
                      </a:lnTo>
                      <a:lnTo>
                        <a:pt x="914" y="1094"/>
                      </a:lnTo>
                      <a:lnTo>
                        <a:pt x="919" y="1056"/>
                      </a:lnTo>
                      <a:lnTo>
                        <a:pt x="923" y="1019"/>
                      </a:lnTo>
                      <a:lnTo>
                        <a:pt x="927" y="981"/>
                      </a:lnTo>
                      <a:lnTo>
                        <a:pt x="929" y="944"/>
                      </a:lnTo>
                      <a:lnTo>
                        <a:pt x="930" y="907"/>
                      </a:lnTo>
                      <a:lnTo>
                        <a:pt x="931" y="870"/>
                      </a:lnTo>
                      <a:lnTo>
                        <a:pt x="930" y="833"/>
                      </a:lnTo>
                      <a:lnTo>
                        <a:pt x="929" y="796"/>
                      </a:lnTo>
                      <a:lnTo>
                        <a:pt x="927" y="760"/>
                      </a:lnTo>
                      <a:lnTo>
                        <a:pt x="923" y="724"/>
                      </a:lnTo>
                      <a:lnTo>
                        <a:pt x="919" y="687"/>
                      </a:lnTo>
                      <a:lnTo>
                        <a:pt x="914" y="652"/>
                      </a:lnTo>
                      <a:lnTo>
                        <a:pt x="907" y="616"/>
                      </a:lnTo>
                      <a:lnTo>
                        <a:pt x="901" y="580"/>
                      </a:lnTo>
                      <a:lnTo>
                        <a:pt x="893" y="545"/>
                      </a:lnTo>
                      <a:lnTo>
                        <a:pt x="884" y="510"/>
                      </a:lnTo>
                      <a:lnTo>
                        <a:pt x="875" y="476"/>
                      </a:lnTo>
                      <a:lnTo>
                        <a:pt x="863" y="442"/>
                      </a:lnTo>
                      <a:lnTo>
                        <a:pt x="853" y="408"/>
                      </a:lnTo>
                      <a:lnTo>
                        <a:pt x="840" y="374"/>
                      </a:lnTo>
                      <a:lnTo>
                        <a:pt x="826" y="341"/>
                      </a:lnTo>
                      <a:lnTo>
                        <a:pt x="813" y="308"/>
                      </a:lnTo>
                      <a:lnTo>
                        <a:pt x="798" y="275"/>
                      </a:lnTo>
                      <a:lnTo>
                        <a:pt x="782" y="243"/>
                      </a:lnTo>
                      <a:lnTo>
                        <a:pt x="766" y="211"/>
                      </a:lnTo>
                      <a:lnTo>
                        <a:pt x="748" y="180"/>
                      </a:lnTo>
                      <a:lnTo>
                        <a:pt x="730" y="149"/>
                      </a:lnTo>
                      <a:lnTo>
                        <a:pt x="713" y="118"/>
                      </a:lnTo>
                      <a:lnTo>
                        <a:pt x="693" y="87"/>
                      </a:lnTo>
                      <a:lnTo>
                        <a:pt x="673" y="58"/>
                      </a:lnTo>
                      <a:lnTo>
                        <a:pt x="652" y="28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8" name="Freeform 248"/>
                <p:cNvSpPr>
                  <a:spLocks/>
                </p:cNvSpPr>
                <p:nvPr/>
              </p:nvSpPr>
              <p:spPr bwMode="auto">
                <a:xfrm rot="-2429734">
                  <a:off x="725" y="1881"/>
                  <a:ext cx="60" cy="97"/>
                </a:xfrm>
                <a:custGeom>
                  <a:avLst/>
                  <a:gdLst>
                    <a:gd name="T0" fmla="*/ 51 w 1153"/>
                    <a:gd name="T1" fmla="*/ 67 h 1847"/>
                    <a:gd name="T2" fmla="*/ 26 w 1153"/>
                    <a:gd name="T3" fmla="*/ 171 h 1847"/>
                    <a:gd name="T4" fmla="*/ 9 w 1153"/>
                    <a:gd name="T5" fmla="*/ 277 h 1847"/>
                    <a:gd name="T6" fmla="*/ 1 w 1153"/>
                    <a:gd name="T7" fmla="*/ 383 h 1847"/>
                    <a:gd name="T8" fmla="*/ 0 w 1153"/>
                    <a:gd name="T9" fmla="*/ 489 h 1847"/>
                    <a:gd name="T10" fmla="*/ 7 w 1153"/>
                    <a:gd name="T11" fmla="*/ 597 h 1847"/>
                    <a:gd name="T12" fmla="*/ 24 w 1153"/>
                    <a:gd name="T13" fmla="*/ 704 h 1847"/>
                    <a:gd name="T14" fmla="*/ 48 w 1153"/>
                    <a:gd name="T15" fmla="*/ 810 h 1847"/>
                    <a:gd name="T16" fmla="*/ 81 w 1153"/>
                    <a:gd name="T17" fmla="*/ 916 h 1847"/>
                    <a:gd name="T18" fmla="*/ 123 w 1153"/>
                    <a:gd name="T19" fmla="*/ 1020 h 1847"/>
                    <a:gd name="T20" fmla="*/ 173 w 1153"/>
                    <a:gd name="T21" fmla="*/ 1122 h 1847"/>
                    <a:gd name="T22" fmla="*/ 232 w 1153"/>
                    <a:gd name="T23" fmla="*/ 1221 h 1847"/>
                    <a:gd name="T24" fmla="*/ 299 w 1153"/>
                    <a:gd name="T25" fmla="*/ 1313 h 1847"/>
                    <a:gd name="T26" fmla="*/ 370 w 1153"/>
                    <a:gd name="T27" fmla="*/ 1400 h 1847"/>
                    <a:gd name="T28" fmla="*/ 448 w 1153"/>
                    <a:gd name="T29" fmla="*/ 1480 h 1847"/>
                    <a:gd name="T30" fmla="*/ 530 w 1153"/>
                    <a:gd name="T31" fmla="*/ 1554 h 1847"/>
                    <a:gd name="T32" fmla="*/ 619 w 1153"/>
                    <a:gd name="T33" fmla="*/ 1621 h 1847"/>
                    <a:gd name="T34" fmla="*/ 711 w 1153"/>
                    <a:gd name="T35" fmla="*/ 1682 h 1847"/>
                    <a:gd name="T36" fmla="*/ 807 w 1153"/>
                    <a:gd name="T37" fmla="*/ 1736 h 1847"/>
                    <a:gd name="T38" fmla="*/ 907 w 1153"/>
                    <a:gd name="T39" fmla="*/ 1784 h 1847"/>
                    <a:gd name="T40" fmla="*/ 1010 w 1153"/>
                    <a:gd name="T41" fmla="*/ 1824 h 1847"/>
                    <a:gd name="T42" fmla="*/ 1091 w 1153"/>
                    <a:gd name="T43" fmla="*/ 1813 h 1847"/>
                    <a:gd name="T44" fmla="*/ 1119 w 1153"/>
                    <a:gd name="T45" fmla="*/ 1711 h 1847"/>
                    <a:gd name="T46" fmla="*/ 1138 w 1153"/>
                    <a:gd name="T47" fmla="*/ 1606 h 1847"/>
                    <a:gd name="T48" fmla="*/ 1149 w 1153"/>
                    <a:gd name="T49" fmla="*/ 1500 h 1847"/>
                    <a:gd name="T50" fmla="*/ 1153 w 1153"/>
                    <a:gd name="T51" fmla="*/ 1394 h 1847"/>
                    <a:gd name="T52" fmla="*/ 1148 w 1153"/>
                    <a:gd name="T53" fmla="*/ 1287 h 1847"/>
                    <a:gd name="T54" fmla="*/ 1135 w 1153"/>
                    <a:gd name="T55" fmla="*/ 1180 h 1847"/>
                    <a:gd name="T56" fmla="*/ 1113 w 1153"/>
                    <a:gd name="T57" fmla="*/ 1073 h 1847"/>
                    <a:gd name="T58" fmla="*/ 1083 w 1153"/>
                    <a:gd name="T59" fmla="*/ 967 h 1847"/>
                    <a:gd name="T60" fmla="*/ 1044 w 1153"/>
                    <a:gd name="T61" fmla="*/ 862 h 1847"/>
                    <a:gd name="T62" fmla="*/ 997 w 1153"/>
                    <a:gd name="T63" fmla="*/ 759 h 1847"/>
                    <a:gd name="T64" fmla="*/ 940 w 1153"/>
                    <a:gd name="T65" fmla="*/ 659 h 1847"/>
                    <a:gd name="T66" fmla="*/ 877 w 1153"/>
                    <a:gd name="T67" fmla="*/ 565 h 1847"/>
                    <a:gd name="T68" fmla="*/ 807 w 1153"/>
                    <a:gd name="T69" fmla="*/ 476 h 1847"/>
                    <a:gd name="T70" fmla="*/ 731 w 1153"/>
                    <a:gd name="T71" fmla="*/ 394 h 1847"/>
                    <a:gd name="T72" fmla="*/ 650 w 1153"/>
                    <a:gd name="T73" fmla="*/ 318 h 1847"/>
                    <a:gd name="T74" fmla="*/ 564 w 1153"/>
                    <a:gd name="T75" fmla="*/ 248 h 1847"/>
                    <a:gd name="T76" fmla="*/ 472 w 1153"/>
                    <a:gd name="T77" fmla="*/ 185 h 1847"/>
                    <a:gd name="T78" fmla="*/ 378 w 1153"/>
                    <a:gd name="T79" fmla="*/ 127 h 1847"/>
                    <a:gd name="T80" fmla="*/ 279 w 1153"/>
                    <a:gd name="T81" fmla="*/ 78 h 1847"/>
                    <a:gd name="T82" fmla="*/ 177 w 1153"/>
                    <a:gd name="T83" fmla="*/ 35 h 1847"/>
                    <a:gd name="T84" fmla="*/ 71 w 1153"/>
                    <a:gd name="T85" fmla="*/ 0 h 18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53" h="1847">
                      <a:moveTo>
                        <a:pt x="71" y="0"/>
                      </a:moveTo>
                      <a:lnTo>
                        <a:pt x="61" y="33"/>
                      </a:lnTo>
                      <a:lnTo>
                        <a:pt x="51" y="67"/>
                      </a:lnTo>
                      <a:lnTo>
                        <a:pt x="42" y="102"/>
                      </a:lnTo>
                      <a:lnTo>
                        <a:pt x="33" y="136"/>
                      </a:lnTo>
                      <a:lnTo>
                        <a:pt x="26" y="171"/>
                      </a:lnTo>
                      <a:lnTo>
                        <a:pt x="20" y="207"/>
                      </a:lnTo>
                      <a:lnTo>
                        <a:pt x="15" y="242"/>
                      </a:lnTo>
                      <a:lnTo>
                        <a:pt x="9" y="277"/>
                      </a:lnTo>
                      <a:lnTo>
                        <a:pt x="6" y="312"/>
                      </a:lnTo>
                      <a:lnTo>
                        <a:pt x="3" y="347"/>
                      </a:lnTo>
                      <a:lnTo>
                        <a:pt x="1" y="383"/>
                      </a:lnTo>
                      <a:lnTo>
                        <a:pt x="0" y="418"/>
                      </a:lnTo>
                      <a:lnTo>
                        <a:pt x="0" y="454"/>
                      </a:lnTo>
                      <a:lnTo>
                        <a:pt x="0" y="489"/>
                      </a:lnTo>
                      <a:lnTo>
                        <a:pt x="2" y="525"/>
                      </a:lnTo>
                      <a:lnTo>
                        <a:pt x="4" y="561"/>
                      </a:lnTo>
                      <a:lnTo>
                        <a:pt x="7" y="597"/>
                      </a:lnTo>
                      <a:lnTo>
                        <a:pt x="12" y="632"/>
                      </a:lnTo>
                      <a:lnTo>
                        <a:pt x="18" y="668"/>
                      </a:lnTo>
                      <a:lnTo>
                        <a:pt x="24" y="704"/>
                      </a:lnTo>
                      <a:lnTo>
                        <a:pt x="30" y="739"/>
                      </a:lnTo>
                      <a:lnTo>
                        <a:pt x="39" y="775"/>
                      </a:lnTo>
                      <a:lnTo>
                        <a:pt x="48" y="810"/>
                      </a:lnTo>
                      <a:lnTo>
                        <a:pt x="58" y="845"/>
                      </a:lnTo>
                      <a:lnTo>
                        <a:pt x="69" y="881"/>
                      </a:lnTo>
                      <a:lnTo>
                        <a:pt x="81" y="916"/>
                      </a:lnTo>
                      <a:lnTo>
                        <a:pt x="95" y="951"/>
                      </a:lnTo>
                      <a:lnTo>
                        <a:pt x="108" y="985"/>
                      </a:lnTo>
                      <a:lnTo>
                        <a:pt x="123" y="1020"/>
                      </a:lnTo>
                      <a:lnTo>
                        <a:pt x="139" y="1054"/>
                      </a:lnTo>
                      <a:lnTo>
                        <a:pt x="156" y="1088"/>
                      </a:lnTo>
                      <a:lnTo>
                        <a:pt x="173" y="1122"/>
                      </a:lnTo>
                      <a:lnTo>
                        <a:pt x="192" y="1156"/>
                      </a:lnTo>
                      <a:lnTo>
                        <a:pt x="212" y="1189"/>
                      </a:lnTo>
                      <a:lnTo>
                        <a:pt x="232" y="1221"/>
                      </a:lnTo>
                      <a:lnTo>
                        <a:pt x="253" y="1252"/>
                      </a:lnTo>
                      <a:lnTo>
                        <a:pt x="276" y="1283"/>
                      </a:lnTo>
                      <a:lnTo>
                        <a:pt x="299" y="1313"/>
                      </a:lnTo>
                      <a:lnTo>
                        <a:pt x="322" y="1343"/>
                      </a:lnTo>
                      <a:lnTo>
                        <a:pt x="345" y="1372"/>
                      </a:lnTo>
                      <a:lnTo>
                        <a:pt x="370" y="1400"/>
                      </a:lnTo>
                      <a:lnTo>
                        <a:pt x="396" y="1427"/>
                      </a:lnTo>
                      <a:lnTo>
                        <a:pt x="421" y="1454"/>
                      </a:lnTo>
                      <a:lnTo>
                        <a:pt x="448" y="1480"/>
                      </a:lnTo>
                      <a:lnTo>
                        <a:pt x="474" y="1505"/>
                      </a:lnTo>
                      <a:lnTo>
                        <a:pt x="503" y="1530"/>
                      </a:lnTo>
                      <a:lnTo>
                        <a:pt x="530" y="1554"/>
                      </a:lnTo>
                      <a:lnTo>
                        <a:pt x="560" y="1577"/>
                      </a:lnTo>
                      <a:lnTo>
                        <a:pt x="588" y="1600"/>
                      </a:lnTo>
                      <a:lnTo>
                        <a:pt x="619" y="1621"/>
                      </a:lnTo>
                      <a:lnTo>
                        <a:pt x="649" y="1642"/>
                      </a:lnTo>
                      <a:lnTo>
                        <a:pt x="680" y="1663"/>
                      </a:lnTo>
                      <a:lnTo>
                        <a:pt x="711" y="1682"/>
                      </a:lnTo>
                      <a:lnTo>
                        <a:pt x="743" y="1701"/>
                      </a:lnTo>
                      <a:lnTo>
                        <a:pt x="774" y="1719"/>
                      </a:lnTo>
                      <a:lnTo>
                        <a:pt x="807" y="1736"/>
                      </a:lnTo>
                      <a:lnTo>
                        <a:pt x="840" y="1753"/>
                      </a:lnTo>
                      <a:lnTo>
                        <a:pt x="873" y="1769"/>
                      </a:lnTo>
                      <a:lnTo>
                        <a:pt x="907" y="1784"/>
                      </a:lnTo>
                      <a:lnTo>
                        <a:pt x="941" y="1798"/>
                      </a:lnTo>
                      <a:lnTo>
                        <a:pt x="975" y="1811"/>
                      </a:lnTo>
                      <a:lnTo>
                        <a:pt x="1010" y="1824"/>
                      </a:lnTo>
                      <a:lnTo>
                        <a:pt x="1045" y="1836"/>
                      </a:lnTo>
                      <a:lnTo>
                        <a:pt x="1081" y="1847"/>
                      </a:lnTo>
                      <a:lnTo>
                        <a:pt x="1091" y="1813"/>
                      </a:lnTo>
                      <a:lnTo>
                        <a:pt x="1101" y="1779"/>
                      </a:lnTo>
                      <a:lnTo>
                        <a:pt x="1110" y="1745"/>
                      </a:lnTo>
                      <a:lnTo>
                        <a:pt x="1119" y="1711"/>
                      </a:lnTo>
                      <a:lnTo>
                        <a:pt x="1126" y="1676"/>
                      </a:lnTo>
                      <a:lnTo>
                        <a:pt x="1132" y="1641"/>
                      </a:lnTo>
                      <a:lnTo>
                        <a:pt x="1138" y="1606"/>
                      </a:lnTo>
                      <a:lnTo>
                        <a:pt x="1143" y="1571"/>
                      </a:lnTo>
                      <a:lnTo>
                        <a:pt x="1146" y="1536"/>
                      </a:lnTo>
                      <a:lnTo>
                        <a:pt x="1149" y="1500"/>
                      </a:lnTo>
                      <a:lnTo>
                        <a:pt x="1151" y="1465"/>
                      </a:lnTo>
                      <a:lnTo>
                        <a:pt x="1152" y="1430"/>
                      </a:lnTo>
                      <a:lnTo>
                        <a:pt x="1153" y="1394"/>
                      </a:lnTo>
                      <a:lnTo>
                        <a:pt x="1152" y="1358"/>
                      </a:lnTo>
                      <a:lnTo>
                        <a:pt x="1150" y="1323"/>
                      </a:lnTo>
                      <a:lnTo>
                        <a:pt x="1148" y="1287"/>
                      </a:lnTo>
                      <a:lnTo>
                        <a:pt x="1145" y="1251"/>
                      </a:lnTo>
                      <a:lnTo>
                        <a:pt x="1141" y="1215"/>
                      </a:lnTo>
                      <a:lnTo>
                        <a:pt x="1135" y="1180"/>
                      </a:lnTo>
                      <a:lnTo>
                        <a:pt x="1129" y="1144"/>
                      </a:lnTo>
                      <a:lnTo>
                        <a:pt x="1122" y="1109"/>
                      </a:lnTo>
                      <a:lnTo>
                        <a:pt x="1113" y="1073"/>
                      </a:lnTo>
                      <a:lnTo>
                        <a:pt x="1104" y="1038"/>
                      </a:lnTo>
                      <a:lnTo>
                        <a:pt x="1094" y="1002"/>
                      </a:lnTo>
                      <a:lnTo>
                        <a:pt x="1083" y="967"/>
                      </a:lnTo>
                      <a:lnTo>
                        <a:pt x="1071" y="932"/>
                      </a:lnTo>
                      <a:lnTo>
                        <a:pt x="1059" y="897"/>
                      </a:lnTo>
                      <a:lnTo>
                        <a:pt x="1044" y="862"/>
                      </a:lnTo>
                      <a:lnTo>
                        <a:pt x="1029" y="828"/>
                      </a:lnTo>
                      <a:lnTo>
                        <a:pt x="1013" y="794"/>
                      </a:lnTo>
                      <a:lnTo>
                        <a:pt x="997" y="759"/>
                      </a:lnTo>
                      <a:lnTo>
                        <a:pt x="979" y="725"/>
                      </a:lnTo>
                      <a:lnTo>
                        <a:pt x="960" y="692"/>
                      </a:lnTo>
                      <a:lnTo>
                        <a:pt x="940" y="659"/>
                      </a:lnTo>
                      <a:lnTo>
                        <a:pt x="920" y="627"/>
                      </a:lnTo>
                      <a:lnTo>
                        <a:pt x="899" y="595"/>
                      </a:lnTo>
                      <a:lnTo>
                        <a:pt x="877" y="565"/>
                      </a:lnTo>
                      <a:lnTo>
                        <a:pt x="854" y="534"/>
                      </a:lnTo>
                      <a:lnTo>
                        <a:pt x="831" y="505"/>
                      </a:lnTo>
                      <a:lnTo>
                        <a:pt x="807" y="476"/>
                      </a:lnTo>
                      <a:lnTo>
                        <a:pt x="782" y="448"/>
                      </a:lnTo>
                      <a:lnTo>
                        <a:pt x="757" y="421"/>
                      </a:lnTo>
                      <a:lnTo>
                        <a:pt x="731" y="394"/>
                      </a:lnTo>
                      <a:lnTo>
                        <a:pt x="705" y="368"/>
                      </a:lnTo>
                      <a:lnTo>
                        <a:pt x="678" y="342"/>
                      </a:lnTo>
                      <a:lnTo>
                        <a:pt x="650" y="318"/>
                      </a:lnTo>
                      <a:lnTo>
                        <a:pt x="622" y="294"/>
                      </a:lnTo>
                      <a:lnTo>
                        <a:pt x="593" y="270"/>
                      </a:lnTo>
                      <a:lnTo>
                        <a:pt x="564" y="248"/>
                      </a:lnTo>
                      <a:lnTo>
                        <a:pt x="533" y="226"/>
                      </a:lnTo>
                      <a:lnTo>
                        <a:pt x="504" y="205"/>
                      </a:lnTo>
                      <a:lnTo>
                        <a:pt x="472" y="185"/>
                      </a:lnTo>
                      <a:lnTo>
                        <a:pt x="442" y="164"/>
                      </a:lnTo>
                      <a:lnTo>
                        <a:pt x="410" y="146"/>
                      </a:lnTo>
                      <a:lnTo>
                        <a:pt x="378" y="127"/>
                      </a:lnTo>
                      <a:lnTo>
                        <a:pt x="345" y="110"/>
                      </a:lnTo>
                      <a:lnTo>
                        <a:pt x="312" y="94"/>
                      </a:lnTo>
                      <a:lnTo>
                        <a:pt x="279" y="78"/>
                      </a:lnTo>
                      <a:lnTo>
                        <a:pt x="245" y="63"/>
                      </a:lnTo>
                      <a:lnTo>
                        <a:pt x="211" y="49"/>
                      </a:lnTo>
                      <a:lnTo>
                        <a:pt x="177" y="35"/>
                      </a:lnTo>
                      <a:lnTo>
                        <a:pt x="142" y="23"/>
                      </a:lnTo>
                      <a:lnTo>
                        <a:pt x="107" y="11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99" name="Freeform 249"/>
                <p:cNvSpPr>
                  <a:spLocks/>
                </p:cNvSpPr>
                <p:nvPr/>
              </p:nvSpPr>
              <p:spPr bwMode="auto">
                <a:xfrm rot="-2429734">
                  <a:off x="817" y="1607"/>
                  <a:ext cx="93" cy="62"/>
                </a:xfrm>
                <a:custGeom>
                  <a:avLst/>
                  <a:gdLst>
                    <a:gd name="T0" fmla="*/ 17 w 1849"/>
                    <a:gd name="T1" fmla="*/ 105 h 1185"/>
                    <a:gd name="T2" fmla="*/ 50 w 1849"/>
                    <a:gd name="T3" fmla="*/ 206 h 1185"/>
                    <a:gd name="T4" fmla="*/ 91 w 1849"/>
                    <a:gd name="T5" fmla="*/ 304 h 1185"/>
                    <a:gd name="T6" fmla="*/ 141 w 1849"/>
                    <a:gd name="T7" fmla="*/ 400 h 1185"/>
                    <a:gd name="T8" fmla="*/ 196 w 1849"/>
                    <a:gd name="T9" fmla="*/ 493 h 1185"/>
                    <a:gd name="T10" fmla="*/ 260 w 1849"/>
                    <a:gd name="T11" fmla="*/ 582 h 1185"/>
                    <a:gd name="T12" fmla="*/ 330 w 1849"/>
                    <a:gd name="T13" fmla="*/ 667 h 1185"/>
                    <a:gd name="T14" fmla="*/ 407 w 1849"/>
                    <a:gd name="T15" fmla="*/ 747 h 1185"/>
                    <a:gd name="T16" fmla="*/ 492 w 1849"/>
                    <a:gd name="T17" fmla="*/ 822 h 1185"/>
                    <a:gd name="T18" fmla="*/ 584 w 1849"/>
                    <a:gd name="T19" fmla="*/ 892 h 1185"/>
                    <a:gd name="T20" fmla="*/ 682 w 1849"/>
                    <a:gd name="T21" fmla="*/ 956 h 1185"/>
                    <a:gd name="T22" fmla="*/ 785 w 1849"/>
                    <a:gd name="T23" fmla="*/ 1013 h 1185"/>
                    <a:gd name="T24" fmla="*/ 890 w 1849"/>
                    <a:gd name="T25" fmla="*/ 1062 h 1185"/>
                    <a:gd name="T26" fmla="*/ 998 w 1849"/>
                    <a:gd name="T27" fmla="*/ 1102 h 1185"/>
                    <a:gd name="T28" fmla="*/ 1108 w 1849"/>
                    <a:gd name="T29" fmla="*/ 1134 h 1185"/>
                    <a:gd name="T30" fmla="*/ 1218 w 1849"/>
                    <a:gd name="T31" fmla="*/ 1159 h 1185"/>
                    <a:gd name="T32" fmla="*/ 1330 w 1849"/>
                    <a:gd name="T33" fmla="*/ 1175 h 1185"/>
                    <a:gd name="T34" fmla="*/ 1443 w 1849"/>
                    <a:gd name="T35" fmla="*/ 1183 h 1185"/>
                    <a:gd name="T36" fmla="*/ 1554 w 1849"/>
                    <a:gd name="T37" fmla="*/ 1184 h 1185"/>
                    <a:gd name="T38" fmla="*/ 1666 w 1849"/>
                    <a:gd name="T39" fmla="*/ 1177 h 1185"/>
                    <a:gd name="T40" fmla="*/ 1776 w 1849"/>
                    <a:gd name="T41" fmla="*/ 1163 h 1185"/>
                    <a:gd name="T42" fmla="*/ 1840 w 1849"/>
                    <a:gd name="T43" fmla="*/ 1114 h 1185"/>
                    <a:gd name="T44" fmla="*/ 1810 w 1849"/>
                    <a:gd name="T45" fmla="*/ 1013 h 1185"/>
                    <a:gd name="T46" fmla="*/ 1771 w 1849"/>
                    <a:gd name="T47" fmla="*/ 913 h 1185"/>
                    <a:gd name="T48" fmla="*/ 1725 w 1849"/>
                    <a:gd name="T49" fmla="*/ 816 h 1185"/>
                    <a:gd name="T50" fmla="*/ 1671 w 1849"/>
                    <a:gd name="T51" fmla="*/ 723 h 1185"/>
                    <a:gd name="T52" fmla="*/ 1611 w 1849"/>
                    <a:gd name="T53" fmla="*/ 632 h 1185"/>
                    <a:gd name="T54" fmla="*/ 1543 w 1849"/>
                    <a:gd name="T55" fmla="*/ 546 h 1185"/>
                    <a:gd name="T56" fmla="*/ 1468 w 1849"/>
                    <a:gd name="T57" fmla="*/ 464 h 1185"/>
                    <a:gd name="T58" fmla="*/ 1385 w 1849"/>
                    <a:gd name="T59" fmla="*/ 387 h 1185"/>
                    <a:gd name="T60" fmla="*/ 1296 w 1849"/>
                    <a:gd name="T61" fmla="*/ 315 h 1185"/>
                    <a:gd name="T62" fmla="*/ 1200 w 1849"/>
                    <a:gd name="T63" fmla="*/ 249 h 1185"/>
                    <a:gd name="T64" fmla="*/ 1098 w 1849"/>
                    <a:gd name="T65" fmla="*/ 190 h 1185"/>
                    <a:gd name="T66" fmla="*/ 993 w 1849"/>
                    <a:gd name="T67" fmla="*/ 138 h 1185"/>
                    <a:gd name="T68" fmla="*/ 886 w 1849"/>
                    <a:gd name="T69" fmla="*/ 95 h 1185"/>
                    <a:gd name="T70" fmla="*/ 777 w 1849"/>
                    <a:gd name="T71" fmla="*/ 60 h 1185"/>
                    <a:gd name="T72" fmla="*/ 667 w 1849"/>
                    <a:gd name="T73" fmla="*/ 33 h 1185"/>
                    <a:gd name="T74" fmla="*/ 555 w 1849"/>
                    <a:gd name="T75" fmla="*/ 14 h 1185"/>
                    <a:gd name="T76" fmla="*/ 443 w 1849"/>
                    <a:gd name="T77" fmla="*/ 3 h 1185"/>
                    <a:gd name="T78" fmla="*/ 331 w 1849"/>
                    <a:gd name="T79" fmla="*/ 0 h 1185"/>
                    <a:gd name="T80" fmla="*/ 220 w 1849"/>
                    <a:gd name="T81" fmla="*/ 5 h 1185"/>
                    <a:gd name="T82" fmla="*/ 109 w 1849"/>
                    <a:gd name="T83" fmla="*/ 17 h 1185"/>
                    <a:gd name="T84" fmla="*/ 0 w 1849"/>
                    <a:gd name="T85" fmla="*/ 36 h 1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49" h="1185">
                      <a:moveTo>
                        <a:pt x="0" y="36"/>
                      </a:moveTo>
                      <a:lnTo>
                        <a:pt x="8" y="70"/>
                      </a:lnTo>
                      <a:lnTo>
                        <a:pt x="17" y="105"/>
                      </a:lnTo>
                      <a:lnTo>
                        <a:pt x="27" y="138"/>
                      </a:lnTo>
                      <a:lnTo>
                        <a:pt x="39" y="172"/>
                      </a:lnTo>
                      <a:lnTo>
                        <a:pt x="50" y="206"/>
                      </a:lnTo>
                      <a:lnTo>
                        <a:pt x="64" y="239"/>
                      </a:lnTo>
                      <a:lnTo>
                        <a:pt x="77" y="272"/>
                      </a:lnTo>
                      <a:lnTo>
                        <a:pt x="91" y="304"/>
                      </a:lnTo>
                      <a:lnTo>
                        <a:pt x="107" y="337"/>
                      </a:lnTo>
                      <a:lnTo>
                        <a:pt x="123" y="369"/>
                      </a:lnTo>
                      <a:lnTo>
                        <a:pt x="141" y="400"/>
                      </a:lnTo>
                      <a:lnTo>
                        <a:pt x="159" y="431"/>
                      </a:lnTo>
                      <a:lnTo>
                        <a:pt x="176" y="462"/>
                      </a:lnTo>
                      <a:lnTo>
                        <a:pt x="196" y="493"/>
                      </a:lnTo>
                      <a:lnTo>
                        <a:pt x="216" y="523"/>
                      </a:lnTo>
                      <a:lnTo>
                        <a:pt x="237" y="552"/>
                      </a:lnTo>
                      <a:lnTo>
                        <a:pt x="260" y="582"/>
                      </a:lnTo>
                      <a:lnTo>
                        <a:pt x="282" y="610"/>
                      </a:lnTo>
                      <a:lnTo>
                        <a:pt x="306" y="639"/>
                      </a:lnTo>
                      <a:lnTo>
                        <a:pt x="330" y="667"/>
                      </a:lnTo>
                      <a:lnTo>
                        <a:pt x="355" y="694"/>
                      </a:lnTo>
                      <a:lnTo>
                        <a:pt x="381" y="721"/>
                      </a:lnTo>
                      <a:lnTo>
                        <a:pt x="407" y="747"/>
                      </a:lnTo>
                      <a:lnTo>
                        <a:pt x="435" y="772"/>
                      </a:lnTo>
                      <a:lnTo>
                        <a:pt x="463" y="798"/>
                      </a:lnTo>
                      <a:lnTo>
                        <a:pt x="492" y="822"/>
                      </a:lnTo>
                      <a:lnTo>
                        <a:pt x="522" y="846"/>
                      </a:lnTo>
                      <a:lnTo>
                        <a:pt x="552" y="869"/>
                      </a:lnTo>
                      <a:lnTo>
                        <a:pt x="584" y="892"/>
                      </a:lnTo>
                      <a:lnTo>
                        <a:pt x="615" y="914"/>
                      </a:lnTo>
                      <a:lnTo>
                        <a:pt x="648" y="936"/>
                      </a:lnTo>
                      <a:lnTo>
                        <a:pt x="682" y="956"/>
                      </a:lnTo>
                      <a:lnTo>
                        <a:pt x="715" y="976"/>
                      </a:lnTo>
                      <a:lnTo>
                        <a:pt x="750" y="995"/>
                      </a:lnTo>
                      <a:lnTo>
                        <a:pt x="785" y="1013"/>
                      </a:lnTo>
                      <a:lnTo>
                        <a:pt x="819" y="1030"/>
                      </a:lnTo>
                      <a:lnTo>
                        <a:pt x="855" y="1047"/>
                      </a:lnTo>
                      <a:lnTo>
                        <a:pt x="890" y="1062"/>
                      </a:lnTo>
                      <a:lnTo>
                        <a:pt x="926" y="1076"/>
                      </a:lnTo>
                      <a:lnTo>
                        <a:pt x="962" y="1090"/>
                      </a:lnTo>
                      <a:lnTo>
                        <a:pt x="998" y="1102"/>
                      </a:lnTo>
                      <a:lnTo>
                        <a:pt x="1034" y="1114"/>
                      </a:lnTo>
                      <a:lnTo>
                        <a:pt x="1071" y="1125"/>
                      </a:lnTo>
                      <a:lnTo>
                        <a:pt x="1108" y="1134"/>
                      </a:lnTo>
                      <a:lnTo>
                        <a:pt x="1145" y="1143"/>
                      </a:lnTo>
                      <a:lnTo>
                        <a:pt x="1182" y="1151"/>
                      </a:lnTo>
                      <a:lnTo>
                        <a:pt x="1218" y="1159"/>
                      </a:lnTo>
                      <a:lnTo>
                        <a:pt x="1256" y="1165"/>
                      </a:lnTo>
                      <a:lnTo>
                        <a:pt x="1293" y="1170"/>
                      </a:lnTo>
                      <a:lnTo>
                        <a:pt x="1330" y="1175"/>
                      </a:lnTo>
                      <a:lnTo>
                        <a:pt x="1368" y="1179"/>
                      </a:lnTo>
                      <a:lnTo>
                        <a:pt x="1405" y="1181"/>
                      </a:lnTo>
                      <a:lnTo>
                        <a:pt x="1443" y="1183"/>
                      </a:lnTo>
                      <a:lnTo>
                        <a:pt x="1479" y="1184"/>
                      </a:lnTo>
                      <a:lnTo>
                        <a:pt x="1517" y="1185"/>
                      </a:lnTo>
                      <a:lnTo>
                        <a:pt x="1554" y="1184"/>
                      </a:lnTo>
                      <a:lnTo>
                        <a:pt x="1592" y="1183"/>
                      </a:lnTo>
                      <a:lnTo>
                        <a:pt x="1629" y="1180"/>
                      </a:lnTo>
                      <a:lnTo>
                        <a:pt x="1666" y="1177"/>
                      </a:lnTo>
                      <a:lnTo>
                        <a:pt x="1703" y="1173"/>
                      </a:lnTo>
                      <a:lnTo>
                        <a:pt x="1739" y="1168"/>
                      </a:lnTo>
                      <a:lnTo>
                        <a:pt x="1776" y="1163"/>
                      </a:lnTo>
                      <a:lnTo>
                        <a:pt x="1813" y="1156"/>
                      </a:lnTo>
                      <a:lnTo>
                        <a:pt x="1849" y="1149"/>
                      </a:lnTo>
                      <a:lnTo>
                        <a:pt x="1840" y="1114"/>
                      </a:lnTo>
                      <a:lnTo>
                        <a:pt x="1831" y="1080"/>
                      </a:lnTo>
                      <a:lnTo>
                        <a:pt x="1820" y="1046"/>
                      </a:lnTo>
                      <a:lnTo>
                        <a:pt x="1810" y="1013"/>
                      </a:lnTo>
                      <a:lnTo>
                        <a:pt x="1797" y="979"/>
                      </a:lnTo>
                      <a:lnTo>
                        <a:pt x="1785" y="946"/>
                      </a:lnTo>
                      <a:lnTo>
                        <a:pt x="1771" y="913"/>
                      </a:lnTo>
                      <a:lnTo>
                        <a:pt x="1756" y="881"/>
                      </a:lnTo>
                      <a:lnTo>
                        <a:pt x="1741" y="848"/>
                      </a:lnTo>
                      <a:lnTo>
                        <a:pt x="1725" y="816"/>
                      </a:lnTo>
                      <a:lnTo>
                        <a:pt x="1708" y="785"/>
                      </a:lnTo>
                      <a:lnTo>
                        <a:pt x="1690" y="753"/>
                      </a:lnTo>
                      <a:lnTo>
                        <a:pt x="1671" y="723"/>
                      </a:lnTo>
                      <a:lnTo>
                        <a:pt x="1652" y="692"/>
                      </a:lnTo>
                      <a:lnTo>
                        <a:pt x="1632" y="662"/>
                      </a:lnTo>
                      <a:lnTo>
                        <a:pt x="1611" y="632"/>
                      </a:lnTo>
                      <a:lnTo>
                        <a:pt x="1589" y="603"/>
                      </a:lnTo>
                      <a:lnTo>
                        <a:pt x="1566" y="574"/>
                      </a:lnTo>
                      <a:lnTo>
                        <a:pt x="1543" y="546"/>
                      </a:lnTo>
                      <a:lnTo>
                        <a:pt x="1518" y="518"/>
                      </a:lnTo>
                      <a:lnTo>
                        <a:pt x="1493" y="491"/>
                      </a:lnTo>
                      <a:lnTo>
                        <a:pt x="1468" y="464"/>
                      </a:lnTo>
                      <a:lnTo>
                        <a:pt x="1440" y="438"/>
                      </a:lnTo>
                      <a:lnTo>
                        <a:pt x="1413" y="412"/>
                      </a:lnTo>
                      <a:lnTo>
                        <a:pt x="1385" y="387"/>
                      </a:lnTo>
                      <a:lnTo>
                        <a:pt x="1356" y="363"/>
                      </a:lnTo>
                      <a:lnTo>
                        <a:pt x="1327" y="339"/>
                      </a:lnTo>
                      <a:lnTo>
                        <a:pt x="1296" y="315"/>
                      </a:lnTo>
                      <a:lnTo>
                        <a:pt x="1265" y="293"/>
                      </a:lnTo>
                      <a:lnTo>
                        <a:pt x="1233" y="271"/>
                      </a:lnTo>
                      <a:lnTo>
                        <a:pt x="1200" y="249"/>
                      </a:lnTo>
                      <a:lnTo>
                        <a:pt x="1167" y="228"/>
                      </a:lnTo>
                      <a:lnTo>
                        <a:pt x="1132" y="209"/>
                      </a:lnTo>
                      <a:lnTo>
                        <a:pt x="1098" y="190"/>
                      </a:lnTo>
                      <a:lnTo>
                        <a:pt x="1064" y="172"/>
                      </a:lnTo>
                      <a:lnTo>
                        <a:pt x="1029" y="154"/>
                      </a:lnTo>
                      <a:lnTo>
                        <a:pt x="993" y="138"/>
                      </a:lnTo>
                      <a:lnTo>
                        <a:pt x="957" y="123"/>
                      </a:lnTo>
                      <a:lnTo>
                        <a:pt x="922" y="109"/>
                      </a:lnTo>
                      <a:lnTo>
                        <a:pt x="886" y="95"/>
                      </a:lnTo>
                      <a:lnTo>
                        <a:pt x="850" y="83"/>
                      </a:lnTo>
                      <a:lnTo>
                        <a:pt x="813" y="71"/>
                      </a:lnTo>
                      <a:lnTo>
                        <a:pt x="777" y="60"/>
                      </a:lnTo>
                      <a:lnTo>
                        <a:pt x="741" y="50"/>
                      </a:lnTo>
                      <a:lnTo>
                        <a:pt x="704" y="42"/>
                      </a:lnTo>
                      <a:lnTo>
                        <a:pt x="667" y="33"/>
                      </a:lnTo>
                      <a:lnTo>
                        <a:pt x="629" y="26"/>
                      </a:lnTo>
                      <a:lnTo>
                        <a:pt x="592" y="20"/>
                      </a:lnTo>
                      <a:lnTo>
                        <a:pt x="555" y="14"/>
                      </a:lnTo>
                      <a:lnTo>
                        <a:pt x="517" y="10"/>
                      </a:lnTo>
                      <a:lnTo>
                        <a:pt x="481" y="6"/>
                      </a:lnTo>
                      <a:lnTo>
                        <a:pt x="443" y="3"/>
                      </a:lnTo>
                      <a:lnTo>
                        <a:pt x="406" y="2"/>
                      </a:lnTo>
                      <a:lnTo>
                        <a:pt x="368" y="0"/>
                      </a:lnTo>
                      <a:lnTo>
                        <a:pt x="331" y="0"/>
                      </a:lnTo>
                      <a:lnTo>
                        <a:pt x="294" y="1"/>
                      </a:lnTo>
                      <a:lnTo>
                        <a:pt x="256" y="2"/>
                      </a:lnTo>
                      <a:lnTo>
                        <a:pt x="220" y="5"/>
                      </a:lnTo>
                      <a:lnTo>
                        <a:pt x="183" y="8"/>
                      </a:lnTo>
                      <a:lnTo>
                        <a:pt x="146" y="12"/>
                      </a:lnTo>
                      <a:lnTo>
                        <a:pt x="109" y="17"/>
                      </a:lnTo>
                      <a:lnTo>
                        <a:pt x="72" y="22"/>
                      </a:lnTo>
                      <a:lnTo>
                        <a:pt x="35" y="29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00" name="Freeform 250"/>
                <p:cNvSpPr>
                  <a:spLocks/>
                </p:cNvSpPr>
                <p:nvPr/>
              </p:nvSpPr>
              <p:spPr bwMode="auto">
                <a:xfrm rot="-2429734">
                  <a:off x="780" y="1676"/>
                  <a:ext cx="103" cy="52"/>
                </a:xfrm>
                <a:custGeom>
                  <a:avLst/>
                  <a:gdLst>
                    <a:gd name="T0" fmla="*/ 34 w 2066"/>
                    <a:gd name="T1" fmla="*/ 208 h 979"/>
                    <a:gd name="T2" fmla="*/ 91 w 2066"/>
                    <a:gd name="T3" fmla="*/ 299 h 979"/>
                    <a:gd name="T4" fmla="*/ 154 w 2066"/>
                    <a:gd name="T5" fmla="*/ 387 h 979"/>
                    <a:gd name="T6" fmla="*/ 224 w 2066"/>
                    <a:gd name="T7" fmla="*/ 470 h 979"/>
                    <a:gd name="T8" fmla="*/ 300 w 2066"/>
                    <a:gd name="T9" fmla="*/ 548 h 979"/>
                    <a:gd name="T10" fmla="*/ 383 w 2066"/>
                    <a:gd name="T11" fmla="*/ 621 h 979"/>
                    <a:gd name="T12" fmla="*/ 472 w 2066"/>
                    <a:gd name="T13" fmla="*/ 689 h 979"/>
                    <a:gd name="T14" fmla="*/ 566 w 2066"/>
                    <a:gd name="T15" fmla="*/ 750 h 979"/>
                    <a:gd name="T16" fmla="*/ 666 w 2066"/>
                    <a:gd name="T17" fmla="*/ 806 h 979"/>
                    <a:gd name="T18" fmla="*/ 772 w 2066"/>
                    <a:gd name="T19" fmla="*/ 854 h 979"/>
                    <a:gd name="T20" fmla="*/ 883 w 2066"/>
                    <a:gd name="T21" fmla="*/ 896 h 979"/>
                    <a:gd name="T22" fmla="*/ 997 w 2066"/>
                    <a:gd name="T23" fmla="*/ 929 h 979"/>
                    <a:gd name="T24" fmla="*/ 1112 w 2066"/>
                    <a:gd name="T25" fmla="*/ 954 h 979"/>
                    <a:gd name="T26" fmla="*/ 1226 w 2066"/>
                    <a:gd name="T27" fmla="*/ 970 h 979"/>
                    <a:gd name="T28" fmla="*/ 1340 w 2066"/>
                    <a:gd name="T29" fmla="*/ 979 h 979"/>
                    <a:gd name="T30" fmla="*/ 1455 w 2066"/>
                    <a:gd name="T31" fmla="*/ 978 h 979"/>
                    <a:gd name="T32" fmla="*/ 1567 w 2066"/>
                    <a:gd name="T33" fmla="*/ 970 h 979"/>
                    <a:gd name="T34" fmla="*/ 1678 w 2066"/>
                    <a:gd name="T35" fmla="*/ 955 h 979"/>
                    <a:gd name="T36" fmla="*/ 1787 w 2066"/>
                    <a:gd name="T37" fmla="*/ 931 h 979"/>
                    <a:gd name="T38" fmla="*/ 1895 w 2066"/>
                    <a:gd name="T39" fmla="*/ 901 h 979"/>
                    <a:gd name="T40" fmla="*/ 1999 w 2066"/>
                    <a:gd name="T41" fmla="*/ 863 h 979"/>
                    <a:gd name="T42" fmla="*/ 2049 w 2066"/>
                    <a:gd name="T43" fmla="*/ 803 h 979"/>
                    <a:gd name="T44" fmla="*/ 1996 w 2066"/>
                    <a:gd name="T45" fmla="*/ 710 h 979"/>
                    <a:gd name="T46" fmla="*/ 1935 w 2066"/>
                    <a:gd name="T47" fmla="*/ 621 h 979"/>
                    <a:gd name="T48" fmla="*/ 1866 w 2066"/>
                    <a:gd name="T49" fmla="*/ 537 h 979"/>
                    <a:gd name="T50" fmla="*/ 1793 w 2066"/>
                    <a:gd name="T51" fmla="*/ 457 h 979"/>
                    <a:gd name="T52" fmla="*/ 1712 w 2066"/>
                    <a:gd name="T53" fmla="*/ 382 h 979"/>
                    <a:gd name="T54" fmla="*/ 1625 w 2066"/>
                    <a:gd name="T55" fmla="*/ 312 h 979"/>
                    <a:gd name="T56" fmla="*/ 1533 w 2066"/>
                    <a:gd name="T57" fmla="*/ 249 h 979"/>
                    <a:gd name="T58" fmla="*/ 1434 w 2066"/>
                    <a:gd name="T59" fmla="*/ 191 h 979"/>
                    <a:gd name="T60" fmla="*/ 1331 w 2066"/>
                    <a:gd name="T61" fmla="*/ 140 h 979"/>
                    <a:gd name="T62" fmla="*/ 1221 w 2066"/>
                    <a:gd name="T63" fmla="*/ 96 h 979"/>
                    <a:gd name="T64" fmla="*/ 1107 w 2066"/>
                    <a:gd name="T65" fmla="*/ 60 h 979"/>
                    <a:gd name="T66" fmla="*/ 993 w 2066"/>
                    <a:gd name="T67" fmla="*/ 32 h 979"/>
                    <a:gd name="T68" fmla="*/ 879 w 2066"/>
                    <a:gd name="T69" fmla="*/ 13 h 979"/>
                    <a:gd name="T70" fmla="*/ 764 w 2066"/>
                    <a:gd name="T71" fmla="*/ 3 h 979"/>
                    <a:gd name="T72" fmla="*/ 650 w 2066"/>
                    <a:gd name="T73" fmla="*/ 0 h 979"/>
                    <a:gd name="T74" fmla="*/ 537 w 2066"/>
                    <a:gd name="T75" fmla="*/ 5 h 979"/>
                    <a:gd name="T76" fmla="*/ 425 w 2066"/>
                    <a:gd name="T77" fmla="*/ 18 h 979"/>
                    <a:gd name="T78" fmla="*/ 315 w 2066"/>
                    <a:gd name="T79" fmla="*/ 39 h 979"/>
                    <a:gd name="T80" fmla="*/ 208 w 2066"/>
                    <a:gd name="T81" fmla="*/ 67 h 979"/>
                    <a:gd name="T82" fmla="*/ 102 w 2066"/>
                    <a:gd name="T83" fmla="*/ 103 h 979"/>
                    <a:gd name="T84" fmla="*/ 0 w 2066"/>
                    <a:gd name="T85" fmla="*/ 145 h 9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066" h="979">
                      <a:moveTo>
                        <a:pt x="0" y="145"/>
                      </a:moveTo>
                      <a:lnTo>
                        <a:pt x="17" y="177"/>
                      </a:lnTo>
                      <a:lnTo>
                        <a:pt x="34" y="208"/>
                      </a:lnTo>
                      <a:lnTo>
                        <a:pt x="52" y="239"/>
                      </a:lnTo>
                      <a:lnTo>
                        <a:pt x="71" y="269"/>
                      </a:lnTo>
                      <a:lnTo>
                        <a:pt x="91" y="299"/>
                      </a:lnTo>
                      <a:lnTo>
                        <a:pt x="111" y="329"/>
                      </a:lnTo>
                      <a:lnTo>
                        <a:pt x="132" y="358"/>
                      </a:lnTo>
                      <a:lnTo>
                        <a:pt x="154" y="387"/>
                      </a:lnTo>
                      <a:lnTo>
                        <a:pt x="177" y="415"/>
                      </a:lnTo>
                      <a:lnTo>
                        <a:pt x="200" y="442"/>
                      </a:lnTo>
                      <a:lnTo>
                        <a:pt x="224" y="470"/>
                      </a:lnTo>
                      <a:lnTo>
                        <a:pt x="249" y="496"/>
                      </a:lnTo>
                      <a:lnTo>
                        <a:pt x="274" y="522"/>
                      </a:lnTo>
                      <a:lnTo>
                        <a:pt x="300" y="548"/>
                      </a:lnTo>
                      <a:lnTo>
                        <a:pt x="328" y="573"/>
                      </a:lnTo>
                      <a:lnTo>
                        <a:pt x="355" y="597"/>
                      </a:lnTo>
                      <a:lnTo>
                        <a:pt x="383" y="621"/>
                      </a:lnTo>
                      <a:lnTo>
                        <a:pt x="412" y="644"/>
                      </a:lnTo>
                      <a:lnTo>
                        <a:pt x="441" y="667"/>
                      </a:lnTo>
                      <a:lnTo>
                        <a:pt x="472" y="689"/>
                      </a:lnTo>
                      <a:lnTo>
                        <a:pt x="502" y="710"/>
                      </a:lnTo>
                      <a:lnTo>
                        <a:pt x="534" y="730"/>
                      </a:lnTo>
                      <a:lnTo>
                        <a:pt x="566" y="750"/>
                      </a:lnTo>
                      <a:lnTo>
                        <a:pt x="599" y="769"/>
                      </a:lnTo>
                      <a:lnTo>
                        <a:pt x="633" y="788"/>
                      </a:lnTo>
                      <a:lnTo>
                        <a:pt x="666" y="806"/>
                      </a:lnTo>
                      <a:lnTo>
                        <a:pt x="701" y="823"/>
                      </a:lnTo>
                      <a:lnTo>
                        <a:pt x="736" y="839"/>
                      </a:lnTo>
                      <a:lnTo>
                        <a:pt x="772" y="854"/>
                      </a:lnTo>
                      <a:lnTo>
                        <a:pt x="809" y="869"/>
                      </a:lnTo>
                      <a:lnTo>
                        <a:pt x="845" y="883"/>
                      </a:lnTo>
                      <a:lnTo>
                        <a:pt x="883" y="896"/>
                      </a:lnTo>
                      <a:lnTo>
                        <a:pt x="921" y="908"/>
                      </a:lnTo>
                      <a:lnTo>
                        <a:pt x="959" y="919"/>
                      </a:lnTo>
                      <a:lnTo>
                        <a:pt x="997" y="929"/>
                      </a:lnTo>
                      <a:lnTo>
                        <a:pt x="1035" y="939"/>
                      </a:lnTo>
                      <a:lnTo>
                        <a:pt x="1073" y="947"/>
                      </a:lnTo>
                      <a:lnTo>
                        <a:pt x="1112" y="954"/>
                      </a:lnTo>
                      <a:lnTo>
                        <a:pt x="1150" y="961"/>
                      </a:lnTo>
                      <a:lnTo>
                        <a:pt x="1187" y="966"/>
                      </a:lnTo>
                      <a:lnTo>
                        <a:pt x="1226" y="970"/>
                      </a:lnTo>
                      <a:lnTo>
                        <a:pt x="1264" y="974"/>
                      </a:lnTo>
                      <a:lnTo>
                        <a:pt x="1302" y="977"/>
                      </a:lnTo>
                      <a:lnTo>
                        <a:pt x="1340" y="979"/>
                      </a:lnTo>
                      <a:lnTo>
                        <a:pt x="1379" y="979"/>
                      </a:lnTo>
                      <a:lnTo>
                        <a:pt x="1417" y="979"/>
                      </a:lnTo>
                      <a:lnTo>
                        <a:pt x="1455" y="978"/>
                      </a:lnTo>
                      <a:lnTo>
                        <a:pt x="1492" y="977"/>
                      </a:lnTo>
                      <a:lnTo>
                        <a:pt x="1530" y="974"/>
                      </a:lnTo>
                      <a:lnTo>
                        <a:pt x="1567" y="970"/>
                      </a:lnTo>
                      <a:lnTo>
                        <a:pt x="1604" y="966"/>
                      </a:lnTo>
                      <a:lnTo>
                        <a:pt x="1641" y="961"/>
                      </a:lnTo>
                      <a:lnTo>
                        <a:pt x="1678" y="955"/>
                      </a:lnTo>
                      <a:lnTo>
                        <a:pt x="1715" y="948"/>
                      </a:lnTo>
                      <a:lnTo>
                        <a:pt x="1752" y="940"/>
                      </a:lnTo>
                      <a:lnTo>
                        <a:pt x="1787" y="931"/>
                      </a:lnTo>
                      <a:lnTo>
                        <a:pt x="1823" y="922"/>
                      </a:lnTo>
                      <a:lnTo>
                        <a:pt x="1859" y="912"/>
                      </a:lnTo>
                      <a:lnTo>
                        <a:pt x="1895" y="901"/>
                      </a:lnTo>
                      <a:lnTo>
                        <a:pt x="1929" y="889"/>
                      </a:lnTo>
                      <a:lnTo>
                        <a:pt x="1964" y="877"/>
                      </a:lnTo>
                      <a:lnTo>
                        <a:pt x="1999" y="863"/>
                      </a:lnTo>
                      <a:lnTo>
                        <a:pt x="2033" y="849"/>
                      </a:lnTo>
                      <a:lnTo>
                        <a:pt x="2066" y="834"/>
                      </a:lnTo>
                      <a:lnTo>
                        <a:pt x="2049" y="803"/>
                      </a:lnTo>
                      <a:lnTo>
                        <a:pt x="2033" y="771"/>
                      </a:lnTo>
                      <a:lnTo>
                        <a:pt x="2015" y="740"/>
                      </a:lnTo>
                      <a:lnTo>
                        <a:pt x="1996" y="710"/>
                      </a:lnTo>
                      <a:lnTo>
                        <a:pt x="1976" y="680"/>
                      </a:lnTo>
                      <a:lnTo>
                        <a:pt x="1956" y="650"/>
                      </a:lnTo>
                      <a:lnTo>
                        <a:pt x="1935" y="621"/>
                      </a:lnTo>
                      <a:lnTo>
                        <a:pt x="1913" y="593"/>
                      </a:lnTo>
                      <a:lnTo>
                        <a:pt x="1889" y="564"/>
                      </a:lnTo>
                      <a:lnTo>
                        <a:pt x="1866" y="537"/>
                      </a:lnTo>
                      <a:lnTo>
                        <a:pt x="1842" y="510"/>
                      </a:lnTo>
                      <a:lnTo>
                        <a:pt x="1818" y="483"/>
                      </a:lnTo>
                      <a:lnTo>
                        <a:pt x="1793" y="457"/>
                      </a:lnTo>
                      <a:lnTo>
                        <a:pt x="1766" y="431"/>
                      </a:lnTo>
                      <a:lnTo>
                        <a:pt x="1739" y="406"/>
                      </a:lnTo>
                      <a:lnTo>
                        <a:pt x="1712" y="382"/>
                      </a:lnTo>
                      <a:lnTo>
                        <a:pt x="1683" y="358"/>
                      </a:lnTo>
                      <a:lnTo>
                        <a:pt x="1655" y="335"/>
                      </a:lnTo>
                      <a:lnTo>
                        <a:pt x="1625" y="312"/>
                      </a:lnTo>
                      <a:lnTo>
                        <a:pt x="1595" y="291"/>
                      </a:lnTo>
                      <a:lnTo>
                        <a:pt x="1564" y="269"/>
                      </a:lnTo>
                      <a:lnTo>
                        <a:pt x="1533" y="249"/>
                      </a:lnTo>
                      <a:lnTo>
                        <a:pt x="1500" y="229"/>
                      </a:lnTo>
                      <a:lnTo>
                        <a:pt x="1467" y="210"/>
                      </a:lnTo>
                      <a:lnTo>
                        <a:pt x="1434" y="191"/>
                      </a:lnTo>
                      <a:lnTo>
                        <a:pt x="1400" y="173"/>
                      </a:lnTo>
                      <a:lnTo>
                        <a:pt x="1365" y="156"/>
                      </a:lnTo>
                      <a:lnTo>
                        <a:pt x="1331" y="140"/>
                      </a:lnTo>
                      <a:lnTo>
                        <a:pt x="1294" y="125"/>
                      </a:lnTo>
                      <a:lnTo>
                        <a:pt x="1258" y="110"/>
                      </a:lnTo>
                      <a:lnTo>
                        <a:pt x="1221" y="96"/>
                      </a:lnTo>
                      <a:lnTo>
                        <a:pt x="1183" y="83"/>
                      </a:lnTo>
                      <a:lnTo>
                        <a:pt x="1145" y="71"/>
                      </a:lnTo>
                      <a:lnTo>
                        <a:pt x="1107" y="60"/>
                      </a:lnTo>
                      <a:lnTo>
                        <a:pt x="1070" y="50"/>
                      </a:lnTo>
                      <a:lnTo>
                        <a:pt x="1032" y="41"/>
                      </a:lnTo>
                      <a:lnTo>
                        <a:pt x="993" y="32"/>
                      </a:lnTo>
                      <a:lnTo>
                        <a:pt x="955" y="25"/>
                      </a:lnTo>
                      <a:lnTo>
                        <a:pt x="917" y="19"/>
                      </a:lnTo>
                      <a:lnTo>
                        <a:pt x="879" y="13"/>
                      </a:lnTo>
                      <a:lnTo>
                        <a:pt x="840" y="9"/>
                      </a:lnTo>
                      <a:lnTo>
                        <a:pt x="802" y="5"/>
                      </a:lnTo>
                      <a:lnTo>
                        <a:pt x="764" y="3"/>
                      </a:lnTo>
                      <a:lnTo>
                        <a:pt x="726" y="1"/>
                      </a:lnTo>
                      <a:lnTo>
                        <a:pt x="688" y="0"/>
                      </a:lnTo>
                      <a:lnTo>
                        <a:pt x="650" y="0"/>
                      </a:lnTo>
                      <a:lnTo>
                        <a:pt x="612" y="1"/>
                      </a:lnTo>
                      <a:lnTo>
                        <a:pt x="575" y="3"/>
                      </a:lnTo>
                      <a:lnTo>
                        <a:pt x="537" y="5"/>
                      </a:lnTo>
                      <a:lnTo>
                        <a:pt x="499" y="9"/>
                      </a:lnTo>
                      <a:lnTo>
                        <a:pt x="462" y="13"/>
                      </a:lnTo>
                      <a:lnTo>
                        <a:pt x="425" y="18"/>
                      </a:lnTo>
                      <a:lnTo>
                        <a:pt x="389" y="24"/>
                      </a:lnTo>
                      <a:lnTo>
                        <a:pt x="352" y="31"/>
                      </a:lnTo>
                      <a:lnTo>
                        <a:pt x="315" y="39"/>
                      </a:lnTo>
                      <a:lnTo>
                        <a:pt x="279" y="48"/>
                      </a:lnTo>
                      <a:lnTo>
                        <a:pt x="243" y="57"/>
                      </a:lnTo>
                      <a:lnTo>
                        <a:pt x="208" y="67"/>
                      </a:lnTo>
                      <a:lnTo>
                        <a:pt x="172" y="78"/>
                      </a:lnTo>
                      <a:lnTo>
                        <a:pt x="137" y="90"/>
                      </a:lnTo>
                      <a:lnTo>
                        <a:pt x="102" y="103"/>
                      </a:lnTo>
                      <a:lnTo>
                        <a:pt x="69" y="116"/>
                      </a:lnTo>
                      <a:lnTo>
                        <a:pt x="34" y="130"/>
                      </a:lnTo>
                      <a:lnTo>
                        <a:pt x="0" y="145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01" name="Freeform 251"/>
                <p:cNvSpPr>
                  <a:spLocks/>
                </p:cNvSpPr>
                <p:nvPr/>
              </p:nvSpPr>
              <p:spPr bwMode="auto">
                <a:xfrm rot="-2429734">
                  <a:off x="759" y="1744"/>
                  <a:ext cx="108" cy="44"/>
                </a:xfrm>
                <a:custGeom>
                  <a:avLst/>
                  <a:gdLst>
                    <a:gd name="T0" fmla="*/ 45 w 2160"/>
                    <a:gd name="T1" fmla="*/ 331 h 889"/>
                    <a:gd name="T2" fmla="*/ 117 w 2160"/>
                    <a:gd name="T3" fmla="*/ 412 h 889"/>
                    <a:gd name="T4" fmla="*/ 195 w 2160"/>
                    <a:gd name="T5" fmla="*/ 487 h 889"/>
                    <a:gd name="T6" fmla="*/ 279 w 2160"/>
                    <a:gd name="T7" fmla="*/ 557 h 889"/>
                    <a:gd name="T8" fmla="*/ 369 w 2160"/>
                    <a:gd name="T9" fmla="*/ 622 h 889"/>
                    <a:gd name="T10" fmla="*/ 463 w 2160"/>
                    <a:gd name="T11" fmla="*/ 681 h 889"/>
                    <a:gd name="T12" fmla="*/ 563 w 2160"/>
                    <a:gd name="T13" fmla="*/ 733 h 889"/>
                    <a:gd name="T14" fmla="*/ 668 w 2160"/>
                    <a:gd name="T15" fmla="*/ 778 h 889"/>
                    <a:gd name="T16" fmla="*/ 776 w 2160"/>
                    <a:gd name="T17" fmla="*/ 816 h 889"/>
                    <a:gd name="T18" fmla="*/ 890 w 2160"/>
                    <a:gd name="T19" fmla="*/ 846 h 889"/>
                    <a:gd name="T20" fmla="*/ 1007 w 2160"/>
                    <a:gd name="T21" fmla="*/ 869 h 889"/>
                    <a:gd name="T22" fmla="*/ 1124 w 2160"/>
                    <a:gd name="T23" fmla="*/ 883 h 889"/>
                    <a:gd name="T24" fmla="*/ 1241 w 2160"/>
                    <a:gd name="T25" fmla="*/ 889 h 889"/>
                    <a:gd name="T26" fmla="*/ 1358 w 2160"/>
                    <a:gd name="T27" fmla="*/ 886 h 889"/>
                    <a:gd name="T28" fmla="*/ 1472 w 2160"/>
                    <a:gd name="T29" fmla="*/ 875 h 889"/>
                    <a:gd name="T30" fmla="*/ 1584 w 2160"/>
                    <a:gd name="T31" fmla="*/ 857 h 889"/>
                    <a:gd name="T32" fmla="*/ 1694 w 2160"/>
                    <a:gd name="T33" fmla="*/ 830 h 889"/>
                    <a:gd name="T34" fmla="*/ 1800 w 2160"/>
                    <a:gd name="T35" fmla="*/ 797 h 889"/>
                    <a:gd name="T36" fmla="*/ 1903 w 2160"/>
                    <a:gd name="T37" fmla="*/ 756 h 889"/>
                    <a:gd name="T38" fmla="*/ 2003 w 2160"/>
                    <a:gd name="T39" fmla="*/ 708 h 889"/>
                    <a:gd name="T40" fmla="*/ 2099 w 2160"/>
                    <a:gd name="T41" fmla="*/ 654 h 889"/>
                    <a:gd name="T42" fmla="*/ 2138 w 2160"/>
                    <a:gd name="T43" fmla="*/ 586 h 889"/>
                    <a:gd name="T44" fmla="*/ 2069 w 2160"/>
                    <a:gd name="T45" fmla="*/ 503 h 889"/>
                    <a:gd name="T46" fmla="*/ 1992 w 2160"/>
                    <a:gd name="T47" fmla="*/ 426 h 889"/>
                    <a:gd name="T48" fmla="*/ 1910 w 2160"/>
                    <a:gd name="T49" fmla="*/ 354 h 889"/>
                    <a:gd name="T50" fmla="*/ 1822 w 2160"/>
                    <a:gd name="T51" fmla="*/ 287 h 889"/>
                    <a:gd name="T52" fmla="*/ 1729 w 2160"/>
                    <a:gd name="T53" fmla="*/ 227 h 889"/>
                    <a:gd name="T54" fmla="*/ 1631 w 2160"/>
                    <a:gd name="T55" fmla="*/ 173 h 889"/>
                    <a:gd name="T56" fmla="*/ 1528 w 2160"/>
                    <a:gd name="T57" fmla="*/ 125 h 889"/>
                    <a:gd name="T58" fmla="*/ 1420 w 2160"/>
                    <a:gd name="T59" fmla="*/ 85 h 889"/>
                    <a:gd name="T60" fmla="*/ 1310 w 2160"/>
                    <a:gd name="T61" fmla="*/ 51 h 889"/>
                    <a:gd name="T62" fmla="*/ 1194 w 2160"/>
                    <a:gd name="T63" fmla="*/ 26 h 889"/>
                    <a:gd name="T64" fmla="*/ 1075 w 2160"/>
                    <a:gd name="T65" fmla="*/ 9 h 889"/>
                    <a:gd name="T66" fmla="*/ 958 w 2160"/>
                    <a:gd name="T67" fmla="*/ 0 h 889"/>
                    <a:gd name="T68" fmla="*/ 841 w 2160"/>
                    <a:gd name="T69" fmla="*/ 0 h 889"/>
                    <a:gd name="T70" fmla="*/ 727 w 2160"/>
                    <a:gd name="T71" fmla="*/ 9 h 889"/>
                    <a:gd name="T72" fmla="*/ 614 w 2160"/>
                    <a:gd name="T73" fmla="*/ 25 h 889"/>
                    <a:gd name="T74" fmla="*/ 503 w 2160"/>
                    <a:gd name="T75" fmla="*/ 49 h 889"/>
                    <a:gd name="T76" fmla="*/ 396 w 2160"/>
                    <a:gd name="T77" fmla="*/ 80 h 889"/>
                    <a:gd name="T78" fmla="*/ 291 w 2160"/>
                    <a:gd name="T79" fmla="*/ 119 h 889"/>
                    <a:gd name="T80" fmla="*/ 190 w 2160"/>
                    <a:gd name="T81" fmla="*/ 164 h 889"/>
                    <a:gd name="T82" fmla="*/ 93 w 2160"/>
                    <a:gd name="T83" fmla="*/ 216 h 889"/>
                    <a:gd name="T84" fmla="*/ 0 w 2160"/>
                    <a:gd name="T85" fmla="*/ 274 h 8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60" h="889">
                      <a:moveTo>
                        <a:pt x="0" y="274"/>
                      </a:moveTo>
                      <a:lnTo>
                        <a:pt x="22" y="303"/>
                      </a:lnTo>
                      <a:lnTo>
                        <a:pt x="45" y="331"/>
                      </a:lnTo>
                      <a:lnTo>
                        <a:pt x="69" y="358"/>
                      </a:lnTo>
                      <a:lnTo>
                        <a:pt x="92" y="385"/>
                      </a:lnTo>
                      <a:lnTo>
                        <a:pt x="117" y="412"/>
                      </a:lnTo>
                      <a:lnTo>
                        <a:pt x="142" y="437"/>
                      </a:lnTo>
                      <a:lnTo>
                        <a:pt x="169" y="463"/>
                      </a:lnTo>
                      <a:lnTo>
                        <a:pt x="195" y="487"/>
                      </a:lnTo>
                      <a:lnTo>
                        <a:pt x="222" y="511"/>
                      </a:lnTo>
                      <a:lnTo>
                        <a:pt x="251" y="535"/>
                      </a:lnTo>
                      <a:lnTo>
                        <a:pt x="279" y="557"/>
                      </a:lnTo>
                      <a:lnTo>
                        <a:pt x="309" y="580"/>
                      </a:lnTo>
                      <a:lnTo>
                        <a:pt x="338" y="601"/>
                      </a:lnTo>
                      <a:lnTo>
                        <a:pt x="369" y="622"/>
                      </a:lnTo>
                      <a:lnTo>
                        <a:pt x="400" y="642"/>
                      </a:lnTo>
                      <a:lnTo>
                        <a:pt x="432" y="662"/>
                      </a:lnTo>
                      <a:lnTo>
                        <a:pt x="463" y="681"/>
                      </a:lnTo>
                      <a:lnTo>
                        <a:pt x="496" y="699"/>
                      </a:lnTo>
                      <a:lnTo>
                        <a:pt x="530" y="716"/>
                      </a:lnTo>
                      <a:lnTo>
                        <a:pt x="563" y="733"/>
                      </a:lnTo>
                      <a:lnTo>
                        <a:pt x="598" y="748"/>
                      </a:lnTo>
                      <a:lnTo>
                        <a:pt x="633" y="764"/>
                      </a:lnTo>
                      <a:lnTo>
                        <a:pt x="668" y="778"/>
                      </a:lnTo>
                      <a:lnTo>
                        <a:pt x="703" y="791"/>
                      </a:lnTo>
                      <a:lnTo>
                        <a:pt x="740" y="804"/>
                      </a:lnTo>
                      <a:lnTo>
                        <a:pt x="776" y="816"/>
                      </a:lnTo>
                      <a:lnTo>
                        <a:pt x="814" y="827"/>
                      </a:lnTo>
                      <a:lnTo>
                        <a:pt x="852" y="837"/>
                      </a:lnTo>
                      <a:lnTo>
                        <a:pt x="890" y="846"/>
                      </a:lnTo>
                      <a:lnTo>
                        <a:pt x="928" y="855"/>
                      </a:lnTo>
                      <a:lnTo>
                        <a:pt x="967" y="862"/>
                      </a:lnTo>
                      <a:lnTo>
                        <a:pt x="1007" y="869"/>
                      </a:lnTo>
                      <a:lnTo>
                        <a:pt x="1046" y="875"/>
                      </a:lnTo>
                      <a:lnTo>
                        <a:pt x="1086" y="880"/>
                      </a:lnTo>
                      <a:lnTo>
                        <a:pt x="1124" y="883"/>
                      </a:lnTo>
                      <a:lnTo>
                        <a:pt x="1163" y="886"/>
                      </a:lnTo>
                      <a:lnTo>
                        <a:pt x="1202" y="888"/>
                      </a:lnTo>
                      <a:lnTo>
                        <a:pt x="1241" y="889"/>
                      </a:lnTo>
                      <a:lnTo>
                        <a:pt x="1280" y="889"/>
                      </a:lnTo>
                      <a:lnTo>
                        <a:pt x="1319" y="888"/>
                      </a:lnTo>
                      <a:lnTo>
                        <a:pt x="1358" y="886"/>
                      </a:lnTo>
                      <a:lnTo>
                        <a:pt x="1396" y="884"/>
                      </a:lnTo>
                      <a:lnTo>
                        <a:pt x="1434" y="880"/>
                      </a:lnTo>
                      <a:lnTo>
                        <a:pt x="1472" y="875"/>
                      </a:lnTo>
                      <a:lnTo>
                        <a:pt x="1510" y="870"/>
                      </a:lnTo>
                      <a:lnTo>
                        <a:pt x="1547" y="864"/>
                      </a:lnTo>
                      <a:lnTo>
                        <a:pt x="1584" y="857"/>
                      </a:lnTo>
                      <a:lnTo>
                        <a:pt x="1620" y="849"/>
                      </a:lnTo>
                      <a:lnTo>
                        <a:pt x="1657" y="840"/>
                      </a:lnTo>
                      <a:lnTo>
                        <a:pt x="1694" y="830"/>
                      </a:lnTo>
                      <a:lnTo>
                        <a:pt x="1730" y="820"/>
                      </a:lnTo>
                      <a:lnTo>
                        <a:pt x="1764" y="809"/>
                      </a:lnTo>
                      <a:lnTo>
                        <a:pt x="1800" y="797"/>
                      </a:lnTo>
                      <a:lnTo>
                        <a:pt x="1835" y="784"/>
                      </a:lnTo>
                      <a:lnTo>
                        <a:pt x="1870" y="770"/>
                      </a:lnTo>
                      <a:lnTo>
                        <a:pt x="1903" y="756"/>
                      </a:lnTo>
                      <a:lnTo>
                        <a:pt x="1937" y="741"/>
                      </a:lnTo>
                      <a:lnTo>
                        <a:pt x="1971" y="725"/>
                      </a:lnTo>
                      <a:lnTo>
                        <a:pt x="2003" y="708"/>
                      </a:lnTo>
                      <a:lnTo>
                        <a:pt x="2036" y="691"/>
                      </a:lnTo>
                      <a:lnTo>
                        <a:pt x="2067" y="673"/>
                      </a:lnTo>
                      <a:lnTo>
                        <a:pt x="2099" y="654"/>
                      </a:lnTo>
                      <a:lnTo>
                        <a:pt x="2130" y="634"/>
                      </a:lnTo>
                      <a:lnTo>
                        <a:pt x="2160" y="614"/>
                      </a:lnTo>
                      <a:lnTo>
                        <a:pt x="2138" y="586"/>
                      </a:lnTo>
                      <a:lnTo>
                        <a:pt x="2116" y="558"/>
                      </a:lnTo>
                      <a:lnTo>
                        <a:pt x="2093" y="530"/>
                      </a:lnTo>
                      <a:lnTo>
                        <a:pt x="2069" y="503"/>
                      </a:lnTo>
                      <a:lnTo>
                        <a:pt x="2043" y="477"/>
                      </a:lnTo>
                      <a:lnTo>
                        <a:pt x="2018" y="451"/>
                      </a:lnTo>
                      <a:lnTo>
                        <a:pt x="1992" y="426"/>
                      </a:lnTo>
                      <a:lnTo>
                        <a:pt x="1965" y="401"/>
                      </a:lnTo>
                      <a:lnTo>
                        <a:pt x="1938" y="377"/>
                      </a:lnTo>
                      <a:lnTo>
                        <a:pt x="1910" y="354"/>
                      </a:lnTo>
                      <a:lnTo>
                        <a:pt x="1881" y="331"/>
                      </a:lnTo>
                      <a:lnTo>
                        <a:pt x="1852" y="309"/>
                      </a:lnTo>
                      <a:lnTo>
                        <a:pt x="1822" y="287"/>
                      </a:lnTo>
                      <a:lnTo>
                        <a:pt x="1792" y="267"/>
                      </a:lnTo>
                      <a:lnTo>
                        <a:pt x="1760" y="246"/>
                      </a:lnTo>
                      <a:lnTo>
                        <a:pt x="1729" y="227"/>
                      </a:lnTo>
                      <a:lnTo>
                        <a:pt x="1697" y="208"/>
                      </a:lnTo>
                      <a:lnTo>
                        <a:pt x="1664" y="190"/>
                      </a:lnTo>
                      <a:lnTo>
                        <a:pt x="1631" y="173"/>
                      </a:lnTo>
                      <a:lnTo>
                        <a:pt x="1597" y="156"/>
                      </a:lnTo>
                      <a:lnTo>
                        <a:pt x="1563" y="140"/>
                      </a:lnTo>
                      <a:lnTo>
                        <a:pt x="1528" y="125"/>
                      </a:lnTo>
                      <a:lnTo>
                        <a:pt x="1493" y="111"/>
                      </a:lnTo>
                      <a:lnTo>
                        <a:pt x="1457" y="97"/>
                      </a:lnTo>
                      <a:lnTo>
                        <a:pt x="1420" y="85"/>
                      </a:lnTo>
                      <a:lnTo>
                        <a:pt x="1384" y="73"/>
                      </a:lnTo>
                      <a:lnTo>
                        <a:pt x="1347" y="62"/>
                      </a:lnTo>
                      <a:lnTo>
                        <a:pt x="1310" y="51"/>
                      </a:lnTo>
                      <a:lnTo>
                        <a:pt x="1271" y="42"/>
                      </a:lnTo>
                      <a:lnTo>
                        <a:pt x="1233" y="34"/>
                      </a:lnTo>
                      <a:lnTo>
                        <a:pt x="1194" y="26"/>
                      </a:lnTo>
                      <a:lnTo>
                        <a:pt x="1154" y="19"/>
                      </a:lnTo>
                      <a:lnTo>
                        <a:pt x="1115" y="14"/>
                      </a:lnTo>
                      <a:lnTo>
                        <a:pt x="1075" y="9"/>
                      </a:lnTo>
                      <a:lnTo>
                        <a:pt x="1036" y="5"/>
                      </a:lnTo>
                      <a:lnTo>
                        <a:pt x="997" y="2"/>
                      </a:lnTo>
                      <a:lnTo>
                        <a:pt x="958" y="0"/>
                      </a:lnTo>
                      <a:lnTo>
                        <a:pt x="919" y="0"/>
                      </a:lnTo>
                      <a:lnTo>
                        <a:pt x="880" y="0"/>
                      </a:lnTo>
                      <a:lnTo>
                        <a:pt x="841" y="0"/>
                      </a:lnTo>
                      <a:lnTo>
                        <a:pt x="802" y="2"/>
                      </a:lnTo>
                      <a:lnTo>
                        <a:pt x="765" y="5"/>
                      </a:lnTo>
                      <a:lnTo>
                        <a:pt x="727" y="9"/>
                      </a:lnTo>
                      <a:lnTo>
                        <a:pt x="689" y="13"/>
                      </a:lnTo>
                      <a:lnTo>
                        <a:pt x="651" y="19"/>
                      </a:lnTo>
                      <a:lnTo>
                        <a:pt x="614" y="25"/>
                      </a:lnTo>
                      <a:lnTo>
                        <a:pt x="577" y="32"/>
                      </a:lnTo>
                      <a:lnTo>
                        <a:pt x="540" y="40"/>
                      </a:lnTo>
                      <a:lnTo>
                        <a:pt x="503" y="49"/>
                      </a:lnTo>
                      <a:lnTo>
                        <a:pt x="468" y="58"/>
                      </a:lnTo>
                      <a:lnTo>
                        <a:pt x="431" y="69"/>
                      </a:lnTo>
                      <a:lnTo>
                        <a:pt x="396" y="80"/>
                      </a:lnTo>
                      <a:lnTo>
                        <a:pt x="360" y="92"/>
                      </a:lnTo>
                      <a:lnTo>
                        <a:pt x="326" y="105"/>
                      </a:lnTo>
                      <a:lnTo>
                        <a:pt x="291" y="119"/>
                      </a:lnTo>
                      <a:lnTo>
                        <a:pt x="257" y="133"/>
                      </a:lnTo>
                      <a:lnTo>
                        <a:pt x="224" y="148"/>
                      </a:lnTo>
                      <a:lnTo>
                        <a:pt x="190" y="164"/>
                      </a:lnTo>
                      <a:lnTo>
                        <a:pt x="157" y="181"/>
                      </a:lnTo>
                      <a:lnTo>
                        <a:pt x="125" y="198"/>
                      </a:lnTo>
                      <a:lnTo>
                        <a:pt x="93" y="216"/>
                      </a:lnTo>
                      <a:lnTo>
                        <a:pt x="61" y="235"/>
                      </a:lnTo>
                      <a:lnTo>
                        <a:pt x="31" y="254"/>
                      </a:lnTo>
                      <a:lnTo>
                        <a:pt x="0" y="274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02" name="Freeform 252"/>
                <p:cNvSpPr>
                  <a:spLocks/>
                </p:cNvSpPr>
                <p:nvPr/>
              </p:nvSpPr>
              <p:spPr bwMode="auto">
                <a:xfrm rot="-2429734">
                  <a:off x="750" y="1810"/>
                  <a:ext cx="103" cy="46"/>
                </a:xfrm>
                <a:custGeom>
                  <a:avLst/>
                  <a:gdLst>
                    <a:gd name="T0" fmla="*/ 66 w 2113"/>
                    <a:gd name="T1" fmla="*/ 774 h 936"/>
                    <a:gd name="T2" fmla="*/ 166 w 2113"/>
                    <a:gd name="T3" fmla="*/ 819 h 936"/>
                    <a:gd name="T4" fmla="*/ 271 w 2113"/>
                    <a:gd name="T5" fmla="*/ 857 h 936"/>
                    <a:gd name="T6" fmla="*/ 378 w 2113"/>
                    <a:gd name="T7" fmla="*/ 888 h 936"/>
                    <a:gd name="T8" fmla="*/ 488 w 2113"/>
                    <a:gd name="T9" fmla="*/ 911 h 936"/>
                    <a:gd name="T10" fmla="*/ 600 w 2113"/>
                    <a:gd name="T11" fmla="*/ 927 h 936"/>
                    <a:gd name="T12" fmla="*/ 713 w 2113"/>
                    <a:gd name="T13" fmla="*/ 935 h 936"/>
                    <a:gd name="T14" fmla="*/ 828 w 2113"/>
                    <a:gd name="T15" fmla="*/ 935 h 936"/>
                    <a:gd name="T16" fmla="*/ 943 w 2113"/>
                    <a:gd name="T17" fmla="*/ 926 h 936"/>
                    <a:gd name="T18" fmla="*/ 1060 w 2113"/>
                    <a:gd name="T19" fmla="*/ 910 h 936"/>
                    <a:gd name="T20" fmla="*/ 1175 w 2113"/>
                    <a:gd name="T21" fmla="*/ 884 h 936"/>
                    <a:gd name="T22" fmla="*/ 1289 w 2113"/>
                    <a:gd name="T23" fmla="*/ 850 h 936"/>
                    <a:gd name="T24" fmla="*/ 1398 w 2113"/>
                    <a:gd name="T25" fmla="*/ 809 h 936"/>
                    <a:gd name="T26" fmla="*/ 1503 w 2113"/>
                    <a:gd name="T27" fmla="*/ 761 h 936"/>
                    <a:gd name="T28" fmla="*/ 1602 w 2113"/>
                    <a:gd name="T29" fmla="*/ 706 h 936"/>
                    <a:gd name="T30" fmla="*/ 1695 w 2113"/>
                    <a:gd name="T31" fmla="*/ 644 h 936"/>
                    <a:gd name="T32" fmla="*/ 1784 w 2113"/>
                    <a:gd name="T33" fmla="*/ 577 h 936"/>
                    <a:gd name="T34" fmla="*/ 1866 w 2113"/>
                    <a:gd name="T35" fmla="*/ 504 h 936"/>
                    <a:gd name="T36" fmla="*/ 1942 w 2113"/>
                    <a:gd name="T37" fmla="*/ 425 h 936"/>
                    <a:gd name="T38" fmla="*/ 2011 w 2113"/>
                    <a:gd name="T39" fmla="*/ 343 h 936"/>
                    <a:gd name="T40" fmla="*/ 2075 w 2113"/>
                    <a:gd name="T41" fmla="*/ 255 h 936"/>
                    <a:gd name="T42" fmla="*/ 2080 w 2113"/>
                    <a:gd name="T43" fmla="*/ 178 h 936"/>
                    <a:gd name="T44" fmla="*/ 1980 w 2113"/>
                    <a:gd name="T45" fmla="*/ 131 h 936"/>
                    <a:gd name="T46" fmla="*/ 1877 w 2113"/>
                    <a:gd name="T47" fmla="*/ 91 h 936"/>
                    <a:gd name="T48" fmla="*/ 1771 w 2113"/>
                    <a:gd name="T49" fmla="*/ 57 h 936"/>
                    <a:gd name="T50" fmla="*/ 1663 w 2113"/>
                    <a:gd name="T51" fmla="*/ 32 h 936"/>
                    <a:gd name="T52" fmla="*/ 1551 w 2113"/>
                    <a:gd name="T53" fmla="*/ 13 h 936"/>
                    <a:gd name="T54" fmla="*/ 1438 w 2113"/>
                    <a:gd name="T55" fmla="*/ 3 h 936"/>
                    <a:gd name="T56" fmla="*/ 1324 w 2113"/>
                    <a:gd name="T57" fmla="*/ 0 h 936"/>
                    <a:gd name="T58" fmla="*/ 1209 w 2113"/>
                    <a:gd name="T59" fmla="*/ 6 h 936"/>
                    <a:gd name="T60" fmla="*/ 1093 w 2113"/>
                    <a:gd name="T61" fmla="*/ 20 h 936"/>
                    <a:gd name="T62" fmla="*/ 976 w 2113"/>
                    <a:gd name="T63" fmla="*/ 42 h 936"/>
                    <a:gd name="T64" fmla="*/ 862 w 2113"/>
                    <a:gd name="T65" fmla="*/ 73 h 936"/>
                    <a:gd name="T66" fmla="*/ 751 w 2113"/>
                    <a:gd name="T67" fmla="*/ 112 h 936"/>
                    <a:gd name="T68" fmla="*/ 645 w 2113"/>
                    <a:gd name="T69" fmla="*/ 158 h 936"/>
                    <a:gd name="T70" fmla="*/ 544 w 2113"/>
                    <a:gd name="T71" fmla="*/ 211 h 936"/>
                    <a:gd name="T72" fmla="*/ 449 w 2113"/>
                    <a:gd name="T73" fmla="*/ 270 h 936"/>
                    <a:gd name="T74" fmla="*/ 359 w 2113"/>
                    <a:gd name="T75" fmla="*/ 336 h 936"/>
                    <a:gd name="T76" fmla="*/ 274 w 2113"/>
                    <a:gd name="T77" fmla="*/ 407 h 936"/>
                    <a:gd name="T78" fmla="*/ 196 w 2113"/>
                    <a:gd name="T79" fmla="*/ 483 h 936"/>
                    <a:gd name="T80" fmla="*/ 125 w 2113"/>
                    <a:gd name="T81" fmla="*/ 565 h 936"/>
                    <a:gd name="T82" fmla="*/ 59 w 2113"/>
                    <a:gd name="T83" fmla="*/ 651 h 936"/>
                    <a:gd name="T84" fmla="*/ 0 w 2113"/>
                    <a:gd name="T85" fmla="*/ 741 h 9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13" h="936">
                      <a:moveTo>
                        <a:pt x="0" y="741"/>
                      </a:moveTo>
                      <a:lnTo>
                        <a:pt x="32" y="758"/>
                      </a:lnTo>
                      <a:lnTo>
                        <a:pt x="66" y="774"/>
                      </a:lnTo>
                      <a:lnTo>
                        <a:pt x="99" y="790"/>
                      </a:lnTo>
                      <a:lnTo>
                        <a:pt x="132" y="805"/>
                      </a:lnTo>
                      <a:lnTo>
                        <a:pt x="166" y="819"/>
                      </a:lnTo>
                      <a:lnTo>
                        <a:pt x="201" y="833"/>
                      </a:lnTo>
                      <a:lnTo>
                        <a:pt x="235" y="845"/>
                      </a:lnTo>
                      <a:lnTo>
                        <a:pt x="271" y="857"/>
                      </a:lnTo>
                      <a:lnTo>
                        <a:pt x="306" y="868"/>
                      </a:lnTo>
                      <a:lnTo>
                        <a:pt x="342" y="878"/>
                      </a:lnTo>
                      <a:lnTo>
                        <a:pt x="378" y="888"/>
                      </a:lnTo>
                      <a:lnTo>
                        <a:pt x="414" y="896"/>
                      </a:lnTo>
                      <a:lnTo>
                        <a:pt x="451" y="904"/>
                      </a:lnTo>
                      <a:lnTo>
                        <a:pt x="488" y="911"/>
                      </a:lnTo>
                      <a:lnTo>
                        <a:pt x="525" y="917"/>
                      </a:lnTo>
                      <a:lnTo>
                        <a:pt x="562" y="922"/>
                      </a:lnTo>
                      <a:lnTo>
                        <a:pt x="600" y="927"/>
                      </a:lnTo>
                      <a:lnTo>
                        <a:pt x="637" y="930"/>
                      </a:lnTo>
                      <a:lnTo>
                        <a:pt x="675" y="933"/>
                      </a:lnTo>
                      <a:lnTo>
                        <a:pt x="713" y="935"/>
                      </a:lnTo>
                      <a:lnTo>
                        <a:pt x="751" y="936"/>
                      </a:lnTo>
                      <a:lnTo>
                        <a:pt x="789" y="936"/>
                      </a:lnTo>
                      <a:lnTo>
                        <a:pt x="828" y="935"/>
                      </a:lnTo>
                      <a:lnTo>
                        <a:pt x="866" y="933"/>
                      </a:lnTo>
                      <a:lnTo>
                        <a:pt x="905" y="930"/>
                      </a:lnTo>
                      <a:lnTo>
                        <a:pt x="943" y="926"/>
                      </a:lnTo>
                      <a:lnTo>
                        <a:pt x="982" y="922"/>
                      </a:lnTo>
                      <a:lnTo>
                        <a:pt x="1021" y="916"/>
                      </a:lnTo>
                      <a:lnTo>
                        <a:pt x="1060" y="910"/>
                      </a:lnTo>
                      <a:lnTo>
                        <a:pt x="1097" y="902"/>
                      </a:lnTo>
                      <a:lnTo>
                        <a:pt x="1136" y="894"/>
                      </a:lnTo>
                      <a:lnTo>
                        <a:pt x="1175" y="884"/>
                      </a:lnTo>
                      <a:lnTo>
                        <a:pt x="1214" y="874"/>
                      </a:lnTo>
                      <a:lnTo>
                        <a:pt x="1252" y="862"/>
                      </a:lnTo>
                      <a:lnTo>
                        <a:pt x="1289" y="850"/>
                      </a:lnTo>
                      <a:lnTo>
                        <a:pt x="1326" y="837"/>
                      </a:lnTo>
                      <a:lnTo>
                        <a:pt x="1363" y="824"/>
                      </a:lnTo>
                      <a:lnTo>
                        <a:pt x="1398" y="809"/>
                      </a:lnTo>
                      <a:lnTo>
                        <a:pt x="1433" y="794"/>
                      </a:lnTo>
                      <a:lnTo>
                        <a:pt x="1468" y="778"/>
                      </a:lnTo>
                      <a:lnTo>
                        <a:pt x="1503" y="761"/>
                      </a:lnTo>
                      <a:lnTo>
                        <a:pt x="1536" y="743"/>
                      </a:lnTo>
                      <a:lnTo>
                        <a:pt x="1569" y="725"/>
                      </a:lnTo>
                      <a:lnTo>
                        <a:pt x="1602" y="706"/>
                      </a:lnTo>
                      <a:lnTo>
                        <a:pt x="1633" y="686"/>
                      </a:lnTo>
                      <a:lnTo>
                        <a:pt x="1665" y="666"/>
                      </a:lnTo>
                      <a:lnTo>
                        <a:pt x="1695" y="644"/>
                      </a:lnTo>
                      <a:lnTo>
                        <a:pt x="1725" y="623"/>
                      </a:lnTo>
                      <a:lnTo>
                        <a:pt x="1754" y="600"/>
                      </a:lnTo>
                      <a:lnTo>
                        <a:pt x="1784" y="577"/>
                      </a:lnTo>
                      <a:lnTo>
                        <a:pt x="1811" y="553"/>
                      </a:lnTo>
                      <a:lnTo>
                        <a:pt x="1838" y="529"/>
                      </a:lnTo>
                      <a:lnTo>
                        <a:pt x="1866" y="504"/>
                      </a:lnTo>
                      <a:lnTo>
                        <a:pt x="1891" y="478"/>
                      </a:lnTo>
                      <a:lnTo>
                        <a:pt x="1917" y="452"/>
                      </a:lnTo>
                      <a:lnTo>
                        <a:pt x="1942" y="425"/>
                      </a:lnTo>
                      <a:lnTo>
                        <a:pt x="1966" y="398"/>
                      </a:lnTo>
                      <a:lnTo>
                        <a:pt x="1989" y="371"/>
                      </a:lnTo>
                      <a:lnTo>
                        <a:pt x="2011" y="343"/>
                      </a:lnTo>
                      <a:lnTo>
                        <a:pt x="2033" y="314"/>
                      </a:lnTo>
                      <a:lnTo>
                        <a:pt x="2054" y="285"/>
                      </a:lnTo>
                      <a:lnTo>
                        <a:pt x="2075" y="255"/>
                      </a:lnTo>
                      <a:lnTo>
                        <a:pt x="2094" y="225"/>
                      </a:lnTo>
                      <a:lnTo>
                        <a:pt x="2113" y="195"/>
                      </a:lnTo>
                      <a:lnTo>
                        <a:pt x="2080" y="178"/>
                      </a:lnTo>
                      <a:lnTo>
                        <a:pt x="2048" y="161"/>
                      </a:lnTo>
                      <a:lnTo>
                        <a:pt x="2014" y="146"/>
                      </a:lnTo>
                      <a:lnTo>
                        <a:pt x="1980" y="131"/>
                      </a:lnTo>
                      <a:lnTo>
                        <a:pt x="1947" y="117"/>
                      </a:lnTo>
                      <a:lnTo>
                        <a:pt x="1912" y="103"/>
                      </a:lnTo>
                      <a:lnTo>
                        <a:pt x="1877" y="91"/>
                      </a:lnTo>
                      <a:lnTo>
                        <a:pt x="1843" y="79"/>
                      </a:lnTo>
                      <a:lnTo>
                        <a:pt x="1807" y="68"/>
                      </a:lnTo>
                      <a:lnTo>
                        <a:pt x="1771" y="57"/>
                      </a:lnTo>
                      <a:lnTo>
                        <a:pt x="1735" y="48"/>
                      </a:lnTo>
                      <a:lnTo>
                        <a:pt x="1699" y="39"/>
                      </a:lnTo>
                      <a:lnTo>
                        <a:pt x="1663" y="32"/>
                      </a:lnTo>
                      <a:lnTo>
                        <a:pt x="1626" y="25"/>
                      </a:lnTo>
                      <a:lnTo>
                        <a:pt x="1589" y="19"/>
                      </a:lnTo>
                      <a:lnTo>
                        <a:pt x="1551" y="13"/>
                      </a:lnTo>
                      <a:lnTo>
                        <a:pt x="1514" y="9"/>
                      </a:lnTo>
                      <a:lnTo>
                        <a:pt x="1476" y="5"/>
                      </a:lnTo>
                      <a:lnTo>
                        <a:pt x="1438" y="3"/>
                      </a:lnTo>
                      <a:lnTo>
                        <a:pt x="1401" y="1"/>
                      </a:lnTo>
                      <a:lnTo>
                        <a:pt x="1363" y="0"/>
                      </a:lnTo>
                      <a:lnTo>
                        <a:pt x="1324" y="0"/>
                      </a:lnTo>
                      <a:lnTo>
                        <a:pt x="1286" y="1"/>
                      </a:lnTo>
                      <a:lnTo>
                        <a:pt x="1247" y="3"/>
                      </a:lnTo>
                      <a:lnTo>
                        <a:pt x="1209" y="6"/>
                      </a:lnTo>
                      <a:lnTo>
                        <a:pt x="1170" y="9"/>
                      </a:lnTo>
                      <a:lnTo>
                        <a:pt x="1131" y="14"/>
                      </a:lnTo>
                      <a:lnTo>
                        <a:pt x="1093" y="20"/>
                      </a:lnTo>
                      <a:lnTo>
                        <a:pt x="1054" y="26"/>
                      </a:lnTo>
                      <a:lnTo>
                        <a:pt x="1015" y="34"/>
                      </a:lnTo>
                      <a:lnTo>
                        <a:pt x="976" y="42"/>
                      </a:lnTo>
                      <a:lnTo>
                        <a:pt x="939" y="52"/>
                      </a:lnTo>
                      <a:lnTo>
                        <a:pt x="900" y="62"/>
                      </a:lnTo>
                      <a:lnTo>
                        <a:pt x="862" y="73"/>
                      </a:lnTo>
                      <a:lnTo>
                        <a:pt x="824" y="86"/>
                      </a:lnTo>
                      <a:lnTo>
                        <a:pt x="787" y="98"/>
                      </a:lnTo>
                      <a:lnTo>
                        <a:pt x="751" y="112"/>
                      </a:lnTo>
                      <a:lnTo>
                        <a:pt x="715" y="127"/>
                      </a:lnTo>
                      <a:lnTo>
                        <a:pt x="680" y="142"/>
                      </a:lnTo>
                      <a:lnTo>
                        <a:pt x="645" y="158"/>
                      </a:lnTo>
                      <a:lnTo>
                        <a:pt x="611" y="175"/>
                      </a:lnTo>
                      <a:lnTo>
                        <a:pt x="577" y="193"/>
                      </a:lnTo>
                      <a:lnTo>
                        <a:pt x="544" y="211"/>
                      </a:lnTo>
                      <a:lnTo>
                        <a:pt x="512" y="230"/>
                      </a:lnTo>
                      <a:lnTo>
                        <a:pt x="480" y="250"/>
                      </a:lnTo>
                      <a:lnTo>
                        <a:pt x="449" y="270"/>
                      </a:lnTo>
                      <a:lnTo>
                        <a:pt x="419" y="291"/>
                      </a:lnTo>
                      <a:lnTo>
                        <a:pt x="388" y="313"/>
                      </a:lnTo>
                      <a:lnTo>
                        <a:pt x="359" y="336"/>
                      </a:lnTo>
                      <a:lnTo>
                        <a:pt x="330" y="359"/>
                      </a:lnTo>
                      <a:lnTo>
                        <a:pt x="302" y="382"/>
                      </a:lnTo>
                      <a:lnTo>
                        <a:pt x="274" y="407"/>
                      </a:lnTo>
                      <a:lnTo>
                        <a:pt x="248" y="432"/>
                      </a:lnTo>
                      <a:lnTo>
                        <a:pt x="222" y="457"/>
                      </a:lnTo>
                      <a:lnTo>
                        <a:pt x="196" y="483"/>
                      </a:lnTo>
                      <a:lnTo>
                        <a:pt x="172" y="510"/>
                      </a:lnTo>
                      <a:lnTo>
                        <a:pt x="148" y="538"/>
                      </a:lnTo>
                      <a:lnTo>
                        <a:pt x="125" y="565"/>
                      </a:lnTo>
                      <a:lnTo>
                        <a:pt x="102" y="593"/>
                      </a:lnTo>
                      <a:lnTo>
                        <a:pt x="80" y="622"/>
                      </a:lnTo>
                      <a:lnTo>
                        <a:pt x="59" y="651"/>
                      </a:lnTo>
                      <a:lnTo>
                        <a:pt x="39" y="680"/>
                      </a:lnTo>
                      <a:lnTo>
                        <a:pt x="19" y="710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03" name="Freeform 253"/>
                <p:cNvSpPr>
                  <a:spLocks/>
                </p:cNvSpPr>
                <p:nvPr/>
              </p:nvSpPr>
              <p:spPr bwMode="auto">
                <a:xfrm rot="-2429734">
                  <a:off x="777" y="1871"/>
                  <a:ext cx="98" cy="57"/>
                </a:xfrm>
                <a:custGeom>
                  <a:avLst/>
                  <a:gdLst>
                    <a:gd name="T0" fmla="*/ 72 w 1964"/>
                    <a:gd name="T1" fmla="*/ 1020 h 1077"/>
                    <a:gd name="T2" fmla="*/ 179 w 1964"/>
                    <a:gd name="T3" fmla="*/ 1045 h 1077"/>
                    <a:gd name="T4" fmla="*/ 289 w 1964"/>
                    <a:gd name="T5" fmla="*/ 1063 h 1077"/>
                    <a:gd name="T6" fmla="*/ 401 w 1964"/>
                    <a:gd name="T7" fmla="*/ 1074 h 1077"/>
                    <a:gd name="T8" fmla="*/ 513 w 1964"/>
                    <a:gd name="T9" fmla="*/ 1077 h 1077"/>
                    <a:gd name="T10" fmla="*/ 626 w 1964"/>
                    <a:gd name="T11" fmla="*/ 1072 h 1077"/>
                    <a:gd name="T12" fmla="*/ 739 w 1964"/>
                    <a:gd name="T13" fmla="*/ 1059 h 1077"/>
                    <a:gd name="T14" fmla="*/ 851 w 1964"/>
                    <a:gd name="T15" fmla="*/ 1038 h 1077"/>
                    <a:gd name="T16" fmla="*/ 963 w 1964"/>
                    <a:gd name="T17" fmla="*/ 1009 h 1077"/>
                    <a:gd name="T18" fmla="*/ 1073 w 1964"/>
                    <a:gd name="T19" fmla="*/ 971 h 1077"/>
                    <a:gd name="T20" fmla="*/ 1182 w 1964"/>
                    <a:gd name="T21" fmla="*/ 925 h 1077"/>
                    <a:gd name="T22" fmla="*/ 1287 w 1964"/>
                    <a:gd name="T23" fmla="*/ 871 h 1077"/>
                    <a:gd name="T24" fmla="*/ 1386 w 1964"/>
                    <a:gd name="T25" fmla="*/ 810 h 1077"/>
                    <a:gd name="T26" fmla="*/ 1479 w 1964"/>
                    <a:gd name="T27" fmla="*/ 744 h 1077"/>
                    <a:gd name="T28" fmla="*/ 1564 w 1964"/>
                    <a:gd name="T29" fmla="*/ 672 h 1077"/>
                    <a:gd name="T30" fmla="*/ 1644 w 1964"/>
                    <a:gd name="T31" fmla="*/ 595 h 1077"/>
                    <a:gd name="T32" fmla="*/ 1717 w 1964"/>
                    <a:gd name="T33" fmla="*/ 512 h 1077"/>
                    <a:gd name="T34" fmla="*/ 1783 w 1964"/>
                    <a:gd name="T35" fmla="*/ 426 h 1077"/>
                    <a:gd name="T36" fmla="*/ 1842 w 1964"/>
                    <a:gd name="T37" fmla="*/ 336 h 1077"/>
                    <a:gd name="T38" fmla="*/ 1893 w 1964"/>
                    <a:gd name="T39" fmla="*/ 242 h 1077"/>
                    <a:gd name="T40" fmla="*/ 1938 w 1964"/>
                    <a:gd name="T41" fmla="*/ 144 h 1077"/>
                    <a:gd name="T42" fmla="*/ 1928 w 1964"/>
                    <a:gd name="T43" fmla="*/ 67 h 1077"/>
                    <a:gd name="T44" fmla="*/ 1821 w 1964"/>
                    <a:gd name="T45" fmla="*/ 39 h 1077"/>
                    <a:gd name="T46" fmla="*/ 1711 w 1964"/>
                    <a:gd name="T47" fmla="*/ 19 h 1077"/>
                    <a:gd name="T48" fmla="*/ 1600 w 1964"/>
                    <a:gd name="T49" fmla="*/ 6 h 1077"/>
                    <a:gd name="T50" fmla="*/ 1488 w 1964"/>
                    <a:gd name="T51" fmla="*/ 0 h 1077"/>
                    <a:gd name="T52" fmla="*/ 1376 w 1964"/>
                    <a:gd name="T53" fmla="*/ 2 h 1077"/>
                    <a:gd name="T54" fmla="*/ 1262 w 1964"/>
                    <a:gd name="T55" fmla="*/ 13 h 1077"/>
                    <a:gd name="T56" fmla="*/ 1149 w 1964"/>
                    <a:gd name="T57" fmla="*/ 31 h 1077"/>
                    <a:gd name="T58" fmla="*/ 1038 w 1964"/>
                    <a:gd name="T59" fmla="*/ 58 h 1077"/>
                    <a:gd name="T60" fmla="*/ 926 w 1964"/>
                    <a:gd name="T61" fmla="*/ 93 h 1077"/>
                    <a:gd name="T62" fmla="*/ 817 w 1964"/>
                    <a:gd name="T63" fmla="*/ 136 h 1077"/>
                    <a:gd name="T64" fmla="*/ 710 w 1964"/>
                    <a:gd name="T65" fmla="*/ 187 h 1077"/>
                    <a:gd name="T66" fmla="*/ 609 w 1964"/>
                    <a:gd name="T67" fmla="*/ 246 h 1077"/>
                    <a:gd name="T68" fmla="*/ 516 w 1964"/>
                    <a:gd name="T69" fmla="*/ 310 h 1077"/>
                    <a:gd name="T70" fmla="*/ 427 w 1964"/>
                    <a:gd name="T71" fmla="*/ 381 h 1077"/>
                    <a:gd name="T72" fmla="*/ 345 w 1964"/>
                    <a:gd name="T73" fmla="*/ 456 h 1077"/>
                    <a:gd name="T74" fmla="*/ 270 w 1964"/>
                    <a:gd name="T75" fmla="*/ 537 h 1077"/>
                    <a:gd name="T76" fmla="*/ 202 w 1964"/>
                    <a:gd name="T77" fmla="*/ 622 h 1077"/>
                    <a:gd name="T78" fmla="*/ 141 w 1964"/>
                    <a:gd name="T79" fmla="*/ 711 h 1077"/>
                    <a:gd name="T80" fmla="*/ 86 w 1964"/>
                    <a:gd name="T81" fmla="*/ 804 h 1077"/>
                    <a:gd name="T82" fmla="*/ 40 w 1964"/>
                    <a:gd name="T83" fmla="*/ 900 h 1077"/>
                    <a:gd name="T84" fmla="*/ 0 w 1964"/>
                    <a:gd name="T85" fmla="*/ 999 h 10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964" h="1077">
                      <a:moveTo>
                        <a:pt x="0" y="999"/>
                      </a:moveTo>
                      <a:lnTo>
                        <a:pt x="36" y="1010"/>
                      </a:lnTo>
                      <a:lnTo>
                        <a:pt x="72" y="1020"/>
                      </a:lnTo>
                      <a:lnTo>
                        <a:pt x="107" y="1029"/>
                      </a:lnTo>
                      <a:lnTo>
                        <a:pt x="143" y="1038"/>
                      </a:lnTo>
                      <a:lnTo>
                        <a:pt x="179" y="1045"/>
                      </a:lnTo>
                      <a:lnTo>
                        <a:pt x="216" y="1052"/>
                      </a:lnTo>
                      <a:lnTo>
                        <a:pt x="253" y="1058"/>
                      </a:lnTo>
                      <a:lnTo>
                        <a:pt x="289" y="1063"/>
                      </a:lnTo>
                      <a:lnTo>
                        <a:pt x="326" y="1068"/>
                      </a:lnTo>
                      <a:lnTo>
                        <a:pt x="363" y="1071"/>
                      </a:lnTo>
                      <a:lnTo>
                        <a:pt x="401" y="1074"/>
                      </a:lnTo>
                      <a:lnTo>
                        <a:pt x="438" y="1076"/>
                      </a:lnTo>
                      <a:lnTo>
                        <a:pt x="476" y="1077"/>
                      </a:lnTo>
                      <a:lnTo>
                        <a:pt x="513" y="1077"/>
                      </a:lnTo>
                      <a:lnTo>
                        <a:pt x="550" y="1076"/>
                      </a:lnTo>
                      <a:lnTo>
                        <a:pt x="588" y="1074"/>
                      </a:lnTo>
                      <a:lnTo>
                        <a:pt x="626" y="1072"/>
                      </a:lnTo>
                      <a:lnTo>
                        <a:pt x="663" y="1068"/>
                      </a:lnTo>
                      <a:lnTo>
                        <a:pt x="701" y="1064"/>
                      </a:lnTo>
                      <a:lnTo>
                        <a:pt x="739" y="1059"/>
                      </a:lnTo>
                      <a:lnTo>
                        <a:pt x="777" y="1053"/>
                      </a:lnTo>
                      <a:lnTo>
                        <a:pt x="814" y="1046"/>
                      </a:lnTo>
                      <a:lnTo>
                        <a:pt x="851" y="1038"/>
                      </a:lnTo>
                      <a:lnTo>
                        <a:pt x="888" y="1029"/>
                      </a:lnTo>
                      <a:lnTo>
                        <a:pt x="926" y="1019"/>
                      </a:lnTo>
                      <a:lnTo>
                        <a:pt x="963" y="1009"/>
                      </a:lnTo>
                      <a:lnTo>
                        <a:pt x="1000" y="997"/>
                      </a:lnTo>
                      <a:lnTo>
                        <a:pt x="1037" y="984"/>
                      </a:lnTo>
                      <a:lnTo>
                        <a:pt x="1073" y="971"/>
                      </a:lnTo>
                      <a:lnTo>
                        <a:pt x="1110" y="956"/>
                      </a:lnTo>
                      <a:lnTo>
                        <a:pt x="1146" y="941"/>
                      </a:lnTo>
                      <a:lnTo>
                        <a:pt x="1182" y="925"/>
                      </a:lnTo>
                      <a:lnTo>
                        <a:pt x="1218" y="907"/>
                      </a:lnTo>
                      <a:lnTo>
                        <a:pt x="1252" y="889"/>
                      </a:lnTo>
                      <a:lnTo>
                        <a:pt x="1287" y="871"/>
                      </a:lnTo>
                      <a:lnTo>
                        <a:pt x="1321" y="851"/>
                      </a:lnTo>
                      <a:lnTo>
                        <a:pt x="1353" y="831"/>
                      </a:lnTo>
                      <a:lnTo>
                        <a:pt x="1386" y="810"/>
                      </a:lnTo>
                      <a:lnTo>
                        <a:pt x="1418" y="789"/>
                      </a:lnTo>
                      <a:lnTo>
                        <a:pt x="1448" y="767"/>
                      </a:lnTo>
                      <a:lnTo>
                        <a:pt x="1479" y="744"/>
                      </a:lnTo>
                      <a:lnTo>
                        <a:pt x="1508" y="720"/>
                      </a:lnTo>
                      <a:lnTo>
                        <a:pt x="1537" y="696"/>
                      </a:lnTo>
                      <a:lnTo>
                        <a:pt x="1564" y="672"/>
                      </a:lnTo>
                      <a:lnTo>
                        <a:pt x="1591" y="647"/>
                      </a:lnTo>
                      <a:lnTo>
                        <a:pt x="1618" y="621"/>
                      </a:lnTo>
                      <a:lnTo>
                        <a:pt x="1644" y="595"/>
                      </a:lnTo>
                      <a:lnTo>
                        <a:pt x="1669" y="568"/>
                      </a:lnTo>
                      <a:lnTo>
                        <a:pt x="1693" y="540"/>
                      </a:lnTo>
                      <a:lnTo>
                        <a:pt x="1717" y="512"/>
                      </a:lnTo>
                      <a:lnTo>
                        <a:pt x="1740" y="484"/>
                      </a:lnTo>
                      <a:lnTo>
                        <a:pt x="1762" y="455"/>
                      </a:lnTo>
                      <a:lnTo>
                        <a:pt x="1783" y="426"/>
                      </a:lnTo>
                      <a:lnTo>
                        <a:pt x="1803" y="396"/>
                      </a:lnTo>
                      <a:lnTo>
                        <a:pt x="1823" y="366"/>
                      </a:lnTo>
                      <a:lnTo>
                        <a:pt x="1842" y="336"/>
                      </a:lnTo>
                      <a:lnTo>
                        <a:pt x="1860" y="305"/>
                      </a:lnTo>
                      <a:lnTo>
                        <a:pt x="1877" y="273"/>
                      </a:lnTo>
                      <a:lnTo>
                        <a:pt x="1893" y="242"/>
                      </a:lnTo>
                      <a:lnTo>
                        <a:pt x="1909" y="210"/>
                      </a:lnTo>
                      <a:lnTo>
                        <a:pt x="1924" y="177"/>
                      </a:lnTo>
                      <a:lnTo>
                        <a:pt x="1938" y="144"/>
                      </a:lnTo>
                      <a:lnTo>
                        <a:pt x="1951" y="111"/>
                      </a:lnTo>
                      <a:lnTo>
                        <a:pt x="1964" y="78"/>
                      </a:lnTo>
                      <a:lnTo>
                        <a:pt x="1928" y="67"/>
                      </a:lnTo>
                      <a:lnTo>
                        <a:pt x="1892" y="57"/>
                      </a:lnTo>
                      <a:lnTo>
                        <a:pt x="1857" y="48"/>
                      </a:lnTo>
                      <a:lnTo>
                        <a:pt x="1821" y="39"/>
                      </a:lnTo>
                      <a:lnTo>
                        <a:pt x="1784" y="32"/>
                      </a:lnTo>
                      <a:lnTo>
                        <a:pt x="1748" y="25"/>
                      </a:lnTo>
                      <a:lnTo>
                        <a:pt x="1711" y="19"/>
                      </a:lnTo>
                      <a:lnTo>
                        <a:pt x="1674" y="13"/>
                      </a:lnTo>
                      <a:lnTo>
                        <a:pt x="1638" y="9"/>
                      </a:lnTo>
                      <a:lnTo>
                        <a:pt x="1600" y="6"/>
                      </a:lnTo>
                      <a:lnTo>
                        <a:pt x="1563" y="3"/>
                      </a:lnTo>
                      <a:lnTo>
                        <a:pt x="1525" y="1"/>
                      </a:lnTo>
                      <a:lnTo>
                        <a:pt x="1488" y="0"/>
                      </a:lnTo>
                      <a:lnTo>
                        <a:pt x="1450" y="0"/>
                      </a:lnTo>
                      <a:lnTo>
                        <a:pt x="1413" y="1"/>
                      </a:lnTo>
                      <a:lnTo>
                        <a:pt x="1376" y="2"/>
                      </a:lnTo>
                      <a:lnTo>
                        <a:pt x="1338" y="5"/>
                      </a:lnTo>
                      <a:lnTo>
                        <a:pt x="1300" y="8"/>
                      </a:lnTo>
                      <a:lnTo>
                        <a:pt x="1262" y="13"/>
                      </a:lnTo>
                      <a:lnTo>
                        <a:pt x="1225" y="18"/>
                      </a:lnTo>
                      <a:lnTo>
                        <a:pt x="1187" y="24"/>
                      </a:lnTo>
                      <a:lnTo>
                        <a:pt x="1149" y="31"/>
                      </a:lnTo>
                      <a:lnTo>
                        <a:pt x="1112" y="39"/>
                      </a:lnTo>
                      <a:lnTo>
                        <a:pt x="1075" y="48"/>
                      </a:lnTo>
                      <a:lnTo>
                        <a:pt x="1038" y="58"/>
                      </a:lnTo>
                      <a:lnTo>
                        <a:pt x="1001" y="68"/>
                      </a:lnTo>
                      <a:lnTo>
                        <a:pt x="963" y="80"/>
                      </a:lnTo>
                      <a:lnTo>
                        <a:pt x="926" y="93"/>
                      </a:lnTo>
                      <a:lnTo>
                        <a:pt x="890" y="106"/>
                      </a:lnTo>
                      <a:lnTo>
                        <a:pt x="854" y="121"/>
                      </a:lnTo>
                      <a:lnTo>
                        <a:pt x="817" y="136"/>
                      </a:lnTo>
                      <a:lnTo>
                        <a:pt x="781" y="152"/>
                      </a:lnTo>
                      <a:lnTo>
                        <a:pt x="745" y="170"/>
                      </a:lnTo>
                      <a:lnTo>
                        <a:pt x="710" y="187"/>
                      </a:lnTo>
                      <a:lnTo>
                        <a:pt x="677" y="206"/>
                      </a:lnTo>
                      <a:lnTo>
                        <a:pt x="643" y="226"/>
                      </a:lnTo>
                      <a:lnTo>
                        <a:pt x="609" y="246"/>
                      </a:lnTo>
                      <a:lnTo>
                        <a:pt x="578" y="267"/>
                      </a:lnTo>
                      <a:lnTo>
                        <a:pt x="546" y="288"/>
                      </a:lnTo>
                      <a:lnTo>
                        <a:pt x="516" y="310"/>
                      </a:lnTo>
                      <a:lnTo>
                        <a:pt x="485" y="333"/>
                      </a:lnTo>
                      <a:lnTo>
                        <a:pt x="456" y="357"/>
                      </a:lnTo>
                      <a:lnTo>
                        <a:pt x="427" y="381"/>
                      </a:lnTo>
                      <a:lnTo>
                        <a:pt x="399" y="405"/>
                      </a:lnTo>
                      <a:lnTo>
                        <a:pt x="371" y="430"/>
                      </a:lnTo>
                      <a:lnTo>
                        <a:pt x="345" y="456"/>
                      </a:lnTo>
                      <a:lnTo>
                        <a:pt x="320" y="482"/>
                      </a:lnTo>
                      <a:lnTo>
                        <a:pt x="295" y="509"/>
                      </a:lnTo>
                      <a:lnTo>
                        <a:pt x="270" y="537"/>
                      </a:lnTo>
                      <a:lnTo>
                        <a:pt x="247" y="565"/>
                      </a:lnTo>
                      <a:lnTo>
                        <a:pt x="224" y="593"/>
                      </a:lnTo>
                      <a:lnTo>
                        <a:pt x="202" y="622"/>
                      </a:lnTo>
                      <a:lnTo>
                        <a:pt x="181" y="651"/>
                      </a:lnTo>
                      <a:lnTo>
                        <a:pt x="160" y="681"/>
                      </a:lnTo>
                      <a:lnTo>
                        <a:pt x="141" y="711"/>
                      </a:lnTo>
                      <a:lnTo>
                        <a:pt x="122" y="741"/>
                      </a:lnTo>
                      <a:lnTo>
                        <a:pt x="104" y="772"/>
                      </a:lnTo>
                      <a:lnTo>
                        <a:pt x="86" y="804"/>
                      </a:lnTo>
                      <a:lnTo>
                        <a:pt x="70" y="835"/>
                      </a:lnTo>
                      <a:lnTo>
                        <a:pt x="55" y="867"/>
                      </a:lnTo>
                      <a:lnTo>
                        <a:pt x="40" y="900"/>
                      </a:lnTo>
                      <a:lnTo>
                        <a:pt x="25" y="933"/>
                      </a:lnTo>
                      <a:lnTo>
                        <a:pt x="13" y="966"/>
                      </a:lnTo>
                      <a:lnTo>
                        <a:pt x="0" y="999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04" name="Freeform 254"/>
                <p:cNvSpPr>
                  <a:spLocks/>
                </p:cNvSpPr>
                <p:nvPr/>
              </p:nvSpPr>
              <p:spPr bwMode="auto">
                <a:xfrm rot="-2429734">
                  <a:off x="832" y="1902"/>
                  <a:ext cx="63" cy="92"/>
                </a:xfrm>
                <a:custGeom>
                  <a:avLst/>
                  <a:gdLst>
                    <a:gd name="T0" fmla="*/ 104 w 1272"/>
                    <a:gd name="T1" fmla="*/ 1720 h 1736"/>
                    <a:gd name="T2" fmla="*/ 211 w 1272"/>
                    <a:gd name="T3" fmla="*/ 1690 h 1736"/>
                    <a:gd name="T4" fmla="*/ 315 w 1272"/>
                    <a:gd name="T5" fmla="*/ 1653 h 1736"/>
                    <a:gd name="T6" fmla="*/ 417 w 1272"/>
                    <a:gd name="T7" fmla="*/ 1609 h 1736"/>
                    <a:gd name="T8" fmla="*/ 516 w 1272"/>
                    <a:gd name="T9" fmla="*/ 1558 h 1736"/>
                    <a:gd name="T10" fmla="*/ 611 w 1272"/>
                    <a:gd name="T11" fmla="*/ 1500 h 1736"/>
                    <a:gd name="T12" fmla="*/ 701 w 1272"/>
                    <a:gd name="T13" fmla="*/ 1434 h 1736"/>
                    <a:gd name="T14" fmla="*/ 788 w 1272"/>
                    <a:gd name="T15" fmla="*/ 1362 h 1736"/>
                    <a:gd name="T16" fmla="*/ 869 w 1272"/>
                    <a:gd name="T17" fmla="*/ 1283 h 1736"/>
                    <a:gd name="T18" fmla="*/ 944 w 1272"/>
                    <a:gd name="T19" fmla="*/ 1197 h 1736"/>
                    <a:gd name="T20" fmla="*/ 1014 w 1272"/>
                    <a:gd name="T21" fmla="*/ 1105 h 1736"/>
                    <a:gd name="T22" fmla="*/ 1076 w 1272"/>
                    <a:gd name="T23" fmla="*/ 1009 h 1736"/>
                    <a:gd name="T24" fmla="*/ 1130 w 1272"/>
                    <a:gd name="T25" fmla="*/ 909 h 1736"/>
                    <a:gd name="T26" fmla="*/ 1174 w 1272"/>
                    <a:gd name="T27" fmla="*/ 808 h 1736"/>
                    <a:gd name="T28" fmla="*/ 1210 w 1272"/>
                    <a:gd name="T29" fmla="*/ 704 h 1736"/>
                    <a:gd name="T30" fmla="*/ 1238 w 1272"/>
                    <a:gd name="T31" fmla="*/ 599 h 1736"/>
                    <a:gd name="T32" fmla="*/ 1257 w 1272"/>
                    <a:gd name="T33" fmla="*/ 494 h 1736"/>
                    <a:gd name="T34" fmla="*/ 1269 w 1272"/>
                    <a:gd name="T35" fmla="*/ 387 h 1736"/>
                    <a:gd name="T36" fmla="*/ 1272 w 1272"/>
                    <a:gd name="T37" fmla="*/ 281 h 1736"/>
                    <a:gd name="T38" fmla="*/ 1267 w 1272"/>
                    <a:gd name="T39" fmla="*/ 175 h 1736"/>
                    <a:gd name="T40" fmla="*/ 1254 w 1272"/>
                    <a:gd name="T41" fmla="*/ 70 h 1736"/>
                    <a:gd name="T42" fmla="*/ 1204 w 1272"/>
                    <a:gd name="T43" fmla="*/ 8 h 1736"/>
                    <a:gd name="T44" fmla="*/ 1097 w 1272"/>
                    <a:gd name="T45" fmla="*/ 35 h 1736"/>
                    <a:gd name="T46" fmla="*/ 991 w 1272"/>
                    <a:gd name="T47" fmla="*/ 70 h 1736"/>
                    <a:gd name="T48" fmla="*/ 889 w 1272"/>
                    <a:gd name="T49" fmla="*/ 111 h 1736"/>
                    <a:gd name="T50" fmla="*/ 789 w 1272"/>
                    <a:gd name="T51" fmla="*/ 160 h 1736"/>
                    <a:gd name="T52" fmla="*/ 692 w 1272"/>
                    <a:gd name="T53" fmla="*/ 216 h 1736"/>
                    <a:gd name="T54" fmla="*/ 600 w 1272"/>
                    <a:gd name="T55" fmla="*/ 279 h 1736"/>
                    <a:gd name="T56" fmla="*/ 512 w 1272"/>
                    <a:gd name="T57" fmla="*/ 349 h 1736"/>
                    <a:gd name="T58" fmla="*/ 430 w 1272"/>
                    <a:gd name="T59" fmla="*/ 425 h 1736"/>
                    <a:gd name="T60" fmla="*/ 352 w 1272"/>
                    <a:gd name="T61" fmla="*/ 509 h 1736"/>
                    <a:gd name="T62" fmla="*/ 280 w 1272"/>
                    <a:gd name="T63" fmla="*/ 598 h 1736"/>
                    <a:gd name="T64" fmla="*/ 216 w 1272"/>
                    <a:gd name="T65" fmla="*/ 694 h 1736"/>
                    <a:gd name="T66" fmla="*/ 159 w 1272"/>
                    <a:gd name="T67" fmla="*/ 792 h 1736"/>
                    <a:gd name="T68" fmla="*/ 112 w 1272"/>
                    <a:gd name="T69" fmla="*/ 893 h 1736"/>
                    <a:gd name="T70" fmla="*/ 73 w 1272"/>
                    <a:gd name="T71" fmla="*/ 996 h 1736"/>
                    <a:gd name="T72" fmla="*/ 42 w 1272"/>
                    <a:gd name="T73" fmla="*/ 1101 h 1736"/>
                    <a:gd name="T74" fmla="*/ 20 w 1272"/>
                    <a:gd name="T75" fmla="*/ 1206 h 1736"/>
                    <a:gd name="T76" fmla="*/ 7 w 1272"/>
                    <a:gd name="T77" fmla="*/ 1312 h 1736"/>
                    <a:gd name="T78" fmla="*/ 0 w 1272"/>
                    <a:gd name="T79" fmla="*/ 1419 h 1736"/>
                    <a:gd name="T80" fmla="*/ 2 w 1272"/>
                    <a:gd name="T81" fmla="*/ 1526 h 1736"/>
                    <a:gd name="T82" fmla="*/ 13 w 1272"/>
                    <a:gd name="T83" fmla="*/ 1631 h 1736"/>
                    <a:gd name="T84" fmla="*/ 32 w 1272"/>
                    <a:gd name="T85" fmla="*/ 1736 h 17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72" h="1736">
                      <a:moveTo>
                        <a:pt x="32" y="1736"/>
                      </a:moveTo>
                      <a:lnTo>
                        <a:pt x="68" y="1728"/>
                      </a:lnTo>
                      <a:lnTo>
                        <a:pt x="104" y="1720"/>
                      </a:lnTo>
                      <a:lnTo>
                        <a:pt x="139" y="1711"/>
                      </a:lnTo>
                      <a:lnTo>
                        <a:pt x="175" y="1701"/>
                      </a:lnTo>
                      <a:lnTo>
                        <a:pt x="211" y="1690"/>
                      </a:lnTo>
                      <a:lnTo>
                        <a:pt x="246" y="1679"/>
                      </a:lnTo>
                      <a:lnTo>
                        <a:pt x="281" y="1667"/>
                      </a:lnTo>
                      <a:lnTo>
                        <a:pt x="315" y="1653"/>
                      </a:lnTo>
                      <a:lnTo>
                        <a:pt x="350" y="1639"/>
                      </a:lnTo>
                      <a:lnTo>
                        <a:pt x="383" y="1625"/>
                      </a:lnTo>
                      <a:lnTo>
                        <a:pt x="417" y="1609"/>
                      </a:lnTo>
                      <a:lnTo>
                        <a:pt x="451" y="1593"/>
                      </a:lnTo>
                      <a:lnTo>
                        <a:pt x="483" y="1576"/>
                      </a:lnTo>
                      <a:lnTo>
                        <a:pt x="516" y="1558"/>
                      </a:lnTo>
                      <a:lnTo>
                        <a:pt x="548" y="1539"/>
                      </a:lnTo>
                      <a:lnTo>
                        <a:pt x="579" y="1520"/>
                      </a:lnTo>
                      <a:lnTo>
                        <a:pt x="611" y="1500"/>
                      </a:lnTo>
                      <a:lnTo>
                        <a:pt x="641" y="1479"/>
                      </a:lnTo>
                      <a:lnTo>
                        <a:pt x="672" y="1456"/>
                      </a:lnTo>
                      <a:lnTo>
                        <a:pt x="701" y="1434"/>
                      </a:lnTo>
                      <a:lnTo>
                        <a:pt x="731" y="1410"/>
                      </a:lnTo>
                      <a:lnTo>
                        <a:pt x="759" y="1386"/>
                      </a:lnTo>
                      <a:lnTo>
                        <a:pt x="788" y="1362"/>
                      </a:lnTo>
                      <a:lnTo>
                        <a:pt x="815" y="1336"/>
                      </a:lnTo>
                      <a:lnTo>
                        <a:pt x="842" y="1310"/>
                      </a:lnTo>
                      <a:lnTo>
                        <a:pt x="869" y="1283"/>
                      </a:lnTo>
                      <a:lnTo>
                        <a:pt x="895" y="1255"/>
                      </a:lnTo>
                      <a:lnTo>
                        <a:pt x="920" y="1227"/>
                      </a:lnTo>
                      <a:lnTo>
                        <a:pt x="944" y="1197"/>
                      </a:lnTo>
                      <a:lnTo>
                        <a:pt x="969" y="1167"/>
                      </a:lnTo>
                      <a:lnTo>
                        <a:pt x="992" y="1137"/>
                      </a:lnTo>
                      <a:lnTo>
                        <a:pt x="1014" y="1105"/>
                      </a:lnTo>
                      <a:lnTo>
                        <a:pt x="1036" y="1073"/>
                      </a:lnTo>
                      <a:lnTo>
                        <a:pt x="1056" y="1041"/>
                      </a:lnTo>
                      <a:lnTo>
                        <a:pt x="1076" y="1009"/>
                      </a:lnTo>
                      <a:lnTo>
                        <a:pt x="1095" y="976"/>
                      </a:lnTo>
                      <a:lnTo>
                        <a:pt x="1113" y="943"/>
                      </a:lnTo>
                      <a:lnTo>
                        <a:pt x="1130" y="909"/>
                      </a:lnTo>
                      <a:lnTo>
                        <a:pt x="1145" y="876"/>
                      </a:lnTo>
                      <a:lnTo>
                        <a:pt x="1160" y="842"/>
                      </a:lnTo>
                      <a:lnTo>
                        <a:pt x="1174" y="808"/>
                      </a:lnTo>
                      <a:lnTo>
                        <a:pt x="1187" y="773"/>
                      </a:lnTo>
                      <a:lnTo>
                        <a:pt x="1199" y="739"/>
                      </a:lnTo>
                      <a:lnTo>
                        <a:pt x="1210" y="704"/>
                      </a:lnTo>
                      <a:lnTo>
                        <a:pt x="1220" y="669"/>
                      </a:lnTo>
                      <a:lnTo>
                        <a:pt x="1230" y="635"/>
                      </a:lnTo>
                      <a:lnTo>
                        <a:pt x="1238" y="599"/>
                      </a:lnTo>
                      <a:lnTo>
                        <a:pt x="1245" y="564"/>
                      </a:lnTo>
                      <a:lnTo>
                        <a:pt x="1252" y="529"/>
                      </a:lnTo>
                      <a:lnTo>
                        <a:pt x="1257" y="494"/>
                      </a:lnTo>
                      <a:lnTo>
                        <a:pt x="1262" y="458"/>
                      </a:lnTo>
                      <a:lnTo>
                        <a:pt x="1265" y="423"/>
                      </a:lnTo>
                      <a:lnTo>
                        <a:pt x="1269" y="387"/>
                      </a:lnTo>
                      <a:lnTo>
                        <a:pt x="1271" y="352"/>
                      </a:lnTo>
                      <a:lnTo>
                        <a:pt x="1272" y="317"/>
                      </a:lnTo>
                      <a:lnTo>
                        <a:pt x="1272" y="281"/>
                      </a:lnTo>
                      <a:lnTo>
                        <a:pt x="1271" y="246"/>
                      </a:lnTo>
                      <a:lnTo>
                        <a:pt x="1269" y="210"/>
                      </a:lnTo>
                      <a:lnTo>
                        <a:pt x="1267" y="175"/>
                      </a:lnTo>
                      <a:lnTo>
                        <a:pt x="1263" y="140"/>
                      </a:lnTo>
                      <a:lnTo>
                        <a:pt x="1259" y="105"/>
                      </a:lnTo>
                      <a:lnTo>
                        <a:pt x="1254" y="70"/>
                      </a:lnTo>
                      <a:lnTo>
                        <a:pt x="1248" y="35"/>
                      </a:lnTo>
                      <a:lnTo>
                        <a:pt x="1240" y="0"/>
                      </a:lnTo>
                      <a:lnTo>
                        <a:pt x="1204" y="8"/>
                      </a:lnTo>
                      <a:lnTo>
                        <a:pt x="1169" y="16"/>
                      </a:lnTo>
                      <a:lnTo>
                        <a:pt x="1132" y="25"/>
                      </a:lnTo>
                      <a:lnTo>
                        <a:pt x="1097" y="35"/>
                      </a:lnTo>
                      <a:lnTo>
                        <a:pt x="1061" y="46"/>
                      </a:lnTo>
                      <a:lnTo>
                        <a:pt x="1026" y="57"/>
                      </a:lnTo>
                      <a:lnTo>
                        <a:pt x="991" y="70"/>
                      </a:lnTo>
                      <a:lnTo>
                        <a:pt x="956" y="83"/>
                      </a:lnTo>
                      <a:lnTo>
                        <a:pt x="922" y="97"/>
                      </a:lnTo>
                      <a:lnTo>
                        <a:pt x="889" y="111"/>
                      </a:lnTo>
                      <a:lnTo>
                        <a:pt x="855" y="127"/>
                      </a:lnTo>
                      <a:lnTo>
                        <a:pt x="821" y="143"/>
                      </a:lnTo>
                      <a:lnTo>
                        <a:pt x="789" y="160"/>
                      </a:lnTo>
                      <a:lnTo>
                        <a:pt x="756" y="178"/>
                      </a:lnTo>
                      <a:lnTo>
                        <a:pt x="723" y="197"/>
                      </a:lnTo>
                      <a:lnTo>
                        <a:pt x="692" y="216"/>
                      </a:lnTo>
                      <a:lnTo>
                        <a:pt x="661" y="236"/>
                      </a:lnTo>
                      <a:lnTo>
                        <a:pt x="631" y="257"/>
                      </a:lnTo>
                      <a:lnTo>
                        <a:pt x="600" y="279"/>
                      </a:lnTo>
                      <a:lnTo>
                        <a:pt x="571" y="302"/>
                      </a:lnTo>
                      <a:lnTo>
                        <a:pt x="541" y="325"/>
                      </a:lnTo>
                      <a:lnTo>
                        <a:pt x="512" y="349"/>
                      </a:lnTo>
                      <a:lnTo>
                        <a:pt x="485" y="374"/>
                      </a:lnTo>
                      <a:lnTo>
                        <a:pt x="457" y="399"/>
                      </a:lnTo>
                      <a:lnTo>
                        <a:pt x="430" y="425"/>
                      </a:lnTo>
                      <a:lnTo>
                        <a:pt x="403" y="452"/>
                      </a:lnTo>
                      <a:lnTo>
                        <a:pt x="377" y="480"/>
                      </a:lnTo>
                      <a:lnTo>
                        <a:pt x="352" y="509"/>
                      </a:lnTo>
                      <a:lnTo>
                        <a:pt x="328" y="538"/>
                      </a:lnTo>
                      <a:lnTo>
                        <a:pt x="303" y="568"/>
                      </a:lnTo>
                      <a:lnTo>
                        <a:pt x="280" y="598"/>
                      </a:lnTo>
                      <a:lnTo>
                        <a:pt x="258" y="630"/>
                      </a:lnTo>
                      <a:lnTo>
                        <a:pt x="236" y="662"/>
                      </a:lnTo>
                      <a:lnTo>
                        <a:pt x="216" y="694"/>
                      </a:lnTo>
                      <a:lnTo>
                        <a:pt x="196" y="726"/>
                      </a:lnTo>
                      <a:lnTo>
                        <a:pt x="177" y="759"/>
                      </a:lnTo>
                      <a:lnTo>
                        <a:pt x="159" y="792"/>
                      </a:lnTo>
                      <a:lnTo>
                        <a:pt x="142" y="826"/>
                      </a:lnTo>
                      <a:lnTo>
                        <a:pt x="127" y="859"/>
                      </a:lnTo>
                      <a:lnTo>
                        <a:pt x="112" y="893"/>
                      </a:lnTo>
                      <a:lnTo>
                        <a:pt x="98" y="927"/>
                      </a:lnTo>
                      <a:lnTo>
                        <a:pt x="85" y="962"/>
                      </a:lnTo>
                      <a:lnTo>
                        <a:pt x="73" y="996"/>
                      </a:lnTo>
                      <a:lnTo>
                        <a:pt x="61" y="1031"/>
                      </a:lnTo>
                      <a:lnTo>
                        <a:pt x="52" y="1066"/>
                      </a:lnTo>
                      <a:lnTo>
                        <a:pt x="42" y="1101"/>
                      </a:lnTo>
                      <a:lnTo>
                        <a:pt x="34" y="1136"/>
                      </a:lnTo>
                      <a:lnTo>
                        <a:pt x="27" y="1171"/>
                      </a:lnTo>
                      <a:lnTo>
                        <a:pt x="20" y="1206"/>
                      </a:lnTo>
                      <a:lnTo>
                        <a:pt x="15" y="1241"/>
                      </a:lnTo>
                      <a:lnTo>
                        <a:pt x="10" y="1277"/>
                      </a:lnTo>
                      <a:lnTo>
                        <a:pt x="7" y="1312"/>
                      </a:lnTo>
                      <a:lnTo>
                        <a:pt x="4" y="1348"/>
                      </a:lnTo>
                      <a:lnTo>
                        <a:pt x="1" y="1383"/>
                      </a:lnTo>
                      <a:lnTo>
                        <a:pt x="0" y="1419"/>
                      </a:lnTo>
                      <a:lnTo>
                        <a:pt x="0" y="1454"/>
                      </a:lnTo>
                      <a:lnTo>
                        <a:pt x="1" y="1490"/>
                      </a:lnTo>
                      <a:lnTo>
                        <a:pt x="2" y="1526"/>
                      </a:lnTo>
                      <a:lnTo>
                        <a:pt x="6" y="1561"/>
                      </a:lnTo>
                      <a:lnTo>
                        <a:pt x="9" y="1596"/>
                      </a:lnTo>
                      <a:lnTo>
                        <a:pt x="13" y="1631"/>
                      </a:lnTo>
                      <a:lnTo>
                        <a:pt x="18" y="1666"/>
                      </a:lnTo>
                      <a:lnTo>
                        <a:pt x="25" y="1701"/>
                      </a:lnTo>
                      <a:lnTo>
                        <a:pt x="32" y="173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05" name="Freeform 255"/>
                <p:cNvSpPr>
                  <a:spLocks/>
                </p:cNvSpPr>
                <p:nvPr/>
              </p:nvSpPr>
              <p:spPr bwMode="auto">
                <a:xfrm rot="2429734" flipV="1">
                  <a:off x="966" y="2024"/>
                  <a:ext cx="46" cy="109"/>
                </a:xfrm>
                <a:custGeom>
                  <a:avLst/>
                  <a:gdLst>
                    <a:gd name="T0" fmla="*/ 522 w 920"/>
                    <a:gd name="T1" fmla="*/ 46 h 2068"/>
                    <a:gd name="T2" fmla="*/ 441 w 920"/>
                    <a:gd name="T3" fmla="*/ 119 h 2068"/>
                    <a:gd name="T4" fmla="*/ 366 w 920"/>
                    <a:gd name="T5" fmla="*/ 197 h 2068"/>
                    <a:gd name="T6" fmla="*/ 297 w 920"/>
                    <a:gd name="T7" fmla="*/ 281 h 2068"/>
                    <a:gd name="T8" fmla="*/ 234 w 920"/>
                    <a:gd name="T9" fmla="*/ 369 h 2068"/>
                    <a:gd name="T10" fmla="*/ 178 w 920"/>
                    <a:gd name="T11" fmla="*/ 463 h 2068"/>
                    <a:gd name="T12" fmla="*/ 128 w 920"/>
                    <a:gd name="T13" fmla="*/ 560 h 2068"/>
                    <a:gd name="T14" fmla="*/ 86 w 920"/>
                    <a:gd name="T15" fmla="*/ 661 h 2068"/>
                    <a:gd name="T16" fmla="*/ 53 w 920"/>
                    <a:gd name="T17" fmla="*/ 767 h 2068"/>
                    <a:gd name="T18" fmla="*/ 26 w 920"/>
                    <a:gd name="T19" fmla="*/ 875 h 2068"/>
                    <a:gd name="T20" fmla="*/ 9 w 920"/>
                    <a:gd name="T21" fmla="*/ 987 h 2068"/>
                    <a:gd name="T22" fmla="*/ 1 w 920"/>
                    <a:gd name="T23" fmla="*/ 1100 h 2068"/>
                    <a:gd name="T24" fmla="*/ 1 w 920"/>
                    <a:gd name="T25" fmla="*/ 1212 h 2068"/>
                    <a:gd name="T26" fmla="*/ 10 w 920"/>
                    <a:gd name="T27" fmla="*/ 1322 h 2068"/>
                    <a:gd name="T28" fmla="*/ 28 w 920"/>
                    <a:gd name="T29" fmla="*/ 1430 h 2068"/>
                    <a:gd name="T30" fmla="*/ 54 w 920"/>
                    <a:gd name="T31" fmla="*/ 1535 h 2068"/>
                    <a:gd name="T32" fmla="*/ 87 w 920"/>
                    <a:gd name="T33" fmla="*/ 1637 h 2068"/>
                    <a:gd name="T34" fmla="*/ 128 w 920"/>
                    <a:gd name="T35" fmla="*/ 1737 h 2068"/>
                    <a:gd name="T36" fmla="*/ 178 w 920"/>
                    <a:gd name="T37" fmla="*/ 1832 h 2068"/>
                    <a:gd name="T38" fmla="*/ 233 w 920"/>
                    <a:gd name="T39" fmla="*/ 1924 h 2068"/>
                    <a:gd name="T40" fmla="*/ 296 w 920"/>
                    <a:gd name="T41" fmla="*/ 2012 h 2068"/>
                    <a:gd name="T42" fmla="*/ 369 w 920"/>
                    <a:gd name="T43" fmla="*/ 2046 h 2068"/>
                    <a:gd name="T44" fmla="*/ 451 w 920"/>
                    <a:gd name="T45" fmla="*/ 1975 h 2068"/>
                    <a:gd name="T46" fmla="*/ 528 w 920"/>
                    <a:gd name="T47" fmla="*/ 1898 h 2068"/>
                    <a:gd name="T48" fmla="*/ 600 w 920"/>
                    <a:gd name="T49" fmla="*/ 1816 h 2068"/>
                    <a:gd name="T50" fmla="*/ 665 w 920"/>
                    <a:gd name="T51" fmla="*/ 1730 h 2068"/>
                    <a:gd name="T52" fmla="*/ 724 w 920"/>
                    <a:gd name="T53" fmla="*/ 1638 h 2068"/>
                    <a:gd name="T54" fmla="*/ 776 w 920"/>
                    <a:gd name="T55" fmla="*/ 1542 h 2068"/>
                    <a:gd name="T56" fmla="*/ 820 w 920"/>
                    <a:gd name="T57" fmla="*/ 1442 h 2068"/>
                    <a:gd name="T58" fmla="*/ 857 w 920"/>
                    <a:gd name="T59" fmla="*/ 1338 h 2068"/>
                    <a:gd name="T60" fmla="*/ 885 w 920"/>
                    <a:gd name="T61" fmla="*/ 1230 h 2068"/>
                    <a:gd name="T62" fmla="*/ 905 w 920"/>
                    <a:gd name="T63" fmla="*/ 1119 h 2068"/>
                    <a:gd name="T64" fmla="*/ 917 w 920"/>
                    <a:gd name="T65" fmla="*/ 1006 h 2068"/>
                    <a:gd name="T66" fmla="*/ 919 w 920"/>
                    <a:gd name="T67" fmla="*/ 894 h 2068"/>
                    <a:gd name="T68" fmla="*/ 912 w 920"/>
                    <a:gd name="T69" fmla="*/ 783 h 2068"/>
                    <a:gd name="T70" fmla="*/ 898 w 920"/>
                    <a:gd name="T71" fmla="*/ 675 h 2068"/>
                    <a:gd name="T72" fmla="*/ 875 w 920"/>
                    <a:gd name="T73" fmla="*/ 569 h 2068"/>
                    <a:gd name="T74" fmla="*/ 844 w 920"/>
                    <a:gd name="T75" fmla="*/ 466 h 2068"/>
                    <a:gd name="T76" fmla="*/ 805 w 920"/>
                    <a:gd name="T77" fmla="*/ 365 h 2068"/>
                    <a:gd name="T78" fmla="*/ 759 w 920"/>
                    <a:gd name="T79" fmla="*/ 268 h 2068"/>
                    <a:gd name="T80" fmla="*/ 705 w 920"/>
                    <a:gd name="T81" fmla="*/ 175 h 2068"/>
                    <a:gd name="T82" fmla="*/ 645 w 920"/>
                    <a:gd name="T83" fmla="*/ 85 h 2068"/>
                    <a:gd name="T84" fmla="*/ 579 w 920"/>
                    <a:gd name="T85" fmla="*/ 0 h 20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20" h="2068">
                      <a:moveTo>
                        <a:pt x="579" y="0"/>
                      </a:moveTo>
                      <a:lnTo>
                        <a:pt x="550" y="23"/>
                      </a:lnTo>
                      <a:lnTo>
                        <a:pt x="522" y="46"/>
                      </a:lnTo>
                      <a:lnTo>
                        <a:pt x="495" y="70"/>
                      </a:lnTo>
                      <a:lnTo>
                        <a:pt x="467" y="94"/>
                      </a:lnTo>
                      <a:lnTo>
                        <a:pt x="441" y="119"/>
                      </a:lnTo>
                      <a:lnTo>
                        <a:pt x="416" y="145"/>
                      </a:lnTo>
                      <a:lnTo>
                        <a:pt x="390" y="171"/>
                      </a:lnTo>
                      <a:lnTo>
                        <a:pt x="366" y="197"/>
                      </a:lnTo>
                      <a:lnTo>
                        <a:pt x="342" y="225"/>
                      </a:lnTo>
                      <a:lnTo>
                        <a:pt x="319" y="253"/>
                      </a:lnTo>
                      <a:lnTo>
                        <a:pt x="297" y="281"/>
                      </a:lnTo>
                      <a:lnTo>
                        <a:pt x="275" y="310"/>
                      </a:lnTo>
                      <a:lnTo>
                        <a:pt x="254" y="339"/>
                      </a:lnTo>
                      <a:lnTo>
                        <a:pt x="234" y="369"/>
                      </a:lnTo>
                      <a:lnTo>
                        <a:pt x="215" y="400"/>
                      </a:lnTo>
                      <a:lnTo>
                        <a:pt x="196" y="431"/>
                      </a:lnTo>
                      <a:lnTo>
                        <a:pt x="178" y="463"/>
                      </a:lnTo>
                      <a:lnTo>
                        <a:pt x="160" y="495"/>
                      </a:lnTo>
                      <a:lnTo>
                        <a:pt x="144" y="527"/>
                      </a:lnTo>
                      <a:lnTo>
                        <a:pt x="128" y="560"/>
                      </a:lnTo>
                      <a:lnTo>
                        <a:pt x="114" y="593"/>
                      </a:lnTo>
                      <a:lnTo>
                        <a:pt x="100" y="627"/>
                      </a:lnTo>
                      <a:lnTo>
                        <a:pt x="86" y="661"/>
                      </a:lnTo>
                      <a:lnTo>
                        <a:pt x="75" y="696"/>
                      </a:lnTo>
                      <a:lnTo>
                        <a:pt x="63" y="731"/>
                      </a:lnTo>
                      <a:lnTo>
                        <a:pt x="53" y="767"/>
                      </a:lnTo>
                      <a:lnTo>
                        <a:pt x="43" y="803"/>
                      </a:lnTo>
                      <a:lnTo>
                        <a:pt x="35" y="839"/>
                      </a:lnTo>
                      <a:lnTo>
                        <a:pt x="26" y="875"/>
                      </a:lnTo>
                      <a:lnTo>
                        <a:pt x="20" y="912"/>
                      </a:lnTo>
                      <a:lnTo>
                        <a:pt x="14" y="950"/>
                      </a:lnTo>
                      <a:lnTo>
                        <a:pt x="9" y="987"/>
                      </a:lnTo>
                      <a:lnTo>
                        <a:pt x="5" y="1025"/>
                      </a:lnTo>
                      <a:lnTo>
                        <a:pt x="2" y="1063"/>
                      </a:lnTo>
                      <a:lnTo>
                        <a:pt x="1" y="1100"/>
                      </a:lnTo>
                      <a:lnTo>
                        <a:pt x="0" y="1138"/>
                      </a:lnTo>
                      <a:lnTo>
                        <a:pt x="0" y="1175"/>
                      </a:lnTo>
                      <a:lnTo>
                        <a:pt x="1" y="1212"/>
                      </a:lnTo>
                      <a:lnTo>
                        <a:pt x="3" y="1249"/>
                      </a:lnTo>
                      <a:lnTo>
                        <a:pt x="6" y="1285"/>
                      </a:lnTo>
                      <a:lnTo>
                        <a:pt x="10" y="1322"/>
                      </a:lnTo>
                      <a:lnTo>
                        <a:pt x="16" y="1358"/>
                      </a:lnTo>
                      <a:lnTo>
                        <a:pt x="21" y="1394"/>
                      </a:lnTo>
                      <a:lnTo>
                        <a:pt x="28" y="1430"/>
                      </a:lnTo>
                      <a:lnTo>
                        <a:pt x="36" y="1465"/>
                      </a:lnTo>
                      <a:lnTo>
                        <a:pt x="44" y="1500"/>
                      </a:lnTo>
                      <a:lnTo>
                        <a:pt x="54" y="1535"/>
                      </a:lnTo>
                      <a:lnTo>
                        <a:pt x="64" y="1569"/>
                      </a:lnTo>
                      <a:lnTo>
                        <a:pt x="76" y="1603"/>
                      </a:lnTo>
                      <a:lnTo>
                        <a:pt x="87" y="1637"/>
                      </a:lnTo>
                      <a:lnTo>
                        <a:pt x="101" y="1671"/>
                      </a:lnTo>
                      <a:lnTo>
                        <a:pt x="115" y="1704"/>
                      </a:lnTo>
                      <a:lnTo>
                        <a:pt x="128" y="1737"/>
                      </a:lnTo>
                      <a:lnTo>
                        <a:pt x="144" y="1769"/>
                      </a:lnTo>
                      <a:lnTo>
                        <a:pt x="161" y="1801"/>
                      </a:lnTo>
                      <a:lnTo>
                        <a:pt x="178" y="1832"/>
                      </a:lnTo>
                      <a:lnTo>
                        <a:pt x="196" y="1864"/>
                      </a:lnTo>
                      <a:lnTo>
                        <a:pt x="214" y="1894"/>
                      </a:lnTo>
                      <a:lnTo>
                        <a:pt x="233" y="1924"/>
                      </a:lnTo>
                      <a:lnTo>
                        <a:pt x="253" y="1954"/>
                      </a:lnTo>
                      <a:lnTo>
                        <a:pt x="274" y="1984"/>
                      </a:lnTo>
                      <a:lnTo>
                        <a:pt x="296" y="2012"/>
                      </a:lnTo>
                      <a:lnTo>
                        <a:pt x="318" y="2041"/>
                      </a:lnTo>
                      <a:lnTo>
                        <a:pt x="340" y="2068"/>
                      </a:lnTo>
                      <a:lnTo>
                        <a:pt x="369" y="2046"/>
                      </a:lnTo>
                      <a:lnTo>
                        <a:pt x="397" y="2023"/>
                      </a:lnTo>
                      <a:lnTo>
                        <a:pt x="425" y="1999"/>
                      </a:lnTo>
                      <a:lnTo>
                        <a:pt x="451" y="1975"/>
                      </a:lnTo>
                      <a:lnTo>
                        <a:pt x="478" y="1950"/>
                      </a:lnTo>
                      <a:lnTo>
                        <a:pt x="504" y="1924"/>
                      </a:lnTo>
                      <a:lnTo>
                        <a:pt x="528" y="1898"/>
                      </a:lnTo>
                      <a:lnTo>
                        <a:pt x="554" y="1872"/>
                      </a:lnTo>
                      <a:lnTo>
                        <a:pt x="577" y="1844"/>
                      </a:lnTo>
                      <a:lnTo>
                        <a:pt x="600" y="1816"/>
                      </a:lnTo>
                      <a:lnTo>
                        <a:pt x="622" y="1788"/>
                      </a:lnTo>
                      <a:lnTo>
                        <a:pt x="644" y="1759"/>
                      </a:lnTo>
                      <a:lnTo>
                        <a:pt x="665" y="1730"/>
                      </a:lnTo>
                      <a:lnTo>
                        <a:pt x="685" y="1699"/>
                      </a:lnTo>
                      <a:lnTo>
                        <a:pt x="705" y="1669"/>
                      </a:lnTo>
                      <a:lnTo>
                        <a:pt x="724" y="1638"/>
                      </a:lnTo>
                      <a:lnTo>
                        <a:pt x="742" y="1606"/>
                      </a:lnTo>
                      <a:lnTo>
                        <a:pt x="759" y="1574"/>
                      </a:lnTo>
                      <a:lnTo>
                        <a:pt x="776" y="1542"/>
                      </a:lnTo>
                      <a:lnTo>
                        <a:pt x="790" y="1509"/>
                      </a:lnTo>
                      <a:lnTo>
                        <a:pt x="805" y="1476"/>
                      </a:lnTo>
                      <a:lnTo>
                        <a:pt x="820" y="1442"/>
                      </a:lnTo>
                      <a:lnTo>
                        <a:pt x="832" y="1407"/>
                      </a:lnTo>
                      <a:lnTo>
                        <a:pt x="845" y="1373"/>
                      </a:lnTo>
                      <a:lnTo>
                        <a:pt x="857" y="1338"/>
                      </a:lnTo>
                      <a:lnTo>
                        <a:pt x="867" y="1302"/>
                      </a:lnTo>
                      <a:lnTo>
                        <a:pt x="877" y="1266"/>
                      </a:lnTo>
                      <a:lnTo>
                        <a:pt x="885" y="1230"/>
                      </a:lnTo>
                      <a:lnTo>
                        <a:pt x="892" y="1193"/>
                      </a:lnTo>
                      <a:lnTo>
                        <a:pt x="900" y="1156"/>
                      </a:lnTo>
                      <a:lnTo>
                        <a:pt x="905" y="1119"/>
                      </a:lnTo>
                      <a:lnTo>
                        <a:pt x="910" y="1081"/>
                      </a:lnTo>
                      <a:lnTo>
                        <a:pt x="914" y="1043"/>
                      </a:lnTo>
                      <a:lnTo>
                        <a:pt x="917" y="1006"/>
                      </a:lnTo>
                      <a:lnTo>
                        <a:pt x="919" y="968"/>
                      </a:lnTo>
                      <a:lnTo>
                        <a:pt x="920" y="931"/>
                      </a:lnTo>
                      <a:lnTo>
                        <a:pt x="919" y="894"/>
                      </a:lnTo>
                      <a:lnTo>
                        <a:pt x="918" y="857"/>
                      </a:lnTo>
                      <a:lnTo>
                        <a:pt x="916" y="820"/>
                      </a:lnTo>
                      <a:lnTo>
                        <a:pt x="912" y="783"/>
                      </a:lnTo>
                      <a:lnTo>
                        <a:pt x="909" y="747"/>
                      </a:lnTo>
                      <a:lnTo>
                        <a:pt x="904" y="711"/>
                      </a:lnTo>
                      <a:lnTo>
                        <a:pt x="898" y="675"/>
                      </a:lnTo>
                      <a:lnTo>
                        <a:pt x="891" y="639"/>
                      </a:lnTo>
                      <a:lnTo>
                        <a:pt x="883" y="604"/>
                      </a:lnTo>
                      <a:lnTo>
                        <a:pt x="875" y="569"/>
                      </a:lnTo>
                      <a:lnTo>
                        <a:pt x="865" y="534"/>
                      </a:lnTo>
                      <a:lnTo>
                        <a:pt x="855" y="500"/>
                      </a:lnTo>
                      <a:lnTo>
                        <a:pt x="844" y="466"/>
                      </a:lnTo>
                      <a:lnTo>
                        <a:pt x="831" y="432"/>
                      </a:lnTo>
                      <a:lnTo>
                        <a:pt x="819" y="398"/>
                      </a:lnTo>
                      <a:lnTo>
                        <a:pt x="805" y="365"/>
                      </a:lnTo>
                      <a:lnTo>
                        <a:pt x="790" y="332"/>
                      </a:lnTo>
                      <a:lnTo>
                        <a:pt x="775" y="300"/>
                      </a:lnTo>
                      <a:lnTo>
                        <a:pt x="759" y="268"/>
                      </a:lnTo>
                      <a:lnTo>
                        <a:pt x="742" y="237"/>
                      </a:lnTo>
                      <a:lnTo>
                        <a:pt x="724" y="205"/>
                      </a:lnTo>
                      <a:lnTo>
                        <a:pt x="705" y="175"/>
                      </a:lnTo>
                      <a:lnTo>
                        <a:pt x="686" y="145"/>
                      </a:lnTo>
                      <a:lnTo>
                        <a:pt x="666" y="115"/>
                      </a:lnTo>
                      <a:lnTo>
                        <a:pt x="645" y="85"/>
                      </a:lnTo>
                      <a:lnTo>
                        <a:pt x="624" y="57"/>
                      </a:lnTo>
                      <a:lnTo>
                        <a:pt x="602" y="28"/>
                      </a:lnTo>
                      <a:lnTo>
                        <a:pt x="579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  <p:sp>
              <p:nvSpPr>
                <p:cNvPr id="106" name="Freeform 256"/>
                <p:cNvSpPr>
                  <a:spLocks/>
                </p:cNvSpPr>
                <p:nvPr/>
              </p:nvSpPr>
              <p:spPr bwMode="auto">
                <a:xfrm rot="826450">
                  <a:off x="852" y="1507"/>
                  <a:ext cx="63" cy="92"/>
                </a:xfrm>
                <a:custGeom>
                  <a:avLst/>
                  <a:gdLst>
                    <a:gd name="T0" fmla="*/ 108 w 1252"/>
                    <a:gd name="T1" fmla="*/ 1736 h 1753"/>
                    <a:gd name="T2" fmla="*/ 214 w 1252"/>
                    <a:gd name="T3" fmla="*/ 1705 h 1753"/>
                    <a:gd name="T4" fmla="*/ 318 w 1252"/>
                    <a:gd name="T5" fmla="*/ 1667 h 1753"/>
                    <a:gd name="T6" fmla="*/ 419 w 1252"/>
                    <a:gd name="T7" fmla="*/ 1621 h 1753"/>
                    <a:gd name="T8" fmla="*/ 517 w 1252"/>
                    <a:gd name="T9" fmla="*/ 1568 h 1753"/>
                    <a:gd name="T10" fmla="*/ 611 w 1252"/>
                    <a:gd name="T11" fmla="*/ 1509 h 1753"/>
                    <a:gd name="T12" fmla="*/ 702 w 1252"/>
                    <a:gd name="T13" fmla="*/ 1441 h 1753"/>
                    <a:gd name="T14" fmla="*/ 786 w 1252"/>
                    <a:gd name="T15" fmla="*/ 1368 h 1753"/>
                    <a:gd name="T16" fmla="*/ 866 w 1252"/>
                    <a:gd name="T17" fmla="*/ 1288 h 1753"/>
                    <a:gd name="T18" fmla="*/ 940 w 1252"/>
                    <a:gd name="T19" fmla="*/ 1201 h 1753"/>
                    <a:gd name="T20" fmla="*/ 1008 w 1252"/>
                    <a:gd name="T21" fmla="*/ 1108 h 1753"/>
                    <a:gd name="T22" fmla="*/ 1069 w 1252"/>
                    <a:gd name="T23" fmla="*/ 1011 h 1753"/>
                    <a:gd name="T24" fmla="*/ 1120 w 1252"/>
                    <a:gd name="T25" fmla="*/ 911 h 1753"/>
                    <a:gd name="T26" fmla="*/ 1164 w 1252"/>
                    <a:gd name="T27" fmla="*/ 808 h 1753"/>
                    <a:gd name="T28" fmla="*/ 1197 w 1252"/>
                    <a:gd name="T29" fmla="*/ 704 h 1753"/>
                    <a:gd name="T30" fmla="*/ 1224 w 1252"/>
                    <a:gd name="T31" fmla="*/ 599 h 1753"/>
                    <a:gd name="T32" fmla="*/ 1241 w 1252"/>
                    <a:gd name="T33" fmla="*/ 493 h 1753"/>
                    <a:gd name="T34" fmla="*/ 1251 w 1252"/>
                    <a:gd name="T35" fmla="*/ 387 h 1753"/>
                    <a:gd name="T36" fmla="*/ 1252 w 1252"/>
                    <a:gd name="T37" fmla="*/ 280 h 1753"/>
                    <a:gd name="T38" fmla="*/ 1246 w 1252"/>
                    <a:gd name="T39" fmla="*/ 174 h 1753"/>
                    <a:gd name="T40" fmla="*/ 1231 w 1252"/>
                    <a:gd name="T41" fmla="*/ 69 h 1753"/>
                    <a:gd name="T42" fmla="*/ 1180 w 1252"/>
                    <a:gd name="T43" fmla="*/ 8 h 1753"/>
                    <a:gd name="T44" fmla="*/ 1073 w 1252"/>
                    <a:gd name="T45" fmla="*/ 37 h 1753"/>
                    <a:gd name="T46" fmla="*/ 968 w 1252"/>
                    <a:gd name="T47" fmla="*/ 73 h 1753"/>
                    <a:gd name="T48" fmla="*/ 866 w 1252"/>
                    <a:gd name="T49" fmla="*/ 116 h 1753"/>
                    <a:gd name="T50" fmla="*/ 767 w 1252"/>
                    <a:gd name="T51" fmla="*/ 167 h 1753"/>
                    <a:gd name="T52" fmla="*/ 672 w 1252"/>
                    <a:gd name="T53" fmla="*/ 224 h 1753"/>
                    <a:gd name="T54" fmla="*/ 581 w 1252"/>
                    <a:gd name="T55" fmla="*/ 288 h 1753"/>
                    <a:gd name="T56" fmla="*/ 494 w 1252"/>
                    <a:gd name="T57" fmla="*/ 359 h 1753"/>
                    <a:gd name="T58" fmla="*/ 412 w 1252"/>
                    <a:gd name="T59" fmla="*/ 437 h 1753"/>
                    <a:gd name="T60" fmla="*/ 336 w 1252"/>
                    <a:gd name="T61" fmla="*/ 521 h 1753"/>
                    <a:gd name="T62" fmla="*/ 267 w 1252"/>
                    <a:gd name="T63" fmla="*/ 612 h 1753"/>
                    <a:gd name="T64" fmla="*/ 204 w 1252"/>
                    <a:gd name="T65" fmla="*/ 709 h 1753"/>
                    <a:gd name="T66" fmla="*/ 149 w 1252"/>
                    <a:gd name="T67" fmla="*/ 808 h 1753"/>
                    <a:gd name="T68" fmla="*/ 103 w 1252"/>
                    <a:gd name="T69" fmla="*/ 910 h 1753"/>
                    <a:gd name="T70" fmla="*/ 66 w 1252"/>
                    <a:gd name="T71" fmla="*/ 1013 h 1753"/>
                    <a:gd name="T72" fmla="*/ 36 w 1252"/>
                    <a:gd name="T73" fmla="*/ 1118 h 1753"/>
                    <a:gd name="T74" fmla="*/ 16 w 1252"/>
                    <a:gd name="T75" fmla="*/ 1224 h 1753"/>
                    <a:gd name="T76" fmla="*/ 4 w 1252"/>
                    <a:gd name="T77" fmla="*/ 1330 h 1753"/>
                    <a:gd name="T78" fmla="*/ 0 w 1252"/>
                    <a:gd name="T79" fmla="*/ 1437 h 1753"/>
                    <a:gd name="T80" fmla="*/ 4 w 1252"/>
                    <a:gd name="T81" fmla="*/ 1544 h 1753"/>
                    <a:gd name="T82" fmla="*/ 16 w 1252"/>
                    <a:gd name="T83" fmla="*/ 1649 h 1753"/>
                    <a:gd name="T84" fmla="*/ 36 w 1252"/>
                    <a:gd name="T85" fmla="*/ 1753 h 1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52" h="1753">
                      <a:moveTo>
                        <a:pt x="36" y="1753"/>
                      </a:moveTo>
                      <a:lnTo>
                        <a:pt x="72" y="1745"/>
                      </a:lnTo>
                      <a:lnTo>
                        <a:pt x="108" y="1736"/>
                      </a:lnTo>
                      <a:lnTo>
                        <a:pt x="144" y="1727"/>
                      </a:lnTo>
                      <a:lnTo>
                        <a:pt x="180" y="1716"/>
                      </a:lnTo>
                      <a:lnTo>
                        <a:pt x="214" y="1705"/>
                      </a:lnTo>
                      <a:lnTo>
                        <a:pt x="250" y="1693"/>
                      </a:lnTo>
                      <a:lnTo>
                        <a:pt x="285" y="1680"/>
                      </a:lnTo>
                      <a:lnTo>
                        <a:pt x="318" y="1667"/>
                      </a:lnTo>
                      <a:lnTo>
                        <a:pt x="353" y="1652"/>
                      </a:lnTo>
                      <a:lnTo>
                        <a:pt x="387" y="1637"/>
                      </a:lnTo>
                      <a:lnTo>
                        <a:pt x="419" y="1621"/>
                      </a:lnTo>
                      <a:lnTo>
                        <a:pt x="453" y="1604"/>
                      </a:lnTo>
                      <a:lnTo>
                        <a:pt x="486" y="1587"/>
                      </a:lnTo>
                      <a:lnTo>
                        <a:pt x="517" y="1568"/>
                      </a:lnTo>
                      <a:lnTo>
                        <a:pt x="549" y="1549"/>
                      </a:lnTo>
                      <a:lnTo>
                        <a:pt x="581" y="1529"/>
                      </a:lnTo>
                      <a:lnTo>
                        <a:pt x="611" y="1509"/>
                      </a:lnTo>
                      <a:lnTo>
                        <a:pt x="642" y="1487"/>
                      </a:lnTo>
                      <a:lnTo>
                        <a:pt x="672" y="1464"/>
                      </a:lnTo>
                      <a:lnTo>
                        <a:pt x="702" y="1441"/>
                      </a:lnTo>
                      <a:lnTo>
                        <a:pt x="730" y="1417"/>
                      </a:lnTo>
                      <a:lnTo>
                        <a:pt x="758" y="1393"/>
                      </a:lnTo>
                      <a:lnTo>
                        <a:pt x="786" y="1368"/>
                      </a:lnTo>
                      <a:lnTo>
                        <a:pt x="813" y="1342"/>
                      </a:lnTo>
                      <a:lnTo>
                        <a:pt x="839" y="1315"/>
                      </a:lnTo>
                      <a:lnTo>
                        <a:pt x="866" y="1288"/>
                      </a:lnTo>
                      <a:lnTo>
                        <a:pt x="891" y="1260"/>
                      </a:lnTo>
                      <a:lnTo>
                        <a:pt x="916" y="1231"/>
                      </a:lnTo>
                      <a:lnTo>
                        <a:pt x="940" y="1201"/>
                      </a:lnTo>
                      <a:lnTo>
                        <a:pt x="964" y="1171"/>
                      </a:lnTo>
                      <a:lnTo>
                        <a:pt x="986" y="1140"/>
                      </a:lnTo>
                      <a:lnTo>
                        <a:pt x="1008" y="1108"/>
                      </a:lnTo>
                      <a:lnTo>
                        <a:pt x="1029" y="1076"/>
                      </a:lnTo>
                      <a:lnTo>
                        <a:pt x="1049" y="1044"/>
                      </a:lnTo>
                      <a:lnTo>
                        <a:pt x="1069" y="1011"/>
                      </a:lnTo>
                      <a:lnTo>
                        <a:pt x="1087" y="978"/>
                      </a:lnTo>
                      <a:lnTo>
                        <a:pt x="1104" y="944"/>
                      </a:lnTo>
                      <a:lnTo>
                        <a:pt x="1120" y="911"/>
                      </a:lnTo>
                      <a:lnTo>
                        <a:pt x="1135" y="877"/>
                      </a:lnTo>
                      <a:lnTo>
                        <a:pt x="1150" y="843"/>
                      </a:lnTo>
                      <a:lnTo>
                        <a:pt x="1164" y="808"/>
                      </a:lnTo>
                      <a:lnTo>
                        <a:pt x="1175" y="774"/>
                      </a:lnTo>
                      <a:lnTo>
                        <a:pt x="1187" y="739"/>
                      </a:lnTo>
                      <a:lnTo>
                        <a:pt x="1197" y="704"/>
                      </a:lnTo>
                      <a:lnTo>
                        <a:pt x="1207" y="669"/>
                      </a:lnTo>
                      <a:lnTo>
                        <a:pt x="1216" y="634"/>
                      </a:lnTo>
                      <a:lnTo>
                        <a:pt x="1224" y="599"/>
                      </a:lnTo>
                      <a:lnTo>
                        <a:pt x="1231" y="564"/>
                      </a:lnTo>
                      <a:lnTo>
                        <a:pt x="1236" y="528"/>
                      </a:lnTo>
                      <a:lnTo>
                        <a:pt x="1241" y="493"/>
                      </a:lnTo>
                      <a:lnTo>
                        <a:pt x="1246" y="458"/>
                      </a:lnTo>
                      <a:lnTo>
                        <a:pt x="1249" y="422"/>
                      </a:lnTo>
                      <a:lnTo>
                        <a:pt x="1251" y="387"/>
                      </a:lnTo>
                      <a:lnTo>
                        <a:pt x="1252" y="351"/>
                      </a:lnTo>
                      <a:lnTo>
                        <a:pt x="1252" y="316"/>
                      </a:lnTo>
                      <a:lnTo>
                        <a:pt x="1252" y="280"/>
                      </a:lnTo>
                      <a:lnTo>
                        <a:pt x="1251" y="245"/>
                      </a:lnTo>
                      <a:lnTo>
                        <a:pt x="1249" y="210"/>
                      </a:lnTo>
                      <a:lnTo>
                        <a:pt x="1246" y="174"/>
                      </a:lnTo>
                      <a:lnTo>
                        <a:pt x="1241" y="139"/>
                      </a:lnTo>
                      <a:lnTo>
                        <a:pt x="1236" y="104"/>
                      </a:lnTo>
                      <a:lnTo>
                        <a:pt x="1231" y="69"/>
                      </a:lnTo>
                      <a:lnTo>
                        <a:pt x="1224" y="35"/>
                      </a:lnTo>
                      <a:lnTo>
                        <a:pt x="1216" y="0"/>
                      </a:lnTo>
                      <a:lnTo>
                        <a:pt x="1180" y="8"/>
                      </a:lnTo>
                      <a:lnTo>
                        <a:pt x="1145" y="17"/>
                      </a:lnTo>
                      <a:lnTo>
                        <a:pt x="1109" y="26"/>
                      </a:lnTo>
                      <a:lnTo>
                        <a:pt x="1073" y="37"/>
                      </a:lnTo>
                      <a:lnTo>
                        <a:pt x="1037" y="48"/>
                      </a:lnTo>
                      <a:lnTo>
                        <a:pt x="1003" y="60"/>
                      </a:lnTo>
                      <a:lnTo>
                        <a:pt x="968" y="73"/>
                      </a:lnTo>
                      <a:lnTo>
                        <a:pt x="934" y="87"/>
                      </a:lnTo>
                      <a:lnTo>
                        <a:pt x="899" y="101"/>
                      </a:lnTo>
                      <a:lnTo>
                        <a:pt x="866" y="116"/>
                      </a:lnTo>
                      <a:lnTo>
                        <a:pt x="833" y="132"/>
                      </a:lnTo>
                      <a:lnTo>
                        <a:pt x="799" y="149"/>
                      </a:lnTo>
                      <a:lnTo>
                        <a:pt x="767" y="167"/>
                      </a:lnTo>
                      <a:lnTo>
                        <a:pt x="735" y="185"/>
                      </a:lnTo>
                      <a:lnTo>
                        <a:pt x="703" y="204"/>
                      </a:lnTo>
                      <a:lnTo>
                        <a:pt x="672" y="224"/>
                      </a:lnTo>
                      <a:lnTo>
                        <a:pt x="641" y="245"/>
                      </a:lnTo>
                      <a:lnTo>
                        <a:pt x="611" y="266"/>
                      </a:lnTo>
                      <a:lnTo>
                        <a:pt x="581" y="288"/>
                      </a:lnTo>
                      <a:lnTo>
                        <a:pt x="551" y="311"/>
                      </a:lnTo>
                      <a:lnTo>
                        <a:pt x="523" y="335"/>
                      </a:lnTo>
                      <a:lnTo>
                        <a:pt x="494" y="359"/>
                      </a:lnTo>
                      <a:lnTo>
                        <a:pt x="467" y="384"/>
                      </a:lnTo>
                      <a:lnTo>
                        <a:pt x="439" y="410"/>
                      </a:lnTo>
                      <a:lnTo>
                        <a:pt x="412" y="437"/>
                      </a:lnTo>
                      <a:lnTo>
                        <a:pt x="387" y="464"/>
                      </a:lnTo>
                      <a:lnTo>
                        <a:pt x="362" y="493"/>
                      </a:lnTo>
                      <a:lnTo>
                        <a:pt x="336" y="521"/>
                      </a:lnTo>
                      <a:lnTo>
                        <a:pt x="312" y="551"/>
                      </a:lnTo>
                      <a:lnTo>
                        <a:pt x="289" y="581"/>
                      </a:lnTo>
                      <a:lnTo>
                        <a:pt x="267" y="612"/>
                      </a:lnTo>
                      <a:lnTo>
                        <a:pt x="245" y="644"/>
                      </a:lnTo>
                      <a:lnTo>
                        <a:pt x="224" y="676"/>
                      </a:lnTo>
                      <a:lnTo>
                        <a:pt x="204" y="709"/>
                      </a:lnTo>
                      <a:lnTo>
                        <a:pt x="184" y="742"/>
                      </a:lnTo>
                      <a:lnTo>
                        <a:pt x="166" y="775"/>
                      </a:lnTo>
                      <a:lnTo>
                        <a:pt x="149" y="808"/>
                      </a:lnTo>
                      <a:lnTo>
                        <a:pt x="132" y="842"/>
                      </a:lnTo>
                      <a:lnTo>
                        <a:pt x="117" y="876"/>
                      </a:lnTo>
                      <a:lnTo>
                        <a:pt x="103" y="910"/>
                      </a:lnTo>
                      <a:lnTo>
                        <a:pt x="89" y="944"/>
                      </a:lnTo>
                      <a:lnTo>
                        <a:pt x="77" y="979"/>
                      </a:lnTo>
                      <a:lnTo>
                        <a:pt x="66" y="1013"/>
                      </a:lnTo>
                      <a:lnTo>
                        <a:pt x="55" y="1048"/>
                      </a:lnTo>
                      <a:lnTo>
                        <a:pt x="45" y="1083"/>
                      </a:lnTo>
                      <a:lnTo>
                        <a:pt x="36" y="1118"/>
                      </a:lnTo>
                      <a:lnTo>
                        <a:pt x="29" y="1153"/>
                      </a:lnTo>
                      <a:lnTo>
                        <a:pt x="22" y="1188"/>
                      </a:lnTo>
                      <a:lnTo>
                        <a:pt x="16" y="1224"/>
                      </a:lnTo>
                      <a:lnTo>
                        <a:pt x="11" y="1259"/>
                      </a:lnTo>
                      <a:lnTo>
                        <a:pt x="7" y="1295"/>
                      </a:lnTo>
                      <a:lnTo>
                        <a:pt x="4" y="1330"/>
                      </a:lnTo>
                      <a:lnTo>
                        <a:pt x="2" y="1366"/>
                      </a:lnTo>
                      <a:lnTo>
                        <a:pt x="1" y="1401"/>
                      </a:lnTo>
                      <a:lnTo>
                        <a:pt x="0" y="1437"/>
                      </a:lnTo>
                      <a:lnTo>
                        <a:pt x="1" y="1472"/>
                      </a:lnTo>
                      <a:lnTo>
                        <a:pt x="2" y="1508"/>
                      </a:lnTo>
                      <a:lnTo>
                        <a:pt x="4" y="1544"/>
                      </a:lnTo>
                      <a:lnTo>
                        <a:pt x="7" y="1579"/>
                      </a:lnTo>
                      <a:lnTo>
                        <a:pt x="11" y="1614"/>
                      </a:lnTo>
                      <a:lnTo>
                        <a:pt x="16" y="1649"/>
                      </a:lnTo>
                      <a:lnTo>
                        <a:pt x="22" y="1684"/>
                      </a:lnTo>
                      <a:lnTo>
                        <a:pt x="29" y="1719"/>
                      </a:lnTo>
                      <a:lnTo>
                        <a:pt x="36" y="1753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rgbClr val="43B02A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sz="1900" kern="0">
                    <a:solidFill>
                      <a:srgbClr val="000000"/>
                    </a:solidFill>
                    <a:ea typeface="KaiTi" panose="02010609060101010101" pitchFamily="49" charset="-122"/>
                    <a:cs typeface="Arial" charset="0"/>
                  </a:endParaRPr>
                </a:p>
              </p:txBody>
            </p:sp>
          </p:grpSp>
        </p:grpSp>
      </p:grpSp>
      <p:sp>
        <p:nvSpPr>
          <p:cNvPr id="125" name="Rectangle 24"/>
          <p:cNvSpPr>
            <a:spLocks noChangeArrowheads="1"/>
          </p:cNvSpPr>
          <p:nvPr/>
        </p:nvSpPr>
        <p:spPr bwMode="auto">
          <a:xfrm>
            <a:off x="33338" y="690563"/>
            <a:ext cx="2738437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219" tIns="45612" rIns="91219" bIns="45612">
            <a:spAutoFit/>
          </a:bodyPr>
          <a:lstStyle/>
          <a:p>
            <a:pPr defTabSz="913740" fontAlgn="base"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defRPr/>
            </a:pPr>
            <a:r>
              <a:rPr lang="es-CL" altLang="ja-JP" sz="1200" b="1" dirty="0" err="1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Market</a:t>
            </a:r>
            <a:r>
              <a:rPr lang="es-CL" altLang="ja-JP" sz="1200" b="1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 shares y principales logros</a:t>
            </a:r>
            <a:endParaRPr lang="es-CL" sz="1200" b="1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26" name="125 Rectángulo"/>
          <p:cNvSpPr/>
          <p:nvPr/>
        </p:nvSpPr>
        <p:spPr>
          <a:xfrm>
            <a:off x="2987675" y="3046413"/>
            <a:ext cx="3654425" cy="1503362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s-PE" sz="1400" dirty="0">
              <a:solidFill>
                <a:srgbClr val="000000"/>
              </a:solidFill>
            </a:endParaRPr>
          </a:p>
        </p:txBody>
      </p:sp>
      <p:sp>
        <p:nvSpPr>
          <p:cNvPr id="127" name="126 CuadroTexto"/>
          <p:cNvSpPr txBox="1"/>
          <p:nvPr/>
        </p:nvSpPr>
        <p:spPr>
          <a:xfrm>
            <a:off x="3097213" y="2951163"/>
            <a:ext cx="1717675" cy="18891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/>
          <a:p>
            <a:pPr marL="88900">
              <a:defRPr/>
            </a:pPr>
            <a:r>
              <a:rPr lang="es-PE" sz="1200" b="1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Portafolio de productos</a:t>
            </a:r>
          </a:p>
        </p:txBody>
      </p:sp>
      <p:pic>
        <p:nvPicPr>
          <p:cNvPr id="128" name="Picture 9" descr="C:\Documents and Settings\guzmanni\Desktop\Coffin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9363" y="3294063"/>
            <a:ext cx="2159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Picture 3" descr="C:\Documents and Settings\guzmanni\Desktop\Unemployed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8950" y="3148013"/>
            <a:ext cx="325438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0" name="Picture 7" descr="C:\Documents and Settings\guzmanni\Desktop\wallet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863" y="3681413"/>
            <a:ext cx="314325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" name="Picture 8" descr="C:\Documents and Settings\guzmanni\Desktop\nurse_256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2375" y="3489325"/>
            <a:ext cx="268288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" name="Picture 2" descr="E:\Recursos\ICONOS POWER POINT\wheelchair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863" y="3467100"/>
            <a:ext cx="277812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" name="Picture 6" descr="C:\Documents and Settings\guzmanni\Desktop\mac-1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625" y="3981450"/>
            <a:ext cx="280988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4" name="Picture 9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6663" y="3730625"/>
            <a:ext cx="2413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" name="Picture 10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7213" y="3927475"/>
            <a:ext cx="30162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11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625" y="4227513"/>
            <a:ext cx="3063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7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2369071"/>
              </p:ext>
            </p:extLst>
          </p:nvPr>
        </p:nvGraphicFramePr>
        <p:xfrm>
          <a:off x="3008313" y="1006475"/>
          <a:ext cx="3614737" cy="17160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Worksheet" r:id="rId32" imgW="3609781" imgH="1714500" progId="Excel.Sheet.8">
                  <p:embed/>
                </p:oleObj>
              </mc:Choice>
              <mc:Fallback>
                <p:oleObj name="Worksheet" r:id="rId32" imgW="3609781" imgH="171450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08313" y="1006475"/>
                        <a:ext cx="3614737" cy="17160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137 CuadroTexto"/>
          <p:cNvSpPr txBox="1"/>
          <p:nvPr/>
        </p:nvSpPr>
        <p:spPr>
          <a:xfrm>
            <a:off x="3419475" y="3219450"/>
            <a:ext cx="839788" cy="1920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171450" indent="-171450" defTabSz="738188" fontAlgn="base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05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Desempleo</a:t>
            </a:r>
            <a:endParaRPr lang="es-PE" sz="105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39" name="138 CuadroTexto"/>
          <p:cNvSpPr txBox="1"/>
          <p:nvPr/>
        </p:nvSpPr>
        <p:spPr>
          <a:xfrm>
            <a:off x="3419475" y="3508375"/>
            <a:ext cx="1296988" cy="2222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171450" indent="-171450" defTabSz="738188" fontAlgn="base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05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Incapacidad</a:t>
            </a:r>
            <a:endParaRPr lang="es-PE" sz="105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40" name="139 CuadroTexto"/>
          <p:cNvSpPr txBox="1"/>
          <p:nvPr/>
        </p:nvSpPr>
        <p:spPr>
          <a:xfrm>
            <a:off x="3424238" y="3743325"/>
            <a:ext cx="1296987" cy="1968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171450" indent="-171450" defTabSz="738188" fontAlgn="base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05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Fraude</a:t>
            </a:r>
            <a:endParaRPr lang="es-PE" sz="105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41" name="140 CuadroTexto"/>
          <p:cNvSpPr txBox="1"/>
          <p:nvPr/>
        </p:nvSpPr>
        <p:spPr>
          <a:xfrm>
            <a:off x="3419475" y="4030663"/>
            <a:ext cx="1657350" cy="207962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171450" indent="-171450" defTabSz="738188" fontAlgn="base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05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Accidentes Personales</a:t>
            </a:r>
            <a:endParaRPr lang="es-PE" sz="105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42" name="141 CuadroTexto"/>
          <p:cNvSpPr txBox="1"/>
          <p:nvPr/>
        </p:nvSpPr>
        <p:spPr>
          <a:xfrm>
            <a:off x="3419475" y="4260850"/>
            <a:ext cx="1657350" cy="20796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171450" indent="-171450" defTabSz="738188" fontAlgn="base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05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Desgravamen</a:t>
            </a:r>
            <a:endParaRPr lang="es-PE" sz="105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43" name="142 CuadroTexto"/>
          <p:cNvSpPr txBox="1"/>
          <p:nvPr/>
        </p:nvSpPr>
        <p:spPr>
          <a:xfrm>
            <a:off x="4983163" y="3282950"/>
            <a:ext cx="1244600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171450" indent="-171450" defTabSz="738188" fontAlgn="base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05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Vida y Sepelio</a:t>
            </a:r>
            <a:endParaRPr lang="es-PE" sz="105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44" name="143 CuadroTexto"/>
          <p:cNvSpPr txBox="1"/>
          <p:nvPr/>
        </p:nvSpPr>
        <p:spPr>
          <a:xfrm>
            <a:off x="5003800" y="3502025"/>
            <a:ext cx="1244600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171450" indent="-171450" defTabSz="738188" fontAlgn="base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05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Salud</a:t>
            </a:r>
            <a:endParaRPr lang="es-PE" sz="105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45" name="144 CuadroTexto"/>
          <p:cNvSpPr txBox="1"/>
          <p:nvPr/>
        </p:nvSpPr>
        <p:spPr>
          <a:xfrm>
            <a:off x="4983163" y="3730625"/>
            <a:ext cx="1244600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171450" indent="-171450" defTabSz="738188" fontAlgn="base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05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Robo</a:t>
            </a:r>
            <a:endParaRPr lang="es-PE" sz="105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146" name="145 CuadroTexto"/>
          <p:cNvSpPr txBox="1"/>
          <p:nvPr/>
        </p:nvSpPr>
        <p:spPr>
          <a:xfrm>
            <a:off x="4967288" y="4014788"/>
            <a:ext cx="1577975" cy="1206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171450" indent="-171450" defTabSz="738188" fontAlgn="base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050" dirty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Garantía Extendida</a:t>
            </a:r>
            <a:endParaRPr lang="es-PE" sz="1050" dirty="0">
              <a:solidFill>
                <a:srgbClr val="000000"/>
              </a:solidFill>
              <a:latin typeface="BNPP Sans" pitchFamily="50" charset="0"/>
              <a:cs typeface="Arial" pitchFamily="34" charset="0"/>
            </a:endParaRPr>
          </a:p>
        </p:txBody>
      </p:sp>
      <p:cxnSp>
        <p:nvCxnSpPr>
          <p:cNvPr id="147" name="146 Conector recto"/>
          <p:cNvCxnSpPr/>
          <p:nvPr/>
        </p:nvCxnSpPr>
        <p:spPr>
          <a:xfrm>
            <a:off x="179388" y="555625"/>
            <a:ext cx="85629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" name="Picture 2" descr="Z:\9. PE Marketing\2018\PRESENTACIONES\PRESENTACIÓN CORPORATIVA\presentacion22X17-2-17.png"/>
          <p:cNvPicPr>
            <a:picLocks noChangeAspect="1" noChangeArrowheads="1"/>
          </p:cNvPicPr>
          <p:nvPr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01" t="57895" r="6528" b="33950"/>
          <a:stretch/>
        </p:blipFill>
        <p:spPr bwMode="auto">
          <a:xfrm>
            <a:off x="7804040" y="3005107"/>
            <a:ext cx="1160573" cy="450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0" name="149 Imagen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5445" y="3942817"/>
            <a:ext cx="614373" cy="215262"/>
          </a:xfrm>
          <a:prstGeom prst="rect">
            <a:avLst/>
          </a:prstGeom>
        </p:spPr>
      </p:pic>
      <p:pic>
        <p:nvPicPr>
          <p:cNvPr id="151" name="150 Imagen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4923" y="2616507"/>
            <a:ext cx="804316" cy="250142"/>
          </a:xfrm>
          <a:prstGeom prst="rect">
            <a:avLst/>
          </a:prstGeom>
        </p:spPr>
      </p:pic>
      <p:pic>
        <p:nvPicPr>
          <p:cNvPr id="2" name="1 Imagen"/>
          <p:cNvPicPr>
            <a:picLocks noChangeAspect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6" t="36512" r="6735" b="36435"/>
          <a:stretch/>
        </p:blipFill>
        <p:spPr>
          <a:xfrm>
            <a:off x="7867171" y="3949954"/>
            <a:ext cx="932068" cy="208125"/>
          </a:xfrm>
          <a:prstGeom prst="rect">
            <a:avLst/>
          </a:prstGeom>
        </p:spPr>
      </p:pic>
      <p:sp>
        <p:nvSpPr>
          <p:cNvPr id="3" name="2 CuadroTexto"/>
          <p:cNvSpPr txBox="1"/>
          <p:nvPr/>
        </p:nvSpPr>
        <p:spPr>
          <a:xfrm>
            <a:off x="6930010" y="4587974"/>
            <a:ext cx="1837180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700" dirty="0" smtClean="0">
                <a:latin typeface="BNPP Sans" pitchFamily="50" charset="0"/>
              </a:rPr>
              <a:t>* </a:t>
            </a:r>
            <a:r>
              <a:rPr lang="es-PE" sz="700" dirty="0" err="1" smtClean="0">
                <a:latin typeface="BNPP Sans" pitchFamily="50" charset="0"/>
              </a:rPr>
              <a:t>Market</a:t>
            </a:r>
            <a:r>
              <a:rPr lang="es-PE" sz="700" dirty="0" smtClean="0">
                <a:latin typeface="BNPP Sans" pitchFamily="50" charset="0"/>
              </a:rPr>
              <a:t> share sin mercado sin cautivas</a:t>
            </a:r>
          </a:p>
        </p:txBody>
      </p:sp>
    </p:spTree>
    <p:extLst>
      <p:ext uri="{BB962C8B-B14F-4D97-AF65-F5344CB8AC3E}">
        <p14:creationId xmlns:p14="http://schemas.microsoft.com/office/powerpoint/2010/main" val="4151746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58 Rectángulo"/>
          <p:cNvSpPr/>
          <p:nvPr/>
        </p:nvSpPr>
        <p:spPr>
          <a:xfrm>
            <a:off x="2934002" y="3590314"/>
            <a:ext cx="658588" cy="71248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8" name="57 Rectángulo"/>
          <p:cNvSpPr/>
          <p:nvPr/>
        </p:nvSpPr>
        <p:spPr>
          <a:xfrm>
            <a:off x="2123728" y="3579862"/>
            <a:ext cx="612000" cy="71248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7" name="56 Rectángulo"/>
          <p:cNvSpPr/>
          <p:nvPr/>
        </p:nvSpPr>
        <p:spPr>
          <a:xfrm>
            <a:off x="1259632" y="3579862"/>
            <a:ext cx="612000" cy="71248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0" name="19 Rectángulo"/>
          <p:cNvSpPr/>
          <p:nvPr/>
        </p:nvSpPr>
        <p:spPr>
          <a:xfrm>
            <a:off x="451863" y="3579862"/>
            <a:ext cx="612000" cy="71248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grpSp>
        <p:nvGrpSpPr>
          <p:cNvPr id="9" name="8 Grupo"/>
          <p:cNvGrpSpPr/>
          <p:nvPr/>
        </p:nvGrpSpPr>
        <p:grpSpPr>
          <a:xfrm>
            <a:off x="4644009" y="843559"/>
            <a:ext cx="3087830" cy="2959466"/>
            <a:chOff x="4644008" y="843558"/>
            <a:chExt cx="3400425" cy="3362325"/>
          </a:xfrm>
        </p:grpSpPr>
        <p:grpSp>
          <p:nvGrpSpPr>
            <p:cNvPr id="8" name="7 Grupo"/>
            <p:cNvGrpSpPr/>
            <p:nvPr/>
          </p:nvGrpSpPr>
          <p:grpSpPr>
            <a:xfrm>
              <a:off x="4644008" y="843558"/>
              <a:ext cx="3400425" cy="3362325"/>
              <a:chOff x="251520" y="966897"/>
              <a:chExt cx="3400425" cy="3362325"/>
            </a:xfrm>
          </p:grpSpPr>
          <p:pic>
            <p:nvPicPr>
              <p:cNvPr id="101380" name="Picture 4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rightnessContrast bright="20000"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520" y="966897"/>
                <a:ext cx="3400425" cy="3362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" name="9 Elipse"/>
              <p:cNvSpPr/>
              <p:nvPr/>
            </p:nvSpPr>
            <p:spPr>
              <a:xfrm>
                <a:off x="1591341" y="1091597"/>
                <a:ext cx="792088" cy="788064"/>
              </a:xfrm>
              <a:prstGeom prst="ellipse">
                <a:avLst/>
              </a:prstGeom>
              <a:solidFill>
                <a:schemeClr val="accent3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PE" sz="1400" dirty="0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6 Elipse"/>
            <p:cNvSpPr/>
            <p:nvPr/>
          </p:nvSpPr>
          <p:spPr>
            <a:xfrm>
              <a:off x="4860032" y="1995686"/>
              <a:ext cx="792088" cy="788064"/>
            </a:xfrm>
            <a:prstGeom prst="ellipse">
              <a:avLst/>
            </a:prstGeom>
            <a:solidFill>
              <a:srgbClr val="406B9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12 Elipse"/>
            <p:cNvSpPr/>
            <p:nvPr/>
          </p:nvSpPr>
          <p:spPr>
            <a:xfrm>
              <a:off x="7092280" y="1769576"/>
              <a:ext cx="792088" cy="788064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13 Elipse"/>
            <p:cNvSpPr/>
            <p:nvPr/>
          </p:nvSpPr>
          <p:spPr>
            <a:xfrm>
              <a:off x="5256076" y="3219822"/>
              <a:ext cx="792088" cy="788064"/>
            </a:xfrm>
            <a:prstGeom prst="ellipse">
              <a:avLst/>
            </a:prstGeom>
            <a:solidFill>
              <a:srgbClr val="0079A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" name="14 Elipse"/>
            <p:cNvSpPr/>
            <p:nvPr/>
          </p:nvSpPr>
          <p:spPr>
            <a:xfrm>
              <a:off x="6752908" y="3205125"/>
              <a:ext cx="792088" cy="788064"/>
            </a:xfrm>
            <a:prstGeom prst="ellipse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101382" name="Picture 6" descr="Resultado de imagen para risk png icon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2607" y="1161591"/>
              <a:ext cx="401398" cy="401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384" name="Picture 8" descr="Resultado de imagen para BI png ico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8526" y="2000474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386" name="Picture 10" descr="Resultado de imagen para user experience icon png"/>
            <p:cNvPicPr>
              <a:picLocks noChangeAspect="1" noChangeArrowheads="1"/>
            </p:cNvPicPr>
            <p:nvPr/>
          </p:nvPicPr>
          <p:blipFill>
            <a:blip r:embed="rId6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2300" y="1995686"/>
              <a:ext cx="432048" cy="38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388" name="Picture 12" descr="Resultado de imagen para CLIENT FOCUS icon 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840" y="3379574"/>
              <a:ext cx="468560" cy="4685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390" name="Picture 14" descr="Resultado de imagen para sales channel icon 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5085" y="3395290"/>
              <a:ext cx="407734" cy="407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30" t="36646" r="56325" b="23788"/>
          <a:stretch/>
        </p:blipFill>
        <p:spPr bwMode="auto">
          <a:xfrm>
            <a:off x="766326" y="968475"/>
            <a:ext cx="2167197" cy="224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0 CuadroTexto"/>
          <p:cNvSpPr txBox="1"/>
          <p:nvPr/>
        </p:nvSpPr>
        <p:spPr>
          <a:xfrm>
            <a:off x="5476973" y="2211710"/>
            <a:ext cx="1441705" cy="5105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400" b="1" dirty="0" smtClean="0">
                <a:latin typeface="BNPP Sans" pitchFamily="50" charset="0"/>
              </a:rPr>
              <a:t>Motor de crecimiento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6752908" y="940580"/>
            <a:ext cx="1307769" cy="174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dirty="0" smtClean="0">
                <a:latin typeface="BNPP Sans" pitchFamily="50" charset="0"/>
              </a:rPr>
              <a:t>Gestión de riesgo</a:t>
            </a:r>
          </a:p>
        </p:txBody>
      </p:sp>
      <p:sp>
        <p:nvSpPr>
          <p:cNvPr id="25" name="24 CuadroTexto"/>
          <p:cNvSpPr txBox="1"/>
          <p:nvPr/>
        </p:nvSpPr>
        <p:spPr>
          <a:xfrm>
            <a:off x="7731839" y="1668957"/>
            <a:ext cx="1307769" cy="174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dirty="0" err="1" smtClean="0">
                <a:latin typeface="BNPP Sans" pitchFamily="50" charset="0"/>
              </a:rPr>
              <a:t>User</a:t>
            </a:r>
            <a:r>
              <a:rPr lang="es-PE" sz="1200" dirty="0" smtClean="0">
                <a:latin typeface="BNPP Sans" pitchFamily="50" charset="0"/>
              </a:rPr>
              <a:t> </a:t>
            </a:r>
            <a:r>
              <a:rPr lang="es-PE" sz="1200" dirty="0" err="1" smtClean="0">
                <a:latin typeface="BNPP Sans" pitchFamily="50" charset="0"/>
              </a:rPr>
              <a:t>Experience</a:t>
            </a:r>
            <a:endParaRPr lang="es-PE" sz="1200" dirty="0" smtClean="0">
              <a:latin typeface="BNPP Sans" pitchFamily="50" charset="0"/>
            </a:endParaRPr>
          </a:p>
        </p:txBody>
      </p:sp>
      <p:sp>
        <p:nvSpPr>
          <p:cNvPr id="26" name="25 CuadroTexto"/>
          <p:cNvSpPr txBox="1"/>
          <p:nvPr/>
        </p:nvSpPr>
        <p:spPr>
          <a:xfrm>
            <a:off x="6494049" y="3803025"/>
            <a:ext cx="1307769" cy="174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200" dirty="0" err="1" smtClean="0">
                <a:latin typeface="BNPP Sans" pitchFamily="50" charset="0"/>
              </a:rPr>
              <a:t>Expertise</a:t>
            </a:r>
            <a:r>
              <a:rPr lang="es-PE" sz="1200" dirty="0" smtClean="0">
                <a:latin typeface="BNPP Sans" pitchFamily="50" charset="0"/>
              </a:rPr>
              <a:t> en potenciar canales</a:t>
            </a:r>
          </a:p>
        </p:txBody>
      </p:sp>
      <p:sp>
        <p:nvSpPr>
          <p:cNvPr id="27" name="26 CuadroTexto"/>
          <p:cNvSpPr txBox="1"/>
          <p:nvPr/>
        </p:nvSpPr>
        <p:spPr>
          <a:xfrm>
            <a:off x="4884210" y="3890162"/>
            <a:ext cx="1307769" cy="174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200" dirty="0" smtClean="0">
                <a:latin typeface="BNPP Sans" pitchFamily="50" charset="0"/>
              </a:rPr>
              <a:t>Valor cliente</a:t>
            </a:r>
          </a:p>
        </p:txBody>
      </p:sp>
      <p:sp>
        <p:nvSpPr>
          <p:cNvPr id="28" name="27 CuadroTexto"/>
          <p:cNvSpPr txBox="1"/>
          <p:nvPr/>
        </p:nvSpPr>
        <p:spPr>
          <a:xfrm>
            <a:off x="3742402" y="1491885"/>
            <a:ext cx="1307769" cy="174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200" dirty="0" smtClean="0">
                <a:latin typeface="BNPP Sans" pitchFamily="50" charset="0"/>
              </a:rPr>
              <a:t>Business </a:t>
            </a:r>
            <a:r>
              <a:rPr lang="es-PE" sz="1200" dirty="0" err="1" smtClean="0">
                <a:latin typeface="BNPP Sans" pitchFamily="50" charset="0"/>
              </a:rPr>
              <a:t>Inteligence</a:t>
            </a:r>
            <a:endParaRPr lang="es-PE" sz="1200" dirty="0" smtClean="0">
              <a:latin typeface="BNPP Sans" pitchFamily="50" charset="0"/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4910518" y="3144800"/>
            <a:ext cx="191210" cy="39858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347851" y="199512"/>
            <a:ext cx="5495925" cy="2159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>
              <a:defRPr/>
            </a:pPr>
            <a:r>
              <a:rPr lang="es-ES_tradnl" sz="2400" b="1" dirty="0" smtClean="0">
                <a:solidFill>
                  <a:srgbClr val="339966"/>
                </a:solidFill>
                <a:latin typeface="BNPP Sans" pitchFamily="50" charset="0"/>
                <a:cs typeface="Arial" pitchFamily="34" charset="0"/>
              </a:rPr>
              <a:t>Nuestra Oferta de Servicio</a:t>
            </a:r>
            <a:endParaRPr lang="es-PE" sz="2400" b="1" dirty="0">
              <a:solidFill>
                <a:srgbClr val="339966"/>
              </a:solidFill>
              <a:latin typeface="BNPP Sans" pitchFamily="50" charset="0"/>
              <a:cs typeface="Arial" pitchFamily="34" charset="0"/>
            </a:endParaRPr>
          </a:p>
        </p:txBody>
      </p:sp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279" y="3739227"/>
            <a:ext cx="433167" cy="4374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37" name="36 Imagen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8279" y="3748286"/>
            <a:ext cx="730894" cy="486711"/>
          </a:xfrm>
          <a:prstGeom prst="rect">
            <a:avLst/>
          </a:prstGeom>
        </p:spPr>
      </p:pic>
      <p:pic>
        <p:nvPicPr>
          <p:cNvPr id="40" name="Picture 5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02655" y="3911818"/>
            <a:ext cx="550765" cy="13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38" t="21478" r="52774" b="21487"/>
          <a:stretch>
            <a:fillRect/>
          </a:stretch>
        </p:blipFill>
        <p:spPr bwMode="auto">
          <a:xfrm>
            <a:off x="1332559" y="3719600"/>
            <a:ext cx="479451" cy="515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17 Grupo"/>
          <p:cNvGrpSpPr/>
          <p:nvPr/>
        </p:nvGrpSpPr>
        <p:grpSpPr>
          <a:xfrm>
            <a:off x="406286" y="3335461"/>
            <a:ext cx="720080" cy="324000"/>
            <a:chOff x="3923928" y="3420456"/>
            <a:chExt cx="720080" cy="324000"/>
          </a:xfrm>
        </p:grpSpPr>
        <p:sp>
          <p:nvSpPr>
            <p:cNvPr id="17" name="16 Rectángulo redondeado"/>
            <p:cNvSpPr/>
            <p:nvPr/>
          </p:nvSpPr>
          <p:spPr>
            <a:xfrm>
              <a:off x="3923928" y="3420456"/>
              <a:ext cx="720080" cy="324000"/>
            </a:xfrm>
            <a:prstGeom prst="round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3" name="42 Rectángulo redondeado"/>
            <p:cNvSpPr/>
            <p:nvPr/>
          </p:nvSpPr>
          <p:spPr>
            <a:xfrm>
              <a:off x="3969505" y="3454871"/>
              <a:ext cx="612000" cy="258391"/>
            </a:xfrm>
            <a:prstGeom prst="roundRect">
              <a:avLst/>
            </a:prstGeom>
            <a:solidFill>
              <a:schemeClr val="bg1"/>
            </a:solidFill>
            <a:ln w="3175"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5" name="44 Rectángulo redondeado"/>
          <p:cNvSpPr/>
          <p:nvPr/>
        </p:nvSpPr>
        <p:spPr>
          <a:xfrm>
            <a:off x="1176285" y="3326140"/>
            <a:ext cx="792000" cy="324000"/>
          </a:xfrm>
          <a:prstGeom prst="round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46" name="45 Rectángulo redondeado"/>
          <p:cNvSpPr/>
          <p:nvPr/>
        </p:nvSpPr>
        <p:spPr>
          <a:xfrm>
            <a:off x="1230325" y="3366947"/>
            <a:ext cx="684000" cy="252000"/>
          </a:xfrm>
          <a:prstGeom prst="round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48" name="47 Rectángulo"/>
          <p:cNvSpPr/>
          <p:nvPr/>
        </p:nvSpPr>
        <p:spPr>
          <a:xfrm>
            <a:off x="971600" y="3344093"/>
            <a:ext cx="12431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sz="700" b="1" dirty="0" smtClean="0">
                <a:latin typeface="BNPP Sans" pitchFamily="50" charset="0"/>
              </a:rPr>
              <a:t>BEST PRACTICES </a:t>
            </a:r>
          </a:p>
          <a:p>
            <a:pPr algn="ctr"/>
            <a:r>
              <a:rPr lang="es-ES_tradnl" sz="700" b="1" dirty="0" smtClean="0">
                <a:latin typeface="BNPP Sans" pitchFamily="50" charset="0"/>
              </a:rPr>
              <a:t>LATAM</a:t>
            </a:r>
            <a:endParaRPr lang="es-PE" sz="700" b="1" dirty="0">
              <a:latin typeface="BNPP Sans" pitchFamily="50" charset="0"/>
            </a:endParaRPr>
          </a:p>
        </p:txBody>
      </p:sp>
      <p:grpSp>
        <p:nvGrpSpPr>
          <p:cNvPr id="19" name="18 Grupo"/>
          <p:cNvGrpSpPr/>
          <p:nvPr/>
        </p:nvGrpSpPr>
        <p:grpSpPr>
          <a:xfrm>
            <a:off x="2036784" y="3327870"/>
            <a:ext cx="830106" cy="324000"/>
            <a:chOff x="5847076" y="4624014"/>
            <a:chExt cx="830106" cy="324000"/>
          </a:xfrm>
        </p:grpSpPr>
        <p:grpSp>
          <p:nvGrpSpPr>
            <p:cNvPr id="49" name="48 Grupo"/>
            <p:cNvGrpSpPr/>
            <p:nvPr/>
          </p:nvGrpSpPr>
          <p:grpSpPr>
            <a:xfrm>
              <a:off x="5868144" y="4624014"/>
              <a:ext cx="758098" cy="324000"/>
              <a:chOff x="3923928" y="3420456"/>
              <a:chExt cx="758098" cy="324000"/>
            </a:xfrm>
          </p:grpSpPr>
          <p:sp>
            <p:nvSpPr>
              <p:cNvPr id="50" name="49 Rectángulo redondeado"/>
              <p:cNvSpPr/>
              <p:nvPr/>
            </p:nvSpPr>
            <p:spPr>
              <a:xfrm>
                <a:off x="3923928" y="3420456"/>
                <a:ext cx="758098" cy="324000"/>
              </a:xfrm>
              <a:prstGeom prst="roundRect">
                <a:avLst/>
              </a:pr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PE" sz="14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50 Rectángulo redondeado"/>
              <p:cNvSpPr/>
              <p:nvPr/>
            </p:nvSpPr>
            <p:spPr>
              <a:xfrm>
                <a:off x="3973038" y="3454871"/>
                <a:ext cx="660852" cy="258391"/>
              </a:xfrm>
              <a:prstGeom prst="round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s-PE" sz="1400" dirty="0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9" name="38 Rectángulo"/>
            <p:cNvSpPr/>
            <p:nvPr/>
          </p:nvSpPr>
          <p:spPr>
            <a:xfrm>
              <a:off x="5847076" y="4696022"/>
              <a:ext cx="830106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_tradnl" sz="700" b="1" dirty="0">
                  <a:latin typeface="BNPP Sans" pitchFamily="50" charset="0"/>
                </a:rPr>
                <a:t>CAPACITACIÓN</a:t>
              </a:r>
              <a:endParaRPr lang="es-PE" sz="700" b="1" dirty="0">
                <a:latin typeface="BNPP Sans" pitchFamily="50" charset="0"/>
              </a:endParaRPr>
            </a:p>
          </p:txBody>
        </p:sp>
      </p:grpSp>
      <p:sp>
        <p:nvSpPr>
          <p:cNvPr id="53" name="52 Rectángulo redondeado"/>
          <p:cNvSpPr/>
          <p:nvPr/>
        </p:nvSpPr>
        <p:spPr>
          <a:xfrm>
            <a:off x="2854550" y="3335461"/>
            <a:ext cx="792000" cy="324000"/>
          </a:xfrm>
          <a:prstGeom prst="round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4" name="53 Rectángulo redondeado"/>
          <p:cNvSpPr/>
          <p:nvPr/>
        </p:nvSpPr>
        <p:spPr>
          <a:xfrm>
            <a:off x="2908590" y="3376268"/>
            <a:ext cx="684000" cy="252000"/>
          </a:xfrm>
          <a:prstGeom prst="round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5" name="54 Rectángulo"/>
          <p:cNvSpPr/>
          <p:nvPr/>
        </p:nvSpPr>
        <p:spPr>
          <a:xfrm>
            <a:off x="3034095" y="3383950"/>
            <a:ext cx="4680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sz="1000" b="1" dirty="0" smtClean="0">
                <a:latin typeface="BNPP Sans" pitchFamily="50" charset="0"/>
              </a:rPr>
              <a:t>BI</a:t>
            </a:r>
            <a:endParaRPr lang="es-PE" sz="1000" b="1" dirty="0">
              <a:latin typeface="BNPP Sans" pitchFamily="50" charset="0"/>
            </a:endParaRPr>
          </a:p>
        </p:txBody>
      </p:sp>
      <p:sp>
        <p:nvSpPr>
          <p:cNvPr id="34" name="33 Rectángulo"/>
          <p:cNvSpPr/>
          <p:nvPr/>
        </p:nvSpPr>
        <p:spPr>
          <a:xfrm>
            <a:off x="279573" y="3392127"/>
            <a:ext cx="97350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sz="700" b="1" dirty="0" smtClean="0">
                <a:latin typeface="BNPP Sans" pitchFamily="50" charset="0"/>
              </a:rPr>
              <a:t>CARDIF LAB</a:t>
            </a:r>
            <a:endParaRPr lang="es-PE" sz="700" b="1" dirty="0">
              <a:latin typeface="BNPP Sans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4020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56 Rectángulo redondeado"/>
          <p:cNvSpPr/>
          <p:nvPr/>
        </p:nvSpPr>
        <p:spPr>
          <a:xfrm>
            <a:off x="2555775" y="1969527"/>
            <a:ext cx="1224137" cy="43205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6" name="55 Rectángulo redondeado"/>
          <p:cNvSpPr/>
          <p:nvPr/>
        </p:nvSpPr>
        <p:spPr>
          <a:xfrm>
            <a:off x="2555776" y="1412025"/>
            <a:ext cx="1224136" cy="432050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60" name="59 Rectángulo redondeado"/>
          <p:cNvSpPr/>
          <p:nvPr/>
        </p:nvSpPr>
        <p:spPr>
          <a:xfrm>
            <a:off x="2504594" y="3961534"/>
            <a:ext cx="1275318" cy="432050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59" name="58 Rectángulo redondeado"/>
          <p:cNvSpPr/>
          <p:nvPr/>
        </p:nvSpPr>
        <p:spPr>
          <a:xfrm>
            <a:off x="2504594" y="3291830"/>
            <a:ext cx="1275318" cy="43205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cxnSp>
        <p:nvCxnSpPr>
          <p:cNvPr id="20" name="19 Conector recto"/>
          <p:cNvCxnSpPr/>
          <p:nvPr/>
        </p:nvCxnSpPr>
        <p:spPr>
          <a:xfrm flipV="1">
            <a:off x="1922269" y="2916066"/>
            <a:ext cx="546957" cy="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12" name="102411 Rectángulo redondeado"/>
          <p:cNvSpPr/>
          <p:nvPr/>
        </p:nvSpPr>
        <p:spPr>
          <a:xfrm>
            <a:off x="2555776" y="875574"/>
            <a:ext cx="1224136" cy="43205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cxnSp>
        <p:nvCxnSpPr>
          <p:cNvPr id="21" name="20 Conector recto"/>
          <p:cNvCxnSpPr/>
          <p:nvPr/>
        </p:nvCxnSpPr>
        <p:spPr>
          <a:xfrm>
            <a:off x="1432754" y="3507854"/>
            <a:ext cx="103647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"/>
          <p:cNvCxnSpPr/>
          <p:nvPr/>
        </p:nvCxnSpPr>
        <p:spPr>
          <a:xfrm flipV="1">
            <a:off x="1461487" y="1604463"/>
            <a:ext cx="1007739" cy="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8 Grupo"/>
          <p:cNvGrpSpPr/>
          <p:nvPr/>
        </p:nvGrpSpPr>
        <p:grpSpPr>
          <a:xfrm rot="5400000">
            <a:off x="-475654" y="1786756"/>
            <a:ext cx="3240360" cy="1641996"/>
            <a:chOff x="2123728" y="2024439"/>
            <a:chExt cx="3744416" cy="1641996"/>
          </a:xfrm>
        </p:grpSpPr>
        <p:pic>
          <p:nvPicPr>
            <p:cNvPr id="102402" name="Picture 2" descr="Resultado de imagen para half circle png"/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999" t="9243" r="10171" b="49712"/>
            <a:stretch/>
          </p:blipFill>
          <p:spPr bwMode="auto">
            <a:xfrm>
              <a:off x="2123728" y="2024439"/>
              <a:ext cx="3744416" cy="1641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6 Elipse"/>
            <p:cNvSpPr/>
            <p:nvPr/>
          </p:nvSpPr>
          <p:spPr>
            <a:xfrm>
              <a:off x="2123728" y="3113807"/>
              <a:ext cx="288032" cy="259279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" name="10 Elipse"/>
            <p:cNvSpPr/>
            <p:nvPr/>
          </p:nvSpPr>
          <p:spPr>
            <a:xfrm>
              <a:off x="4203960" y="2038036"/>
              <a:ext cx="288031" cy="259279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11 Elipse"/>
            <p:cNvSpPr/>
            <p:nvPr/>
          </p:nvSpPr>
          <p:spPr>
            <a:xfrm>
              <a:off x="5580112" y="3176567"/>
              <a:ext cx="288032" cy="259279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9 Elipse"/>
            <p:cNvSpPr/>
            <p:nvPr/>
          </p:nvSpPr>
          <p:spPr>
            <a:xfrm>
              <a:off x="2692562" y="2427571"/>
              <a:ext cx="288031" cy="259279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12 Elipse"/>
            <p:cNvSpPr/>
            <p:nvPr/>
          </p:nvSpPr>
          <p:spPr>
            <a:xfrm>
              <a:off x="3416670" y="2067695"/>
              <a:ext cx="288031" cy="259279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13 Elipse"/>
            <p:cNvSpPr/>
            <p:nvPr/>
          </p:nvSpPr>
          <p:spPr>
            <a:xfrm>
              <a:off x="4869634" y="2370292"/>
              <a:ext cx="288031" cy="259279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8" name="17 Conector recto"/>
          <p:cNvCxnSpPr/>
          <p:nvPr/>
        </p:nvCxnSpPr>
        <p:spPr>
          <a:xfrm flipV="1">
            <a:off x="1922269" y="2231095"/>
            <a:ext cx="546957" cy="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8" name="Picture 3" descr="C:\Users\144489\AppData\Local\Temp\notes0A895E\IMG_004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026637"/>
            <a:ext cx="3992496" cy="3032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22 Conector recto"/>
          <p:cNvCxnSpPr/>
          <p:nvPr/>
        </p:nvCxnSpPr>
        <p:spPr>
          <a:xfrm>
            <a:off x="812082" y="4155926"/>
            <a:ext cx="165714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"/>
          <p:cNvCxnSpPr/>
          <p:nvPr/>
        </p:nvCxnSpPr>
        <p:spPr>
          <a:xfrm>
            <a:off x="911383" y="1105244"/>
            <a:ext cx="1557843" cy="696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24 CuadroTexto"/>
          <p:cNvSpPr txBox="1"/>
          <p:nvPr/>
        </p:nvSpPr>
        <p:spPr>
          <a:xfrm>
            <a:off x="2758051" y="1001218"/>
            <a:ext cx="877845" cy="2080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 smtClean="0">
                <a:solidFill>
                  <a:schemeClr val="bg1"/>
                </a:solidFill>
                <a:latin typeface="BNPP Sans" pitchFamily="50" charset="0"/>
              </a:rPr>
              <a:t>Lenguaje B1</a:t>
            </a:r>
          </a:p>
        </p:txBody>
      </p:sp>
      <p:sp>
        <p:nvSpPr>
          <p:cNvPr id="27" name="26 CuadroTexto"/>
          <p:cNvSpPr txBox="1"/>
          <p:nvPr/>
        </p:nvSpPr>
        <p:spPr>
          <a:xfrm>
            <a:off x="2555776" y="1571611"/>
            <a:ext cx="1224136" cy="2080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 smtClean="0">
                <a:solidFill>
                  <a:schemeClr val="bg1"/>
                </a:solidFill>
                <a:latin typeface="BNPP Sans" pitchFamily="50" charset="0"/>
              </a:rPr>
              <a:t>Aumentar Beneficios</a:t>
            </a:r>
          </a:p>
        </p:txBody>
      </p:sp>
      <p:sp>
        <p:nvSpPr>
          <p:cNvPr id="37" name="36 CuadroTexto"/>
          <p:cNvSpPr txBox="1"/>
          <p:nvPr/>
        </p:nvSpPr>
        <p:spPr>
          <a:xfrm>
            <a:off x="2555775" y="2067694"/>
            <a:ext cx="1224136" cy="2080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 smtClean="0">
                <a:solidFill>
                  <a:schemeClr val="bg1"/>
                </a:solidFill>
                <a:latin typeface="BNPP Sans" pitchFamily="50" charset="0"/>
              </a:rPr>
              <a:t>Menos </a:t>
            </a:r>
          </a:p>
          <a:p>
            <a:pPr algn="ctr"/>
            <a:r>
              <a:rPr lang="es-PE" sz="1000" dirty="0" smtClean="0">
                <a:solidFill>
                  <a:schemeClr val="bg1"/>
                </a:solidFill>
                <a:latin typeface="BNPP Sans" pitchFamily="50" charset="0"/>
              </a:rPr>
              <a:t>Exclusiones</a:t>
            </a:r>
          </a:p>
        </p:txBody>
      </p:sp>
      <p:sp>
        <p:nvSpPr>
          <p:cNvPr id="39" name="38 CuadroTexto"/>
          <p:cNvSpPr txBox="1"/>
          <p:nvPr/>
        </p:nvSpPr>
        <p:spPr>
          <a:xfrm>
            <a:off x="2278157" y="3387710"/>
            <a:ext cx="1728192" cy="305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 smtClean="0">
                <a:solidFill>
                  <a:schemeClr val="bg1"/>
                </a:solidFill>
                <a:latin typeface="BNPP Sans" pitchFamily="50" charset="0"/>
              </a:rPr>
              <a:t>Diseño adaptado </a:t>
            </a:r>
          </a:p>
          <a:p>
            <a:pPr algn="ctr"/>
            <a:r>
              <a:rPr lang="es-PE" sz="900" dirty="0" smtClean="0">
                <a:solidFill>
                  <a:schemeClr val="bg1"/>
                </a:solidFill>
                <a:latin typeface="BNPP Sans" pitchFamily="50" charset="0"/>
              </a:rPr>
              <a:t>al target</a:t>
            </a:r>
          </a:p>
        </p:txBody>
      </p:sp>
      <p:pic>
        <p:nvPicPr>
          <p:cNvPr id="40" name="Picture 4" descr="E:\Recursos\ICONOS POWER POINT\jobs-icon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97568" y="2208376"/>
            <a:ext cx="897896" cy="897896"/>
          </a:xfrm>
          <a:prstGeom prst="rect">
            <a:avLst/>
          </a:prstGeom>
          <a:noFill/>
        </p:spPr>
      </p:pic>
      <p:sp>
        <p:nvSpPr>
          <p:cNvPr id="41" name="3 Título"/>
          <p:cNvSpPr>
            <a:spLocks noGrp="1"/>
          </p:cNvSpPr>
          <p:nvPr>
            <p:ph type="title"/>
          </p:nvPr>
        </p:nvSpPr>
        <p:spPr>
          <a:xfrm>
            <a:off x="342578" y="87144"/>
            <a:ext cx="8460000" cy="559248"/>
          </a:xfrm>
        </p:spPr>
        <p:txBody>
          <a:bodyPr>
            <a:normAutofit/>
          </a:bodyPr>
          <a:lstStyle/>
          <a:p>
            <a:r>
              <a:rPr lang="es-ES_tradnl" sz="2400" dirty="0" smtClean="0">
                <a:solidFill>
                  <a:srgbClr val="339966"/>
                </a:solidFill>
                <a:latin typeface="BNPP Sans" pitchFamily="50" charset="0"/>
                <a:ea typeface="+mn-ea"/>
                <a:cs typeface="Arial" pitchFamily="34" charset="0"/>
              </a:rPr>
              <a:t>Enfocados en proteger el Valor </a:t>
            </a:r>
            <a:r>
              <a:rPr lang="es-ES_tradnl" sz="2400" dirty="0">
                <a:solidFill>
                  <a:srgbClr val="339966"/>
                </a:solidFill>
                <a:latin typeface="BNPP Sans" pitchFamily="50" charset="0"/>
                <a:ea typeface="+mn-ea"/>
                <a:cs typeface="Arial" pitchFamily="34" charset="0"/>
              </a:rPr>
              <a:t>Cliente</a:t>
            </a:r>
            <a:endParaRPr lang="es-PE" sz="2400" dirty="0">
              <a:solidFill>
                <a:srgbClr val="339966"/>
              </a:solidFill>
              <a:latin typeface="BNPP Sans" pitchFamily="50" charset="0"/>
              <a:ea typeface="+mn-ea"/>
              <a:cs typeface="Arial" pitchFamily="34" charset="0"/>
            </a:endParaRPr>
          </a:p>
        </p:txBody>
      </p:sp>
      <p:sp>
        <p:nvSpPr>
          <p:cNvPr id="52" name="51 CuadroTexto"/>
          <p:cNvSpPr txBox="1"/>
          <p:nvPr/>
        </p:nvSpPr>
        <p:spPr>
          <a:xfrm>
            <a:off x="2267744" y="4030650"/>
            <a:ext cx="1728192" cy="305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dirty="0" smtClean="0">
                <a:solidFill>
                  <a:schemeClr val="bg1"/>
                </a:solidFill>
                <a:latin typeface="BNPP Sans" pitchFamily="50" charset="0"/>
              </a:rPr>
              <a:t>Evitar ventas</a:t>
            </a:r>
          </a:p>
          <a:p>
            <a:pPr algn="ctr"/>
            <a:r>
              <a:rPr lang="es-PE" sz="1000" dirty="0" smtClean="0">
                <a:solidFill>
                  <a:schemeClr val="bg1"/>
                </a:solidFill>
                <a:latin typeface="BNPP Sans" pitchFamily="50" charset="0"/>
              </a:rPr>
              <a:t> indebidas</a:t>
            </a:r>
          </a:p>
        </p:txBody>
      </p:sp>
      <p:sp>
        <p:nvSpPr>
          <p:cNvPr id="58" name="57 Rectángulo redondeado"/>
          <p:cNvSpPr/>
          <p:nvPr/>
        </p:nvSpPr>
        <p:spPr>
          <a:xfrm>
            <a:off x="2555776" y="2643758"/>
            <a:ext cx="1224136" cy="432050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8" name="37 CuadroTexto"/>
          <p:cNvSpPr txBox="1"/>
          <p:nvPr/>
        </p:nvSpPr>
        <p:spPr>
          <a:xfrm>
            <a:off x="2303748" y="2728566"/>
            <a:ext cx="1728192" cy="305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 smtClean="0">
                <a:solidFill>
                  <a:schemeClr val="bg1"/>
                </a:solidFill>
                <a:latin typeface="BNPP Sans" pitchFamily="50" charset="0"/>
              </a:rPr>
              <a:t>Reducir carencias</a:t>
            </a:r>
          </a:p>
          <a:p>
            <a:pPr algn="ctr"/>
            <a:r>
              <a:rPr lang="es-PE" sz="900" dirty="0" smtClean="0">
                <a:solidFill>
                  <a:schemeClr val="bg1"/>
                </a:solidFill>
                <a:latin typeface="BNPP Sans" pitchFamily="50" charset="0"/>
              </a:rPr>
              <a:t> y/o deducibles</a:t>
            </a:r>
          </a:p>
        </p:txBody>
      </p:sp>
      <p:pic>
        <p:nvPicPr>
          <p:cNvPr id="21506" name="Picture 2" descr="Resultado de imagen para language icon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078" y="964455"/>
            <a:ext cx="427063" cy="295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Imagen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078" y="1484774"/>
            <a:ext cx="381723" cy="381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6" descr="Resultado de imagen para exclusions icon png"/>
          <p:cNvSpPr>
            <a:spLocks noChangeAspect="1" noChangeArrowheads="1"/>
          </p:cNvSpPr>
          <p:nvPr/>
        </p:nvSpPr>
        <p:spPr bwMode="auto">
          <a:xfrm>
            <a:off x="155575" y="-1081088"/>
            <a:ext cx="4191000" cy="2257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sp>
        <p:nvSpPr>
          <p:cNvPr id="3" name="AutoShape 8" descr="Resultado de imagen para exclusions icon png"/>
          <p:cNvSpPr>
            <a:spLocks noChangeAspect="1" noChangeArrowheads="1"/>
          </p:cNvSpPr>
          <p:nvPr/>
        </p:nvSpPr>
        <p:spPr bwMode="auto">
          <a:xfrm>
            <a:off x="307975" y="-928688"/>
            <a:ext cx="4191000" cy="2257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36" name="Picture 2" descr="Resultado de imagen para exclusions icon png"/>
          <p:cNvPicPr>
            <a:picLocks noChangeAspect="1" noChangeArrowheads="1"/>
          </p:cNvPicPr>
          <p:nvPr/>
        </p:nvPicPr>
        <p:blipFill>
          <a:blip r:embed="rId8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6970" y="2029502"/>
            <a:ext cx="695278" cy="374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4" name="Picture 10" descr="Imagen relacionad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0875" y="2665288"/>
            <a:ext cx="352762" cy="35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6" name="Picture 12" descr="Resultado de imagen para target icon 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5007" y="3336911"/>
            <a:ext cx="356497" cy="356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8" name="Picture 14" descr="Resultado de imagen para good sale icon png"/>
          <p:cNvPicPr>
            <a:picLocks noChangeAspect="1" noChangeArrowheads="1"/>
          </p:cNvPicPr>
          <p:nvPr/>
        </p:nvPicPr>
        <p:blipFill>
          <a:blip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5006" y="3961534"/>
            <a:ext cx="432237" cy="432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7645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21 Grupo"/>
          <p:cNvGrpSpPr/>
          <p:nvPr/>
        </p:nvGrpSpPr>
        <p:grpSpPr>
          <a:xfrm>
            <a:off x="3586365" y="1275606"/>
            <a:ext cx="1080120" cy="1440160"/>
            <a:chOff x="1187624" y="1131590"/>
            <a:chExt cx="1080120" cy="1440160"/>
          </a:xfrm>
        </p:grpSpPr>
        <p:sp>
          <p:nvSpPr>
            <p:cNvPr id="19" name="18 Rectángulo"/>
            <p:cNvSpPr/>
            <p:nvPr/>
          </p:nvSpPr>
          <p:spPr>
            <a:xfrm>
              <a:off x="1187624" y="1563638"/>
              <a:ext cx="1080120" cy="576064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0" name="19 Triángulo isósceles"/>
            <p:cNvSpPr/>
            <p:nvPr/>
          </p:nvSpPr>
          <p:spPr>
            <a:xfrm>
              <a:off x="1187624" y="1131590"/>
              <a:ext cx="1080120" cy="432048"/>
            </a:xfrm>
            <a:prstGeom prst="triangle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1" name="20 Triángulo isósceles"/>
            <p:cNvSpPr/>
            <p:nvPr/>
          </p:nvSpPr>
          <p:spPr>
            <a:xfrm rot="10800000">
              <a:off x="1187624" y="2139702"/>
              <a:ext cx="1080120" cy="432048"/>
            </a:xfrm>
            <a:prstGeom prst="triangle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22 Grupo"/>
          <p:cNvGrpSpPr/>
          <p:nvPr/>
        </p:nvGrpSpPr>
        <p:grpSpPr>
          <a:xfrm>
            <a:off x="4738493" y="1275606"/>
            <a:ext cx="1080120" cy="1440160"/>
            <a:chOff x="1187624" y="1131590"/>
            <a:chExt cx="1080120" cy="1440160"/>
          </a:xfrm>
          <a:solidFill>
            <a:schemeClr val="accent4"/>
          </a:solidFill>
        </p:grpSpPr>
        <p:sp>
          <p:nvSpPr>
            <p:cNvPr id="24" name="23 Rectángulo"/>
            <p:cNvSpPr/>
            <p:nvPr/>
          </p:nvSpPr>
          <p:spPr>
            <a:xfrm>
              <a:off x="1187624" y="1563638"/>
              <a:ext cx="1080120" cy="57606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5" name="24 Triángulo isósceles"/>
            <p:cNvSpPr/>
            <p:nvPr/>
          </p:nvSpPr>
          <p:spPr>
            <a:xfrm>
              <a:off x="1187624" y="1131590"/>
              <a:ext cx="1080120" cy="432048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6" name="25 Triángulo isósceles"/>
            <p:cNvSpPr/>
            <p:nvPr/>
          </p:nvSpPr>
          <p:spPr>
            <a:xfrm rot="10800000">
              <a:off x="1187624" y="2139702"/>
              <a:ext cx="1080120" cy="432048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7" name="26 Grupo"/>
          <p:cNvGrpSpPr/>
          <p:nvPr/>
        </p:nvGrpSpPr>
        <p:grpSpPr>
          <a:xfrm>
            <a:off x="4162429" y="2283718"/>
            <a:ext cx="1080120" cy="1440160"/>
            <a:chOff x="1187624" y="1131590"/>
            <a:chExt cx="1080120" cy="1440160"/>
          </a:xfrm>
          <a:solidFill>
            <a:schemeClr val="accent2"/>
          </a:solidFill>
        </p:grpSpPr>
        <p:sp>
          <p:nvSpPr>
            <p:cNvPr id="28" name="27 Rectángulo"/>
            <p:cNvSpPr/>
            <p:nvPr/>
          </p:nvSpPr>
          <p:spPr>
            <a:xfrm>
              <a:off x="1187624" y="1563638"/>
              <a:ext cx="1080120" cy="57606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9" name="28 Triángulo isósceles"/>
            <p:cNvSpPr/>
            <p:nvPr/>
          </p:nvSpPr>
          <p:spPr>
            <a:xfrm>
              <a:off x="1187624" y="1131590"/>
              <a:ext cx="1080120" cy="432048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0" name="29 Triángulo isósceles"/>
            <p:cNvSpPr/>
            <p:nvPr/>
          </p:nvSpPr>
          <p:spPr>
            <a:xfrm rot="10800000">
              <a:off x="1187624" y="2139702"/>
              <a:ext cx="1080120" cy="432048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01378" name="Picture 2" descr="Resultado de imagen para telesales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2428" y="1743304"/>
            <a:ext cx="600001" cy="427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80" name="Picture 4" descr="Resultado de imagen para digital  icon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448" y="2640076"/>
            <a:ext cx="720080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82" name="Picture 6" descr="Resultado de imagen para bank icon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0521" y="1646965"/>
            <a:ext cx="576064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3 Título"/>
          <p:cNvSpPr>
            <a:spLocks noGrp="1"/>
          </p:cNvSpPr>
          <p:nvPr>
            <p:ph type="title"/>
          </p:nvPr>
        </p:nvSpPr>
        <p:spPr>
          <a:xfrm>
            <a:off x="342578" y="87144"/>
            <a:ext cx="8460000" cy="559248"/>
          </a:xfrm>
        </p:spPr>
        <p:txBody>
          <a:bodyPr>
            <a:normAutofit/>
          </a:bodyPr>
          <a:lstStyle/>
          <a:p>
            <a:r>
              <a:rPr lang="es-ES_tradnl" sz="2400" dirty="0">
                <a:solidFill>
                  <a:srgbClr val="339966"/>
                </a:solidFill>
                <a:latin typeface="BNPP Sans" pitchFamily="50" charset="0"/>
                <a:ea typeface="+mn-ea"/>
                <a:cs typeface="Arial" pitchFamily="34" charset="0"/>
              </a:rPr>
              <a:t>Expertos en potenciar canales</a:t>
            </a:r>
            <a:endParaRPr lang="es-PE" sz="2400" dirty="0">
              <a:solidFill>
                <a:srgbClr val="339966"/>
              </a:solidFill>
              <a:latin typeface="BNPP Sans" pitchFamily="50" charset="0"/>
              <a:ea typeface="+mn-ea"/>
              <a:cs typeface="Arial" pitchFamily="34" charset="0"/>
            </a:endParaRPr>
          </a:p>
        </p:txBody>
      </p:sp>
      <p:cxnSp>
        <p:nvCxnSpPr>
          <p:cNvPr id="32" name="31 Conector recto"/>
          <p:cNvCxnSpPr/>
          <p:nvPr/>
        </p:nvCxnSpPr>
        <p:spPr>
          <a:xfrm>
            <a:off x="1870141" y="1491630"/>
            <a:ext cx="157220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36 Conector recto"/>
          <p:cNvCxnSpPr/>
          <p:nvPr/>
        </p:nvCxnSpPr>
        <p:spPr>
          <a:xfrm>
            <a:off x="1810101" y="2859782"/>
            <a:ext cx="1548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38 Conector recto"/>
          <p:cNvCxnSpPr/>
          <p:nvPr/>
        </p:nvCxnSpPr>
        <p:spPr>
          <a:xfrm>
            <a:off x="6058423" y="1520014"/>
            <a:ext cx="14762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34 Elipse"/>
          <p:cNvSpPr/>
          <p:nvPr/>
        </p:nvSpPr>
        <p:spPr>
          <a:xfrm>
            <a:off x="3370341" y="1446806"/>
            <a:ext cx="144016" cy="146439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rgbClr val="000000"/>
              </a:solidFill>
            </a:endParaRPr>
          </a:p>
        </p:txBody>
      </p:sp>
      <p:sp>
        <p:nvSpPr>
          <p:cNvPr id="41" name="40 Elipse"/>
          <p:cNvSpPr/>
          <p:nvPr/>
        </p:nvSpPr>
        <p:spPr>
          <a:xfrm>
            <a:off x="3370341" y="2786562"/>
            <a:ext cx="144016" cy="146439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rgbClr val="000000"/>
              </a:solidFill>
            </a:endParaRPr>
          </a:p>
        </p:txBody>
      </p:sp>
      <p:sp>
        <p:nvSpPr>
          <p:cNvPr id="42" name="41 Elipse"/>
          <p:cNvSpPr/>
          <p:nvPr/>
        </p:nvSpPr>
        <p:spPr>
          <a:xfrm>
            <a:off x="7462678" y="1416786"/>
            <a:ext cx="144016" cy="146439"/>
          </a:xfrm>
          <a:prstGeom prst="ellipse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rgbClr val="000000"/>
              </a:solidFill>
            </a:endParaRPr>
          </a:p>
        </p:txBody>
      </p:sp>
      <p:sp>
        <p:nvSpPr>
          <p:cNvPr id="36" name="35 CuadroTexto"/>
          <p:cNvSpPr txBox="1"/>
          <p:nvPr/>
        </p:nvSpPr>
        <p:spPr>
          <a:xfrm>
            <a:off x="6052688" y="1230872"/>
            <a:ext cx="1409990" cy="2880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400" b="1" dirty="0" smtClean="0">
                <a:solidFill>
                  <a:srgbClr val="000000"/>
                </a:solidFill>
                <a:latin typeface="BNPP Sans" pitchFamily="50" charset="0"/>
              </a:rPr>
              <a:t>Punto de venta</a:t>
            </a:r>
          </a:p>
        </p:txBody>
      </p:sp>
      <p:sp>
        <p:nvSpPr>
          <p:cNvPr id="44" name="43 CuadroTexto"/>
          <p:cNvSpPr txBox="1"/>
          <p:nvPr/>
        </p:nvSpPr>
        <p:spPr>
          <a:xfrm>
            <a:off x="1870141" y="1203599"/>
            <a:ext cx="1152128" cy="2880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400" b="1" dirty="0" err="1" smtClean="0">
                <a:solidFill>
                  <a:srgbClr val="000000"/>
                </a:solidFill>
                <a:latin typeface="BNPP Sans" pitchFamily="50" charset="0"/>
              </a:rPr>
              <a:t>Telemarketing</a:t>
            </a:r>
            <a:endParaRPr lang="es-PE" sz="1400" b="1" dirty="0" smtClean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45" name="44 CuadroTexto"/>
          <p:cNvSpPr txBox="1"/>
          <p:nvPr/>
        </p:nvSpPr>
        <p:spPr>
          <a:xfrm>
            <a:off x="1862489" y="2559091"/>
            <a:ext cx="1409990" cy="2880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400" b="1" dirty="0" smtClean="0">
                <a:solidFill>
                  <a:srgbClr val="000000"/>
                </a:solidFill>
                <a:latin typeface="BNPP Sans" pitchFamily="50" charset="0"/>
              </a:rPr>
              <a:t>Digital</a:t>
            </a:r>
          </a:p>
        </p:txBody>
      </p:sp>
      <p:sp>
        <p:nvSpPr>
          <p:cNvPr id="46" name="2 Rectángulo"/>
          <p:cNvSpPr>
            <a:spLocks noChangeArrowheads="1"/>
          </p:cNvSpPr>
          <p:nvPr/>
        </p:nvSpPr>
        <p:spPr bwMode="auto">
          <a:xfrm>
            <a:off x="1786165" y="3003798"/>
            <a:ext cx="1644217" cy="303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171450" indent="-171450" algn="just" eaLnBrk="1" hangingPunct="1">
              <a:spcBef>
                <a:spcPct val="0"/>
              </a:spcBef>
              <a:buClr>
                <a:srgbClr val="E6A01E"/>
              </a:buClr>
              <a:buSzTx/>
              <a:buFont typeface="Arial" panose="020B0604020202020204" pitchFamily="34" charset="0"/>
              <a:buChar char="•"/>
            </a:pPr>
            <a:r>
              <a:rPr lang="es-PE" altLang="es-PE" sz="900" dirty="0">
                <a:solidFill>
                  <a:srgbClr val="000000"/>
                </a:solidFill>
                <a:latin typeface="BNPP Sans" pitchFamily="50" charset="0"/>
              </a:rPr>
              <a:t>Innovación en productos y gestión de canales</a:t>
            </a:r>
          </a:p>
        </p:txBody>
      </p:sp>
      <p:sp>
        <p:nvSpPr>
          <p:cNvPr id="47" name="ZoneTexte 4"/>
          <p:cNvSpPr txBox="1">
            <a:spLocks noChangeArrowheads="1"/>
          </p:cNvSpPr>
          <p:nvPr/>
        </p:nvSpPr>
        <p:spPr bwMode="auto">
          <a:xfrm>
            <a:off x="1786165" y="3363838"/>
            <a:ext cx="1701137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171450" indent="-171450" algn="just" eaLnBrk="1" hangingPunct="1">
              <a:spcBef>
                <a:spcPct val="0"/>
              </a:spcBef>
              <a:buClr>
                <a:srgbClr val="E6A01E"/>
              </a:buClr>
              <a:buSzTx/>
              <a:buFont typeface="Arial" panose="020B0604020202020204" pitchFamily="34" charset="0"/>
              <a:buChar char="•"/>
            </a:pPr>
            <a:r>
              <a:rPr lang="en-US" altLang="es-PE" sz="900" dirty="0">
                <a:solidFill>
                  <a:srgbClr val="000000"/>
                </a:solidFill>
                <a:latin typeface="BNPP Sans" pitchFamily="50" charset="0"/>
              </a:rPr>
              <a:t>Lay out </a:t>
            </a:r>
            <a:r>
              <a:rPr lang="en-US" altLang="es-PE" sz="900" dirty="0" err="1">
                <a:solidFill>
                  <a:srgbClr val="000000"/>
                </a:solidFill>
                <a:latin typeface="BNPP Sans" pitchFamily="50" charset="0"/>
              </a:rPr>
              <a:t>digitales</a:t>
            </a:r>
            <a:r>
              <a:rPr lang="en-US" altLang="es-PE" sz="900" dirty="0">
                <a:solidFill>
                  <a:srgbClr val="000000"/>
                </a:solidFill>
                <a:latin typeface="BNPP Sans" pitchFamily="50" charset="0"/>
              </a:rPr>
              <a:t> </a:t>
            </a:r>
            <a:r>
              <a:rPr lang="en-US" altLang="es-PE" sz="900" dirty="0" err="1">
                <a:solidFill>
                  <a:srgbClr val="000000"/>
                </a:solidFill>
                <a:latin typeface="BNPP Sans" pitchFamily="50" charset="0"/>
              </a:rPr>
              <a:t>orientados</a:t>
            </a:r>
            <a:r>
              <a:rPr lang="en-US" altLang="es-PE" sz="900" dirty="0">
                <a:solidFill>
                  <a:srgbClr val="000000"/>
                </a:solidFill>
                <a:latin typeface="BNPP Sans" pitchFamily="50" charset="0"/>
              </a:rPr>
              <a:t> a </a:t>
            </a:r>
            <a:r>
              <a:rPr lang="en-US" altLang="es-PE" sz="900" dirty="0" err="1">
                <a:solidFill>
                  <a:srgbClr val="000000"/>
                </a:solidFill>
                <a:latin typeface="BNPP Sans" pitchFamily="50" charset="0"/>
              </a:rPr>
              <a:t>incrementar</a:t>
            </a:r>
            <a:r>
              <a:rPr lang="en-US" altLang="es-PE" sz="900" dirty="0">
                <a:solidFill>
                  <a:srgbClr val="000000"/>
                </a:solidFill>
                <a:latin typeface="BNPP Sans" pitchFamily="50" charset="0"/>
              </a:rPr>
              <a:t> las </a:t>
            </a:r>
            <a:r>
              <a:rPr lang="en-US" altLang="es-PE" sz="900" dirty="0" err="1">
                <a:solidFill>
                  <a:srgbClr val="000000"/>
                </a:solidFill>
                <a:latin typeface="BNPP Sans" pitchFamily="50" charset="0"/>
              </a:rPr>
              <a:t>ventas</a:t>
            </a:r>
            <a:endParaRPr lang="en-US" altLang="es-PE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48" name="ZoneTexte 7"/>
          <p:cNvSpPr txBox="1">
            <a:spLocks noChangeArrowheads="1"/>
          </p:cNvSpPr>
          <p:nvPr/>
        </p:nvSpPr>
        <p:spPr bwMode="auto">
          <a:xfrm>
            <a:off x="1786165" y="3810946"/>
            <a:ext cx="191983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171450" indent="-171450" algn="just" eaLnBrk="1" hangingPunct="1">
              <a:spcBef>
                <a:spcPct val="0"/>
              </a:spcBef>
              <a:buClr>
                <a:srgbClr val="E6A01E"/>
              </a:buClr>
              <a:buSzTx/>
              <a:buFont typeface="Arial" panose="020B0604020202020204" pitchFamily="34" charset="0"/>
              <a:buChar char="•"/>
            </a:pPr>
            <a:r>
              <a:rPr lang="en-US" altLang="es-PE" sz="900" dirty="0" err="1">
                <a:solidFill>
                  <a:srgbClr val="000000"/>
                </a:solidFill>
                <a:latin typeface="BNPP Sans" pitchFamily="50" charset="0"/>
              </a:rPr>
              <a:t>Completo</a:t>
            </a:r>
            <a:r>
              <a:rPr lang="en-US" altLang="es-PE" sz="900" dirty="0">
                <a:solidFill>
                  <a:srgbClr val="000000"/>
                </a:solidFill>
                <a:latin typeface="BNPP Sans" pitchFamily="50" charset="0"/>
              </a:rPr>
              <a:t> </a:t>
            </a:r>
            <a:r>
              <a:rPr lang="en-US" altLang="es-PE" sz="900" dirty="0" err="1">
                <a:solidFill>
                  <a:srgbClr val="000000"/>
                </a:solidFill>
                <a:latin typeface="BNPP Sans" pitchFamily="50" charset="0"/>
              </a:rPr>
              <a:t>acceso</a:t>
            </a:r>
            <a:r>
              <a:rPr lang="en-US" altLang="es-PE" sz="900" dirty="0">
                <a:solidFill>
                  <a:srgbClr val="000000"/>
                </a:solidFill>
                <a:latin typeface="BNPP Sans" pitchFamily="50" charset="0"/>
              </a:rPr>
              <a:t>  </a:t>
            </a:r>
            <a:r>
              <a:rPr lang="en-US" altLang="es-PE" sz="900" dirty="0" err="1">
                <a:solidFill>
                  <a:srgbClr val="000000"/>
                </a:solidFill>
                <a:latin typeface="BNPP Sans" pitchFamily="50" charset="0"/>
              </a:rPr>
              <a:t>omni</a:t>
            </a:r>
            <a:r>
              <a:rPr lang="en-US" altLang="es-PE" sz="900" dirty="0">
                <a:solidFill>
                  <a:srgbClr val="000000"/>
                </a:solidFill>
                <a:latin typeface="BNPP Sans" pitchFamily="50" charset="0"/>
              </a:rPr>
              <a:t>-canal</a:t>
            </a:r>
          </a:p>
        </p:txBody>
      </p:sp>
      <p:sp>
        <p:nvSpPr>
          <p:cNvPr id="49" name="48 CuadroTexto"/>
          <p:cNvSpPr txBox="1"/>
          <p:nvPr/>
        </p:nvSpPr>
        <p:spPr>
          <a:xfrm>
            <a:off x="6052688" y="1662055"/>
            <a:ext cx="1883862" cy="3240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es-PE" sz="900" dirty="0" smtClean="0">
                <a:solidFill>
                  <a:srgbClr val="000000"/>
                </a:solidFill>
                <a:latin typeface="BNPP Sans" pitchFamily="50" charset="0"/>
              </a:rPr>
              <a:t>2 modelos de acuerdo a la necesidad de cada socio:</a:t>
            </a:r>
          </a:p>
        </p:txBody>
      </p:sp>
      <p:sp>
        <p:nvSpPr>
          <p:cNvPr id="50" name="49 CuadroTexto"/>
          <p:cNvSpPr txBox="1"/>
          <p:nvPr/>
        </p:nvSpPr>
        <p:spPr>
          <a:xfrm>
            <a:off x="6052688" y="2004093"/>
            <a:ext cx="122413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just">
              <a:buClr>
                <a:srgbClr val="E6A01E"/>
              </a:buClr>
              <a:buFont typeface="Arial" panose="020B0604020202020204" pitchFamily="34" charset="0"/>
              <a:buChar char="•"/>
            </a:pPr>
            <a:r>
              <a:rPr lang="es-PE" sz="900" dirty="0" smtClean="0">
                <a:solidFill>
                  <a:srgbClr val="000000"/>
                </a:solidFill>
                <a:latin typeface="BNPP Sans" pitchFamily="50" charset="0"/>
              </a:rPr>
              <a:t>Supervisores</a:t>
            </a:r>
          </a:p>
          <a:p>
            <a:pPr marL="171450" indent="-171450" algn="just">
              <a:buClr>
                <a:srgbClr val="E6A01E"/>
              </a:buClr>
              <a:buFont typeface="Arial" panose="020B0604020202020204" pitchFamily="34" charset="0"/>
              <a:buChar char="•"/>
            </a:pPr>
            <a:r>
              <a:rPr lang="es-PE" sz="900" dirty="0" smtClean="0">
                <a:solidFill>
                  <a:srgbClr val="000000"/>
                </a:solidFill>
                <a:latin typeface="BNPP Sans" pitchFamily="50" charset="0"/>
              </a:rPr>
              <a:t>Capacitadores</a:t>
            </a:r>
          </a:p>
        </p:txBody>
      </p:sp>
      <p:pic>
        <p:nvPicPr>
          <p:cNvPr id="51" name="50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042" y="1868484"/>
            <a:ext cx="987390" cy="487242"/>
          </a:xfrm>
          <a:prstGeom prst="rect">
            <a:avLst/>
          </a:prstGeom>
        </p:spPr>
      </p:pic>
      <p:sp>
        <p:nvSpPr>
          <p:cNvPr id="52" name="51 CuadroTexto"/>
          <p:cNvSpPr txBox="1"/>
          <p:nvPr/>
        </p:nvSpPr>
        <p:spPr>
          <a:xfrm>
            <a:off x="1738187" y="1668399"/>
            <a:ext cx="1534291" cy="201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fr-FR"/>
            </a:defPPr>
            <a:lvl1pPr marL="171450" indent="-171450" algn="just">
              <a:spcBef>
                <a:spcPct val="0"/>
              </a:spcBef>
              <a:buClr>
                <a:srgbClr val="E6A01E"/>
              </a:buClr>
              <a:buSzTx/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  <a:latin typeface="BNPP Sans" pitchFamily="50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s-ES_tradnl" dirty="0"/>
              <a:t>Calidad de la Venta por teléfono</a:t>
            </a:r>
          </a:p>
          <a:p>
            <a:endParaRPr lang="es-PE" dirty="0"/>
          </a:p>
        </p:txBody>
      </p:sp>
      <p:sp>
        <p:nvSpPr>
          <p:cNvPr id="53" name="52 CuadroTexto"/>
          <p:cNvSpPr txBox="1"/>
          <p:nvPr/>
        </p:nvSpPr>
        <p:spPr>
          <a:xfrm>
            <a:off x="1743923" y="1995686"/>
            <a:ext cx="1338386" cy="216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fr-FR"/>
            </a:defPPr>
            <a:lvl1pPr marL="171450" indent="-171450" algn="just">
              <a:spcBef>
                <a:spcPct val="0"/>
              </a:spcBef>
              <a:buClr>
                <a:srgbClr val="E6A01E"/>
              </a:buClr>
              <a:buSzTx/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  <a:latin typeface="BNPP Sans" pitchFamily="50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s-ES_tradnl" dirty="0"/>
              <a:t>Gestión de la Base</a:t>
            </a:r>
          </a:p>
          <a:p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676221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143 Grupo"/>
          <p:cNvGrpSpPr/>
          <p:nvPr/>
        </p:nvGrpSpPr>
        <p:grpSpPr>
          <a:xfrm>
            <a:off x="4455385" y="3811658"/>
            <a:ext cx="1556775" cy="338742"/>
            <a:chOff x="4455361" y="1209278"/>
            <a:chExt cx="1556775" cy="338742"/>
          </a:xfrm>
          <a:solidFill>
            <a:schemeClr val="accent2"/>
          </a:solidFill>
        </p:grpSpPr>
        <p:sp>
          <p:nvSpPr>
            <p:cNvPr id="145" name="144 Rectángulo"/>
            <p:cNvSpPr/>
            <p:nvPr/>
          </p:nvSpPr>
          <p:spPr>
            <a:xfrm>
              <a:off x="4677881" y="1209280"/>
              <a:ext cx="1118255" cy="331910"/>
            </a:xfrm>
            <a:prstGeom prst="rect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  <p:sp>
          <p:nvSpPr>
            <p:cNvPr id="146" name="145 Triángulo isósceles"/>
            <p:cNvSpPr/>
            <p:nvPr/>
          </p:nvSpPr>
          <p:spPr>
            <a:xfrm rot="16200000">
              <a:off x="4399488" y="1265151"/>
              <a:ext cx="338742" cy="226995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  <p:sp>
          <p:nvSpPr>
            <p:cNvPr id="147" name="146 Triángulo isósceles"/>
            <p:cNvSpPr/>
            <p:nvPr/>
          </p:nvSpPr>
          <p:spPr>
            <a:xfrm rot="5400000">
              <a:off x="5742136" y="1271199"/>
              <a:ext cx="324000" cy="216000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39" name="138 Grupo"/>
          <p:cNvGrpSpPr/>
          <p:nvPr/>
        </p:nvGrpSpPr>
        <p:grpSpPr>
          <a:xfrm>
            <a:off x="4455385" y="2377024"/>
            <a:ext cx="1556775" cy="338742"/>
            <a:chOff x="4455361" y="1209278"/>
            <a:chExt cx="1556775" cy="338742"/>
          </a:xfrm>
          <a:solidFill>
            <a:srgbClr val="FFFF66"/>
          </a:solidFill>
        </p:grpSpPr>
        <p:sp>
          <p:nvSpPr>
            <p:cNvPr id="140" name="139 Rectángulo"/>
            <p:cNvSpPr/>
            <p:nvPr/>
          </p:nvSpPr>
          <p:spPr>
            <a:xfrm>
              <a:off x="4677881" y="1209280"/>
              <a:ext cx="1118255" cy="331910"/>
            </a:xfrm>
            <a:prstGeom prst="rect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  <p:sp>
          <p:nvSpPr>
            <p:cNvPr id="142" name="141 Triángulo isósceles"/>
            <p:cNvSpPr/>
            <p:nvPr/>
          </p:nvSpPr>
          <p:spPr>
            <a:xfrm rot="16200000">
              <a:off x="4399488" y="1265151"/>
              <a:ext cx="338742" cy="226995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  <p:sp>
          <p:nvSpPr>
            <p:cNvPr id="143" name="142 Triángulo isósceles"/>
            <p:cNvSpPr/>
            <p:nvPr/>
          </p:nvSpPr>
          <p:spPr>
            <a:xfrm rot="5400000">
              <a:off x="5742136" y="1271199"/>
              <a:ext cx="324000" cy="216000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34" name="133 Grupo"/>
          <p:cNvGrpSpPr/>
          <p:nvPr/>
        </p:nvGrpSpPr>
        <p:grpSpPr>
          <a:xfrm>
            <a:off x="4427984" y="720840"/>
            <a:ext cx="1556775" cy="338742"/>
            <a:chOff x="4455361" y="1209278"/>
            <a:chExt cx="1556775" cy="338742"/>
          </a:xfrm>
          <a:solidFill>
            <a:schemeClr val="accent1"/>
          </a:solidFill>
        </p:grpSpPr>
        <p:sp>
          <p:nvSpPr>
            <p:cNvPr id="135" name="134 Rectángulo"/>
            <p:cNvSpPr/>
            <p:nvPr/>
          </p:nvSpPr>
          <p:spPr>
            <a:xfrm>
              <a:off x="4677881" y="1209280"/>
              <a:ext cx="1118255" cy="331910"/>
            </a:xfrm>
            <a:prstGeom prst="rect">
              <a:avLst/>
            </a:pr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  <p:sp>
          <p:nvSpPr>
            <p:cNvPr id="137" name="136 Triángulo isósceles"/>
            <p:cNvSpPr/>
            <p:nvPr/>
          </p:nvSpPr>
          <p:spPr>
            <a:xfrm rot="16200000">
              <a:off x="4399488" y="1265151"/>
              <a:ext cx="338742" cy="226995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  <p:sp>
          <p:nvSpPr>
            <p:cNvPr id="138" name="137 Triángulo isósceles"/>
            <p:cNvSpPr/>
            <p:nvPr/>
          </p:nvSpPr>
          <p:spPr>
            <a:xfrm rot="5400000">
              <a:off x="5742136" y="1271199"/>
              <a:ext cx="324000" cy="216000"/>
            </a:xfrm>
            <a:prstGeom prst="triangl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6 Rectángulo"/>
          <p:cNvSpPr/>
          <p:nvPr/>
        </p:nvSpPr>
        <p:spPr>
          <a:xfrm>
            <a:off x="2960915" y="2701994"/>
            <a:ext cx="1141433" cy="1805599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O" sz="1400" dirty="0" smtClean="0">
              <a:solidFill>
                <a:srgbClr val="FFFFFF"/>
              </a:solidFill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2952001" y="1653368"/>
            <a:ext cx="1150347" cy="1017088"/>
          </a:xfrm>
          <a:prstGeom prst="rect">
            <a:avLst/>
          </a:prstGeom>
          <a:solidFill>
            <a:srgbClr val="DCDC1E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O" sz="1400" dirty="0" smtClean="0">
              <a:solidFill>
                <a:srgbClr val="FFFFFF"/>
              </a:solidFill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2952001" y="1077644"/>
            <a:ext cx="1150347" cy="504056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O" sz="1400" dirty="0" smtClean="0">
              <a:solidFill>
                <a:srgbClr val="FFFFFF"/>
              </a:solidFill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2952001" y="710728"/>
            <a:ext cx="1150347" cy="29490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O" sz="1400" dirty="0" smtClean="0">
              <a:solidFill>
                <a:srgbClr val="FFFFFF"/>
              </a:solidFill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6531375" y="3579862"/>
            <a:ext cx="1152128" cy="924126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O" sz="1400" dirty="0">
              <a:solidFill>
                <a:srgbClr val="FFFFFF"/>
              </a:solidFill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6549563" y="2210876"/>
            <a:ext cx="1148819" cy="1368000"/>
          </a:xfrm>
          <a:prstGeom prst="rect">
            <a:avLst/>
          </a:prstGeom>
          <a:solidFill>
            <a:srgbClr val="DCDC1E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O" sz="1400" dirty="0">
              <a:solidFill>
                <a:srgbClr val="FFFFFF"/>
              </a:solidFill>
            </a:endParaRPr>
          </a:p>
        </p:txBody>
      </p:sp>
      <p:sp>
        <p:nvSpPr>
          <p:cNvPr id="13" name="12 Rectángulo"/>
          <p:cNvSpPr/>
          <p:nvPr/>
        </p:nvSpPr>
        <p:spPr>
          <a:xfrm>
            <a:off x="6527389" y="1203598"/>
            <a:ext cx="1152128" cy="955177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O" sz="1400" dirty="0">
              <a:solidFill>
                <a:srgbClr val="FFFFFF"/>
              </a:solidFill>
            </a:endParaRPr>
          </a:p>
        </p:txBody>
      </p:sp>
      <p:sp>
        <p:nvSpPr>
          <p:cNvPr id="14" name="13 Rectángulo"/>
          <p:cNvSpPr/>
          <p:nvPr/>
        </p:nvSpPr>
        <p:spPr>
          <a:xfrm>
            <a:off x="6527389" y="720011"/>
            <a:ext cx="1160100" cy="43892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O" sz="1400" dirty="0" smtClean="0">
              <a:solidFill>
                <a:srgbClr val="FFFFFF"/>
              </a:solidFill>
            </a:endParaRPr>
          </a:p>
        </p:txBody>
      </p:sp>
      <p:pic>
        <p:nvPicPr>
          <p:cNvPr id="15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7812" y="2454092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" descr="Resultado de imagen para icono muñequito">
            <a:hlinkClick r:id="rId3"/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5117" y="2425078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225" y="171741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9134" y="1717418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5793" y="1714207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1417" y="1717417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9419" y="1954524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7815" y="216656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3039" y="2436904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5078" y="244613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5491" y="194207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5856" y="194207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9102" y="1950376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9096" y="1950376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3118" y="194207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58367" y="2174444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5123" y="244613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464" y="242003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9766" y="2177738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9418" y="2177737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9" descr="Resultado de imagen para icono muñequito">
            <a:hlinkClick r:id="rId3"/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8364" y="2186556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9136" y="218719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6568" y="136361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5368" y="135840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3281" y="135737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2234" y="114101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6290" y="114101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4971" y="114101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6295" y="114101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4956" y="1356630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0544" y="79824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3281" y="789612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1313" y="789612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47 CuadroTexto"/>
          <p:cNvSpPr txBox="1"/>
          <p:nvPr/>
        </p:nvSpPr>
        <p:spPr>
          <a:xfrm>
            <a:off x="1747348" y="443707"/>
            <a:ext cx="1456500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CO" sz="1400" dirty="0" smtClean="0">
                <a:solidFill>
                  <a:schemeClr val="bg1"/>
                </a:solidFill>
                <a:latin typeface="BNPP Sans" pitchFamily="50" charset="0"/>
              </a:rPr>
              <a:t>Mes Inicial</a:t>
            </a:r>
          </a:p>
        </p:txBody>
      </p:sp>
      <p:pic>
        <p:nvPicPr>
          <p:cNvPr id="49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225" y="276395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6249" y="2763956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3594" y="342656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4913" y="342656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969" y="342656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7650" y="342656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252" y="295669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3833" y="295669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62273" y="276570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8297" y="2765706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8889" y="3642587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0208" y="3634290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64264" y="3634290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2945" y="3634290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20625" y="298621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2313" y="3201904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2314" y="407463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9664" y="385861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8889" y="385861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0208" y="385861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64264" y="385861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2945" y="3858611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2313" y="299460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0309" y="3418266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3594" y="429065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5368" y="429065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8889" y="407463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0208" y="407463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3568" y="429065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2945" y="407463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3400" y="429065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3400" y="4074635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0638" y="4290659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3594" y="298409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86209" y="320224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528" y="320224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1584" y="320224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0265" y="3202243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9" descr="Resultado de imagen para icono muñequito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rgbClr val="FFB7B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8332" y="3642587"/>
            <a:ext cx="108026" cy="15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87 CuadroTexto"/>
          <p:cNvSpPr txBox="1"/>
          <p:nvPr/>
        </p:nvSpPr>
        <p:spPr>
          <a:xfrm>
            <a:off x="6403983" y="438855"/>
            <a:ext cx="1456500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CO" sz="1400" dirty="0" smtClean="0">
                <a:solidFill>
                  <a:schemeClr val="bg1"/>
                </a:solidFill>
                <a:latin typeface="BNPP Sans" pitchFamily="50" charset="0"/>
              </a:rPr>
              <a:t>Mes 5</a:t>
            </a:r>
          </a:p>
        </p:txBody>
      </p:sp>
      <p:sp>
        <p:nvSpPr>
          <p:cNvPr id="91" name="90 CuadroTexto"/>
          <p:cNvSpPr txBox="1"/>
          <p:nvPr/>
        </p:nvSpPr>
        <p:spPr>
          <a:xfrm rot="5400000">
            <a:off x="5044510" y="2036809"/>
            <a:ext cx="350463" cy="1007450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s-CO" sz="1000" b="1" dirty="0" smtClean="0">
                <a:latin typeface="BNPP Sans" pitchFamily="50" charset="0"/>
              </a:rPr>
              <a:t>APOYO A</a:t>
            </a:r>
            <a:r>
              <a:rPr lang="es-CO" sz="1000" dirty="0" smtClean="0">
                <a:latin typeface="BNPP Sans" pitchFamily="50" charset="0"/>
              </a:rPr>
              <a:t> </a:t>
            </a:r>
            <a:r>
              <a:rPr lang="es-CO" sz="1000" b="1" dirty="0" smtClean="0">
                <a:latin typeface="BNPP Sans" pitchFamily="50" charset="0"/>
              </a:rPr>
              <a:t>JEFATURA</a:t>
            </a:r>
          </a:p>
        </p:txBody>
      </p:sp>
      <p:sp>
        <p:nvSpPr>
          <p:cNvPr id="92" name="91 CuadroTexto"/>
          <p:cNvSpPr txBox="1"/>
          <p:nvPr/>
        </p:nvSpPr>
        <p:spPr>
          <a:xfrm rot="5400000">
            <a:off x="5364720" y="1447630"/>
            <a:ext cx="683803" cy="710451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s-CO" sz="1000" b="1" dirty="0" smtClean="0">
                <a:solidFill>
                  <a:schemeClr val="bg1"/>
                </a:solidFill>
                <a:latin typeface="BNPP Sans" pitchFamily="50" charset="0"/>
              </a:rPr>
              <a:t>REFUERZO</a:t>
            </a:r>
          </a:p>
        </p:txBody>
      </p:sp>
      <p:sp>
        <p:nvSpPr>
          <p:cNvPr id="95" name="94 CuadroTexto"/>
          <p:cNvSpPr txBox="1"/>
          <p:nvPr/>
        </p:nvSpPr>
        <p:spPr>
          <a:xfrm rot="5400000">
            <a:off x="1080814" y="1696269"/>
            <a:ext cx="683803" cy="902231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s-CO" sz="1100" b="1" dirty="0" smtClean="0">
                <a:solidFill>
                  <a:schemeClr val="bg1"/>
                </a:solidFill>
                <a:latin typeface="BNPP Sans" pitchFamily="50" charset="0"/>
              </a:rPr>
              <a:t>APOYO A JEFATURA</a:t>
            </a:r>
          </a:p>
        </p:txBody>
      </p:sp>
      <p:sp>
        <p:nvSpPr>
          <p:cNvPr id="97" name="96 CuadroTexto"/>
          <p:cNvSpPr txBox="1"/>
          <p:nvPr/>
        </p:nvSpPr>
        <p:spPr>
          <a:xfrm rot="5400000">
            <a:off x="1107885" y="375551"/>
            <a:ext cx="608934" cy="990704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s-CO" sz="1100" b="1" dirty="0" smtClean="0">
                <a:solidFill>
                  <a:schemeClr val="bg1"/>
                </a:solidFill>
                <a:latin typeface="BNPP Sans" pitchFamily="50" charset="0"/>
              </a:rPr>
              <a:t>FIDELIZACIÓN</a:t>
            </a:r>
          </a:p>
        </p:txBody>
      </p:sp>
      <p:sp>
        <p:nvSpPr>
          <p:cNvPr id="98" name="97 Elipse"/>
          <p:cNvSpPr/>
          <p:nvPr/>
        </p:nvSpPr>
        <p:spPr>
          <a:xfrm>
            <a:off x="2267744" y="1924659"/>
            <a:ext cx="620967" cy="405392"/>
          </a:xfrm>
          <a:prstGeom prst="ellipse">
            <a:avLst/>
          </a:prstGeom>
          <a:solidFill>
            <a:srgbClr val="DCDC1E"/>
          </a:solidFill>
          <a:ln w="317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1000" b="1" dirty="0">
                <a:solidFill>
                  <a:schemeClr val="tx1"/>
                </a:solidFill>
                <a:latin typeface="BNPP Sans" pitchFamily="50" charset="0"/>
              </a:rPr>
              <a:t>480</a:t>
            </a:r>
          </a:p>
        </p:txBody>
      </p:sp>
      <p:sp>
        <p:nvSpPr>
          <p:cNvPr id="99" name="98 Elipse"/>
          <p:cNvSpPr/>
          <p:nvPr/>
        </p:nvSpPr>
        <p:spPr>
          <a:xfrm>
            <a:off x="2294850" y="1220038"/>
            <a:ext cx="620966" cy="347935"/>
          </a:xfrm>
          <a:prstGeom prst="ellipse">
            <a:avLst/>
          </a:prstGeom>
          <a:solidFill>
            <a:schemeClr val="accent4"/>
          </a:solidFill>
          <a:ln w="317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1000" b="1" dirty="0">
                <a:solidFill>
                  <a:schemeClr val="tx1"/>
                </a:solidFill>
                <a:latin typeface="BNPP Sans" pitchFamily="50" charset="0"/>
              </a:rPr>
              <a:t>170</a:t>
            </a:r>
          </a:p>
        </p:txBody>
      </p:sp>
      <p:sp>
        <p:nvSpPr>
          <p:cNvPr id="100" name="99 Elipse"/>
          <p:cNvSpPr/>
          <p:nvPr/>
        </p:nvSpPr>
        <p:spPr>
          <a:xfrm>
            <a:off x="2314088" y="684549"/>
            <a:ext cx="601728" cy="362437"/>
          </a:xfrm>
          <a:prstGeom prst="ellipse">
            <a:avLst/>
          </a:prstGeom>
          <a:solidFill>
            <a:schemeClr val="accent1"/>
          </a:solidFill>
          <a:ln w="317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1000" b="1" dirty="0">
                <a:solidFill>
                  <a:schemeClr val="tx1"/>
                </a:solidFill>
                <a:latin typeface="BNPP Sans" pitchFamily="50" charset="0"/>
              </a:rPr>
              <a:t>70</a:t>
            </a:r>
          </a:p>
        </p:txBody>
      </p:sp>
      <p:sp>
        <p:nvSpPr>
          <p:cNvPr id="104" name="103 Elipse"/>
          <p:cNvSpPr/>
          <p:nvPr/>
        </p:nvSpPr>
        <p:spPr>
          <a:xfrm>
            <a:off x="7812360" y="3831112"/>
            <a:ext cx="620966" cy="421625"/>
          </a:xfrm>
          <a:prstGeom prst="ellipse">
            <a:avLst/>
          </a:prstGeom>
          <a:solidFill>
            <a:schemeClr val="accent2"/>
          </a:solidFill>
          <a:ln w="317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1000" b="1" dirty="0">
                <a:solidFill>
                  <a:schemeClr val="tx1"/>
                </a:solidFill>
                <a:latin typeface="BNPP Sans" pitchFamily="50" charset="0"/>
              </a:rPr>
              <a:t>4</a:t>
            </a:r>
            <a:r>
              <a:rPr lang="es-PE" sz="1000" b="1" dirty="0" smtClean="0">
                <a:solidFill>
                  <a:schemeClr val="tx1"/>
                </a:solidFill>
                <a:latin typeface="BNPP Sans" pitchFamily="50" charset="0"/>
              </a:rPr>
              <a:t>80</a:t>
            </a:r>
          </a:p>
        </p:txBody>
      </p:sp>
      <p:sp>
        <p:nvSpPr>
          <p:cNvPr id="105" name="104 Elipse"/>
          <p:cNvSpPr/>
          <p:nvPr/>
        </p:nvSpPr>
        <p:spPr>
          <a:xfrm>
            <a:off x="7836167" y="2648745"/>
            <a:ext cx="620967" cy="405392"/>
          </a:xfrm>
          <a:prstGeom prst="ellipse">
            <a:avLst/>
          </a:prstGeom>
          <a:solidFill>
            <a:srgbClr val="DCDC1E"/>
          </a:solidFill>
          <a:ln w="317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1000" b="1" dirty="0" smtClean="0">
                <a:solidFill>
                  <a:schemeClr val="tx1"/>
                </a:solidFill>
                <a:latin typeface="BNPP Sans" pitchFamily="50" charset="0"/>
              </a:rPr>
              <a:t>600</a:t>
            </a:r>
          </a:p>
        </p:txBody>
      </p:sp>
      <p:sp>
        <p:nvSpPr>
          <p:cNvPr id="106" name="105 Elipse"/>
          <p:cNvSpPr/>
          <p:nvPr/>
        </p:nvSpPr>
        <p:spPr>
          <a:xfrm>
            <a:off x="7812360" y="1434557"/>
            <a:ext cx="620966" cy="347935"/>
          </a:xfrm>
          <a:prstGeom prst="ellipse">
            <a:avLst/>
          </a:prstGeom>
          <a:solidFill>
            <a:schemeClr val="accent3"/>
          </a:solidFill>
          <a:ln w="317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1000" b="1" dirty="0" smtClean="0">
                <a:solidFill>
                  <a:schemeClr val="tx1"/>
                </a:solidFill>
                <a:latin typeface="BNPP Sans" pitchFamily="50" charset="0"/>
              </a:rPr>
              <a:t>350</a:t>
            </a:r>
          </a:p>
        </p:txBody>
      </p:sp>
      <p:sp>
        <p:nvSpPr>
          <p:cNvPr id="107" name="106 Elipse"/>
          <p:cNvSpPr/>
          <p:nvPr/>
        </p:nvSpPr>
        <p:spPr>
          <a:xfrm>
            <a:off x="7812360" y="772755"/>
            <a:ext cx="601728" cy="362437"/>
          </a:xfrm>
          <a:prstGeom prst="ellipse">
            <a:avLst/>
          </a:prstGeom>
          <a:solidFill>
            <a:schemeClr val="accent1"/>
          </a:solidFill>
          <a:ln w="317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1000" b="1" dirty="0" smtClean="0">
                <a:solidFill>
                  <a:schemeClr val="tx1"/>
                </a:solidFill>
                <a:latin typeface="BNPP Sans" pitchFamily="50" charset="0"/>
              </a:rPr>
              <a:t>100</a:t>
            </a:r>
          </a:p>
        </p:txBody>
      </p:sp>
      <p:sp>
        <p:nvSpPr>
          <p:cNvPr id="108" name="107 CuadroTexto"/>
          <p:cNvSpPr txBox="1"/>
          <p:nvPr/>
        </p:nvSpPr>
        <p:spPr>
          <a:xfrm>
            <a:off x="8491670" y="3967961"/>
            <a:ext cx="256794" cy="2133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b="1" dirty="0" smtClean="0">
                <a:latin typeface="BNPP Sans" pitchFamily="50" charset="0"/>
              </a:rPr>
              <a:t>30%</a:t>
            </a:r>
          </a:p>
        </p:txBody>
      </p:sp>
      <p:sp>
        <p:nvSpPr>
          <p:cNvPr id="110" name="109 CuadroTexto"/>
          <p:cNvSpPr txBox="1"/>
          <p:nvPr/>
        </p:nvSpPr>
        <p:spPr>
          <a:xfrm>
            <a:off x="8491670" y="1530846"/>
            <a:ext cx="256794" cy="1865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b="1" dirty="0" smtClean="0">
                <a:latin typeface="BNPP Sans" pitchFamily="50" charset="0"/>
              </a:rPr>
              <a:t>23</a:t>
            </a:r>
            <a:r>
              <a:rPr lang="es-PE" sz="1000" dirty="0" smtClean="0">
                <a:latin typeface="BNPP Sans" pitchFamily="50" charset="0"/>
              </a:rPr>
              <a:t>%</a:t>
            </a:r>
          </a:p>
        </p:txBody>
      </p:sp>
      <p:sp>
        <p:nvSpPr>
          <p:cNvPr id="111" name="110 CuadroTexto"/>
          <p:cNvSpPr txBox="1"/>
          <p:nvPr/>
        </p:nvSpPr>
        <p:spPr>
          <a:xfrm>
            <a:off x="8532441" y="852731"/>
            <a:ext cx="169668" cy="1863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b="1" dirty="0" smtClean="0">
                <a:latin typeface="BNPP Sans" pitchFamily="50" charset="0"/>
              </a:rPr>
              <a:t>7%</a:t>
            </a:r>
          </a:p>
        </p:txBody>
      </p:sp>
      <p:sp>
        <p:nvSpPr>
          <p:cNvPr id="112" name="111 Elipse"/>
          <p:cNvSpPr/>
          <p:nvPr/>
        </p:nvSpPr>
        <p:spPr>
          <a:xfrm>
            <a:off x="2222842" y="3358314"/>
            <a:ext cx="620966" cy="421625"/>
          </a:xfrm>
          <a:prstGeom prst="ellipse">
            <a:avLst/>
          </a:prstGeom>
          <a:solidFill>
            <a:schemeClr val="accent2"/>
          </a:solidFill>
          <a:ln w="317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1000" b="1" dirty="0" smtClean="0">
                <a:solidFill>
                  <a:schemeClr val="tx1"/>
                </a:solidFill>
                <a:latin typeface="BNPP Sans" pitchFamily="50" charset="0"/>
              </a:rPr>
              <a:t>780</a:t>
            </a:r>
          </a:p>
        </p:txBody>
      </p:sp>
      <p:cxnSp>
        <p:nvCxnSpPr>
          <p:cNvPr id="114" name="113 Conector recto"/>
          <p:cNvCxnSpPr/>
          <p:nvPr/>
        </p:nvCxnSpPr>
        <p:spPr>
          <a:xfrm flipV="1">
            <a:off x="2384131" y="1608524"/>
            <a:ext cx="1929519" cy="14089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14 Conector recto"/>
          <p:cNvCxnSpPr/>
          <p:nvPr/>
        </p:nvCxnSpPr>
        <p:spPr>
          <a:xfrm>
            <a:off x="5986108" y="2187700"/>
            <a:ext cx="2042276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115 CuadroTexto"/>
          <p:cNvSpPr txBox="1"/>
          <p:nvPr/>
        </p:nvSpPr>
        <p:spPr>
          <a:xfrm>
            <a:off x="4226669" y="1900943"/>
            <a:ext cx="561355" cy="27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2000" b="1" dirty="0" smtClean="0"/>
              <a:t>16%</a:t>
            </a:r>
          </a:p>
        </p:txBody>
      </p:sp>
      <p:sp>
        <p:nvSpPr>
          <p:cNvPr id="117" name="116 CuadroTexto"/>
          <p:cNvSpPr txBox="1"/>
          <p:nvPr/>
        </p:nvSpPr>
        <p:spPr>
          <a:xfrm>
            <a:off x="8123400" y="1971017"/>
            <a:ext cx="564866" cy="3283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2000" b="1" dirty="0" smtClean="0"/>
              <a:t>30%</a:t>
            </a:r>
          </a:p>
        </p:txBody>
      </p:sp>
      <p:pic>
        <p:nvPicPr>
          <p:cNvPr id="118" name="Picture 2" descr="Imagen relacionad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39" y="1300356"/>
            <a:ext cx="460980" cy="460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119 CuadroTexto"/>
          <p:cNvSpPr txBox="1"/>
          <p:nvPr/>
        </p:nvSpPr>
        <p:spPr>
          <a:xfrm>
            <a:off x="160834" y="1917112"/>
            <a:ext cx="1466115" cy="15697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es-PE" sz="1200" dirty="0" smtClean="0">
                <a:latin typeface="BNPP Sans" pitchFamily="50" charset="0"/>
              </a:rPr>
              <a:t>Iniciamos el 1er mes el proceso de capacitación con el </a:t>
            </a:r>
            <a:r>
              <a:rPr lang="es-PE" sz="1200" b="1" dirty="0" smtClean="0">
                <a:latin typeface="BNPP Sans" pitchFamily="50" charset="0"/>
              </a:rPr>
              <a:t>16% de vendedores comprometidos </a:t>
            </a:r>
            <a:r>
              <a:rPr lang="es-PE" sz="1200" dirty="0" smtClean="0">
                <a:latin typeface="BNPP Sans" pitchFamily="50" charset="0"/>
              </a:rPr>
              <a:t>con la meta, al 5to mes </a:t>
            </a:r>
            <a:r>
              <a:rPr lang="es-PE" sz="1200" b="1" dirty="0" smtClean="0">
                <a:latin typeface="BNPP Sans" pitchFamily="50" charset="0"/>
              </a:rPr>
              <a:t>alcanzamos el 30%</a:t>
            </a:r>
          </a:p>
        </p:txBody>
      </p:sp>
      <p:sp>
        <p:nvSpPr>
          <p:cNvPr id="3" name="2 Rectángulo"/>
          <p:cNvSpPr/>
          <p:nvPr/>
        </p:nvSpPr>
        <p:spPr>
          <a:xfrm>
            <a:off x="35496" y="1815563"/>
            <a:ext cx="1656184" cy="178923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1891466" y="3502546"/>
            <a:ext cx="329971" cy="1526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00" b="1" dirty="0" smtClean="0">
                <a:latin typeface="BNPP Sans" pitchFamily="50" charset="0"/>
              </a:rPr>
              <a:t>52%</a:t>
            </a:r>
          </a:p>
        </p:txBody>
      </p:sp>
      <p:sp>
        <p:nvSpPr>
          <p:cNvPr id="121" name="120 CuadroTexto"/>
          <p:cNvSpPr txBox="1"/>
          <p:nvPr/>
        </p:nvSpPr>
        <p:spPr>
          <a:xfrm>
            <a:off x="1971693" y="2026532"/>
            <a:ext cx="256794" cy="2173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b="1" dirty="0">
                <a:latin typeface="BNPP Sans" pitchFamily="50" charset="0"/>
              </a:rPr>
              <a:t>3</a:t>
            </a:r>
            <a:r>
              <a:rPr lang="es-PE" sz="1000" b="1" dirty="0" smtClean="0">
                <a:latin typeface="BNPP Sans" pitchFamily="50" charset="0"/>
              </a:rPr>
              <a:t>2</a:t>
            </a:r>
            <a:r>
              <a:rPr lang="es-PE" sz="1000" dirty="0" smtClean="0">
                <a:latin typeface="BNPP Sans" pitchFamily="50" charset="0"/>
              </a:rPr>
              <a:t>%</a:t>
            </a:r>
          </a:p>
        </p:txBody>
      </p:sp>
      <p:sp>
        <p:nvSpPr>
          <p:cNvPr id="122" name="121 CuadroTexto"/>
          <p:cNvSpPr txBox="1"/>
          <p:nvPr/>
        </p:nvSpPr>
        <p:spPr>
          <a:xfrm>
            <a:off x="1971693" y="1341354"/>
            <a:ext cx="251149" cy="119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b="1" dirty="0" smtClean="0">
                <a:latin typeface="BNPP Sans" pitchFamily="50" charset="0"/>
              </a:rPr>
              <a:t>11</a:t>
            </a:r>
            <a:r>
              <a:rPr lang="es-PE" sz="1000" dirty="0" smtClean="0">
                <a:latin typeface="BNPP Sans" pitchFamily="50" charset="0"/>
              </a:rPr>
              <a:t>%</a:t>
            </a:r>
          </a:p>
        </p:txBody>
      </p:sp>
      <p:sp>
        <p:nvSpPr>
          <p:cNvPr id="123" name="122 CuadroTexto"/>
          <p:cNvSpPr txBox="1"/>
          <p:nvPr/>
        </p:nvSpPr>
        <p:spPr>
          <a:xfrm>
            <a:off x="2038588" y="759407"/>
            <a:ext cx="184254" cy="1642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b="1" dirty="0" smtClean="0">
                <a:latin typeface="BNPP Sans" pitchFamily="50" charset="0"/>
              </a:rPr>
              <a:t>5%</a:t>
            </a:r>
          </a:p>
        </p:txBody>
      </p:sp>
      <p:sp>
        <p:nvSpPr>
          <p:cNvPr id="124" name="123 CuadroTexto"/>
          <p:cNvSpPr txBox="1"/>
          <p:nvPr/>
        </p:nvSpPr>
        <p:spPr>
          <a:xfrm rot="5400000">
            <a:off x="5124701" y="3553506"/>
            <a:ext cx="213030" cy="841807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s-CO" sz="1100" b="1" dirty="0" smtClean="0">
                <a:latin typeface="BNPP Sans" pitchFamily="50" charset="0"/>
              </a:rPr>
              <a:t>PRIORIDAD</a:t>
            </a:r>
          </a:p>
        </p:txBody>
      </p:sp>
      <p:sp>
        <p:nvSpPr>
          <p:cNvPr id="125" name="124 CuadroTexto"/>
          <p:cNvSpPr txBox="1"/>
          <p:nvPr/>
        </p:nvSpPr>
        <p:spPr>
          <a:xfrm>
            <a:off x="6994281" y="4629423"/>
            <a:ext cx="2258239" cy="1745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CO" sz="900" b="1" dirty="0" smtClean="0">
                <a:latin typeface="BNPP Sans" pitchFamily="50" charset="0"/>
              </a:rPr>
              <a:t>Número de  Asesor  / Mes</a:t>
            </a:r>
          </a:p>
        </p:txBody>
      </p:sp>
      <p:sp>
        <p:nvSpPr>
          <p:cNvPr id="126" name="125 CuadroTexto"/>
          <p:cNvSpPr txBox="1"/>
          <p:nvPr/>
        </p:nvSpPr>
        <p:spPr>
          <a:xfrm>
            <a:off x="8515421" y="2811452"/>
            <a:ext cx="256794" cy="1923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b="1" dirty="0" smtClean="0">
                <a:latin typeface="BNPP Sans" pitchFamily="50" charset="0"/>
              </a:rPr>
              <a:t>40</a:t>
            </a:r>
            <a:r>
              <a:rPr lang="es-PE" sz="1000" dirty="0" smtClean="0">
                <a:latin typeface="BNPP Sans" pitchFamily="50" charset="0"/>
              </a:rPr>
              <a:t>%</a:t>
            </a:r>
          </a:p>
        </p:txBody>
      </p:sp>
      <p:sp>
        <p:nvSpPr>
          <p:cNvPr id="4" name="3 Triángulo isósceles"/>
          <p:cNvSpPr/>
          <p:nvPr/>
        </p:nvSpPr>
        <p:spPr>
          <a:xfrm>
            <a:off x="8772215" y="2789823"/>
            <a:ext cx="108000" cy="108000"/>
          </a:xfrm>
          <a:prstGeom prst="triangle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27" name="126 Triángulo isósceles"/>
          <p:cNvSpPr/>
          <p:nvPr/>
        </p:nvSpPr>
        <p:spPr>
          <a:xfrm flipV="1">
            <a:off x="8748463" y="3981029"/>
            <a:ext cx="131751" cy="102889"/>
          </a:xfrm>
          <a:prstGeom prst="triangle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28" name="127 Triángulo isósceles"/>
          <p:cNvSpPr/>
          <p:nvPr/>
        </p:nvSpPr>
        <p:spPr>
          <a:xfrm>
            <a:off x="8784480" y="1519403"/>
            <a:ext cx="108000" cy="108000"/>
          </a:xfrm>
          <a:prstGeom prst="triangle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29" name="128 Triángulo isósceles"/>
          <p:cNvSpPr/>
          <p:nvPr/>
        </p:nvSpPr>
        <p:spPr>
          <a:xfrm>
            <a:off x="8784480" y="843558"/>
            <a:ext cx="108000" cy="108000"/>
          </a:xfrm>
          <a:prstGeom prst="triangle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30" name="Rectangle 2"/>
          <p:cNvSpPr>
            <a:spLocks noGrp="1" noChangeArrowheads="1"/>
          </p:cNvSpPr>
          <p:nvPr>
            <p:ph type="title"/>
          </p:nvPr>
        </p:nvSpPr>
        <p:spPr>
          <a:xfrm>
            <a:off x="323527" y="91048"/>
            <a:ext cx="8731671" cy="475388"/>
          </a:xfrm>
        </p:spPr>
        <p:txBody>
          <a:bodyPr>
            <a:noAutofit/>
          </a:bodyPr>
          <a:lstStyle/>
          <a:p>
            <a:r>
              <a:rPr lang="es-CO" altLang="fr-FR" sz="2000" dirty="0">
                <a:latin typeface="BNPP Sans" pitchFamily="50" charset="0"/>
              </a:rPr>
              <a:t>La capacitación y seguimiento de ventas, lleva al </a:t>
            </a:r>
            <a:r>
              <a:rPr lang="es-CO" altLang="fr-FR" sz="2000" dirty="0" smtClean="0">
                <a:latin typeface="BNPP Sans" pitchFamily="50" charset="0"/>
              </a:rPr>
              <a:t>cumplimiento </a:t>
            </a:r>
            <a:r>
              <a:rPr lang="es-CO" altLang="fr-FR" sz="2000" dirty="0">
                <a:latin typeface="BNPP Sans" pitchFamily="50" charset="0"/>
              </a:rPr>
              <a:t>de la meta</a:t>
            </a:r>
          </a:p>
        </p:txBody>
      </p:sp>
      <p:sp>
        <p:nvSpPr>
          <p:cNvPr id="132" name="131 CuadroTexto"/>
          <p:cNvSpPr txBox="1"/>
          <p:nvPr/>
        </p:nvSpPr>
        <p:spPr>
          <a:xfrm rot="5400000">
            <a:off x="5129952" y="402206"/>
            <a:ext cx="197647" cy="990704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s-CO" sz="1050" b="1" dirty="0" smtClean="0">
                <a:latin typeface="BNPP Sans" pitchFamily="50" charset="0"/>
              </a:rPr>
              <a:t>FIDELIZACIÓN</a:t>
            </a:r>
          </a:p>
        </p:txBody>
      </p:sp>
      <p:grpSp>
        <p:nvGrpSpPr>
          <p:cNvPr id="93" name="92 Grupo"/>
          <p:cNvGrpSpPr/>
          <p:nvPr/>
        </p:nvGrpSpPr>
        <p:grpSpPr>
          <a:xfrm>
            <a:off x="4455361" y="1209278"/>
            <a:ext cx="1556775" cy="342131"/>
            <a:chOff x="4455361" y="1209278"/>
            <a:chExt cx="1556775" cy="342131"/>
          </a:xfrm>
        </p:grpSpPr>
        <p:sp>
          <p:nvSpPr>
            <p:cNvPr id="89" name="88 Rectángulo"/>
            <p:cNvSpPr/>
            <p:nvPr/>
          </p:nvSpPr>
          <p:spPr>
            <a:xfrm>
              <a:off x="4677881" y="1209280"/>
              <a:ext cx="1118255" cy="331910"/>
            </a:xfrm>
            <a:prstGeom prst="rect">
              <a:avLst/>
            </a:prstGeom>
            <a:solidFill>
              <a:schemeClr val="accent3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  <p:sp>
          <p:nvSpPr>
            <p:cNvPr id="131" name="130 CuadroTexto"/>
            <p:cNvSpPr txBox="1"/>
            <p:nvPr/>
          </p:nvSpPr>
          <p:spPr>
            <a:xfrm rot="5400000">
              <a:off x="5114171" y="1045928"/>
              <a:ext cx="300511" cy="710451"/>
            </a:xfrm>
            <a:prstGeom prst="rect">
              <a:avLst/>
            </a:prstGeom>
            <a:noFill/>
          </p:spPr>
          <p:txBody>
            <a:bodyPr vert="vert270" wrap="square" lIns="0" tIns="0" rIns="0" bIns="0" rtlCol="0" anchor="ctr">
              <a:noAutofit/>
            </a:bodyPr>
            <a:lstStyle/>
            <a:p>
              <a:pPr algn="ctr"/>
              <a:r>
                <a:rPr lang="es-CO" sz="1000" b="1" dirty="0" smtClean="0">
                  <a:latin typeface="BNPP Sans" pitchFamily="50" charset="0"/>
                </a:rPr>
                <a:t>REFUERZO</a:t>
              </a:r>
            </a:p>
          </p:txBody>
        </p:sp>
        <p:sp>
          <p:nvSpPr>
            <p:cNvPr id="90" name="89 Triángulo isósceles"/>
            <p:cNvSpPr/>
            <p:nvPr/>
          </p:nvSpPr>
          <p:spPr>
            <a:xfrm rot="16200000">
              <a:off x="4399488" y="1265151"/>
              <a:ext cx="338742" cy="226995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  <p:sp>
          <p:nvSpPr>
            <p:cNvPr id="133" name="132 Triángulo isósceles"/>
            <p:cNvSpPr/>
            <p:nvPr/>
          </p:nvSpPr>
          <p:spPr>
            <a:xfrm rot="5400000">
              <a:off x="5742136" y="1271199"/>
              <a:ext cx="324000" cy="216000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5" name="4 Elipse"/>
          <p:cNvSpPr/>
          <p:nvPr/>
        </p:nvSpPr>
        <p:spPr>
          <a:xfrm>
            <a:off x="4121852" y="1719531"/>
            <a:ext cx="667065" cy="629667"/>
          </a:xfrm>
          <a:prstGeom prst="ellipse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41" name="140 Elipse"/>
          <p:cNvSpPr/>
          <p:nvPr/>
        </p:nvSpPr>
        <p:spPr>
          <a:xfrm>
            <a:off x="8021201" y="1799417"/>
            <a:ext cx="667065" cy="629667"/>
          </a:xfrm>
          <a:prstGeom prst="ellipse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pic>
        <p:nvPicPr>
          <p:cNvPr id="148" name="147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925" y="781453"/>
            <a:ext cx="987390" cy="487242"/>
          </a:xfrm>
          <a:prstGeom prst="rect">
            <a:avLst/>
          </a:prstGeom>
        </p:spPr>
      </p:pic>
      <p:sp>
        <p:nvSpPr>
          <p:cNvPr id="6" name="5 Rectángulo"/>
          <p:cNvSpPr/>
          <p:nvPr/>
        </p:nvSpPr>
        <p:spPr>
          <a:xfrm>
            <a:off x="607665" y="1377611"/>
            <a:ext cx="10840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PE" sz="1200" b="1" dirty="0">
                <a:latin typeface="BNPP Sans" pitchFamily="50" charset="0"/>
              </a:rPr>
              <a:t>Caso de éxi</a:t>
            </a:r>
            <a:r>
              <a:rPr lang="es-PE" sz="1200" dirty="0">
                <a:latin typeface="BNPP Sans" pitchFamily="50" charset="0"/>
              </a:rPr>
              <a:t>t</a:t>
            </a:r>
            <a:r>
              <a:rPr lang="es-PE" sz="1200" b="1" dirty="0">
                <a:latin typeface="BNPP Sans" pitchFamily="50" charset="0"/>
              </a:rPr>
              <a:t>o</a:t>
            </a:r>
          </a:p>
        </p:txBody>
      </p:sp>
    </p:spTree>
    <p:extLst>
      <p:ext uri="{BB962C8B-B14F-4D97-AF65-F5344CB8AC3E}">
        <p14:creationId xmlns:p14="http://schemas.microsoft.com/office/powerpoint/2010/main" val="792479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2.77606E-7 L 0.40295 0.0009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139" y="3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2.09503E-6 L 0.46997 0.00093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490" y="3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09503E-6 L 0.39219 0.00093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01" y="3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3.65824E-6 L 0.34653 -0.00185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326" y="-9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2.09503E-6 L 0.37031 0.00093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507" y="3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62265E-7 L 0.39583 0.00093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92" y="3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2.62265E-7 L 0.39184 0.00093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83" y="31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62265E-7 L 0.39236 0.00093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18" y="31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2.0531E-6 L 0.3974 0.00092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861" y="31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2.61956E-6 L 0.46823 0.00092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403" y="3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3.45679E-6 L 0.34237 0.00093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18" y="31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3.45679E-6 L 0.41597 0.00093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799" y="31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8.63664E-7 L 0.40017 0.00093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000" y="31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-3.45679E-6 L 0.34566 0.00093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274" y="31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5236E-6 L 0.32899 0.00123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441" y="62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1.44972E-6 L 0.40017 0.00093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000" y="31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1.01266E-6 L 0.43958 -0.05341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979" y="-2686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-3.74267E-6 L 0.44462 -0.12311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22" y="-6171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3.5236E-6 L 0.49462 -0.26474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722" y="-13237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4.40568E-6 L 0.47379 -0.01296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681" y="-648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-4.40568E-6 L 0.42379 -0.01296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181" y="-648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4.1191E-6 L 0.32152 -0.08269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076" y="-4135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-4.40568E-6 L 0.37153 -0.0129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576" y="-648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7.19358E-7 L 0.29947 -0.01142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965" y="-587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9.71922E-7 L 0.39583 0.00278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92" y="123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9.71922E-7 L 0.39306 0.00278 " pathEditMode="relative" rAng="0" ptsTypes="AA">
                                      <p:cBhvr>
                                        <p:cTn id="56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53" y="123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9.71922E-7 L 0.39584 0.00278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92" y="123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9.71922E-7 L 0.40105 0.00278 " pathEditMode="relative" rAng="0" ptsTypes="AA">
                                      <p:cBhvr>
                                        <p:cTn id="60" dur="2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052" y="123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9.71922E-7 L 0.40381 0.00278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191" y="123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7596E-6 L 0.45018 0.00308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500" y="154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32675E-6 L 0.3408 0.00339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031" y="154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4.28263E-6 L 0.47066 0.00864 " pathEditMode="relative" rAng="0" ptsTypes="AA">
                                      <p:cBhvr>
                                        <p:cTn id="68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524" y="432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4.28263E-6 L 0.42136 -0.13144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059" y="-6572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3.32922E-6 L 0.34705 0.00277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344" y="123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3.58025E-6 L 0.34861 -0.13889 " pathEditMode="relative" rAng="0" ptsTypes="AA">
                                      <p:cBhvr>
                                        <p:cTn id="74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431" y="-6944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1.32675E-6 L 0.34079 0.00339 " pathEditMode="relative" rAng="0" ptsTypes="AA">
                                      <p:cBhvr>
                                        <p:cTn id="76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031" y="154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1.26504E-7 L 0.38803 -0.09411 " pathEditMode="relative" rAng="0" ptsTypes="AA">
                                      <p:cBhvr>
                                        <p:cTn id="78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392" y="-4721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4.93827E-7 L 0.38802 -0.09414 " pathEditMode="relative" rAng="0" ptsTypes="AA">
                                      <p:cBhvr>
                                        <p:cTn id="80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392" y="-4722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5.02931E-7 L 0.46736 0.0253 " pathEditMode="relative" rAng="0" ptsTypes="AA">
                                      <p:cBhvr>
                                        <p:cTn id="82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68" y="1265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7.77538E-7 L 0.47326 0.02345 " pathEditMode="relative" rAng="0" ptsTypes="AA">
                                      <p:cBhvr>
                                        <p:cTn id="84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663" y="1172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-3.51126E-6 L 0.40712 0.02191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47" y="1080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30145E-7 L 0.36303 0.02746 " pathEditMode="relative" rAng="0" ptsTypes="AA">
                                      <p:cBhvr>
                                        <p:cTn id="88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142" y="1358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-7.77538E-7 L 0.39063 0.06541 " pathEditMode="relative" rAng="0" ptsTypes="AA">
                                      <p:cBhvr>
                                        <p:cTn id="90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1" y="3271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51712E-6 L 0.39636 0.07065 " pathEditMode="relative" rAng="0" ptsTypes="AA">
                                      <p:cBhvr>
                                        <p:cTn id="92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809" y="3517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3.62234E-6 L 0.29843 0.07559 " pathEditMode="relative" rAng="0" ptsTypes="AA">
                                      <p:cBhvr>
                                        <p:cTn id="94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913" y="3764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2.34187E-6 L 0.38472 0.04597 " pathEditMode="relative" rAng="0" ptsTypes="AA">
                                      <p:cBhvr>
                                        <p:cTn id="9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236" y="2283"/>
                                    </p:animMotion>
                                  </p:childTnLst>
                                </p:cTn>
                              </p:par>
                              <p:par>
                                <p:cTn id="9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4.81481E-6 L 0.37761 0.0463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872" y="2315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44955E-6 L 0.37362 0.04998 " pathEditMode="relative" rAng="0" ptsTypes="AA">
                                      <p:cBhvr>
                                        <p:cTn id="100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81" y="2499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4.32099E-6 L 0.37395 0.04846 " pathEditMode="relative" rAng="0" ptsTypes="AA">
                                      <p:cBhvr>
                                        <p:cTn id="102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98" y="2407"/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3.62234E-6 L 0.4441 0.11755 " pathEditMode="relative" rAng="0" ptsTypes="AA">
                                      <p:cBhvr>
                                        <p:cTn id="104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05" y="5862"/>
                                    </p:animMotion>
                                  </p:childTnLst>
                                </p:cTn>
                              </p:par>
                              <p:par>
                                <p:cTn id="10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-1.28664E-6 L 0.39288 0.09133 " pathEditMode="relative" rAng="0" ptsTypes="AA">
                                      <p:cBhvr>
                                        <p:cTn id="106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35" y="4566"/>
                                    </p:animMotion>
                                  </p:childTnLst>
                                </p:cTn>
                              </p:par>
                              <p:par>
                                <p:cTn id="10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663 -0.04815 L 0.35712 -0.04815 " pathEditMode="relative" rAng="0" ptsTypes="AA">
                                      <p:cBhvr>
                                        <p:cTn id="10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88" y="0"/>
                                    </p:animMotion>
                                  </p:childTnLst>
                                </p:cTn>
                              </p:par>
                              <p:par>
                                <p:cTn id="10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4.19753E-6 L 0.42396 -0.00618 " pathEditMode="relative" rAng="0" ptsTypes="AA">
                                      <p:cBhvr>
                                        <p:cTn id="110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198" y="-309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3.95062E-6 L 0.42049 -0.00432 " pathEditMode="relative" rAng="0" ptsTypes="AA">
                                      <p:cBhvr>
                                        <p:cTn id="112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024" y="-216"/>
                                    </p:animMotion>
                                  </p:childTnLst>
                                </p:cTn>
                              </p:par>
                              <p:par>
                                <p:cTn id="11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-3.95062E-6 L 0.42101 -0.00432 " pathEditMode="relative" rAng="0" ptsTypes="AA">
                                      <p:cBhvr>
                                        <p:cTn id="11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042" y="-216"/>
                                    </p:animMotion>
                                  </p:childTnLst>
                                </p:cTn>
                              </p:par>
                              <p:par>
                                <p:cTn id="11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5679E-6 L 0.43525 -0.00278 " pathEditMode="relative" rAng="0" ptsTypes="AA">
                                      <p:cBhvr>
                                        <p:cTn id="11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753" y="-154"/>
                                    </p:animMotion>
                                  </p:childTnLst>
                                </p:cTn>
                              </p:par>
                              <p:par>
                                <p:cTn id="11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4.5679E-6 L 0.45972 -0.00278 " pathEditMode="relative" rAng="0" ptsTypes="AA">
                                      <p:cBhvr>
                                        <p:cTn id="11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986" y="-154"/>
                                    </p:animMotion>
                                  </p:childTnLst>
                                </p:cTn>
                              </p:par>
                              <p:par>
                                <p:cTn id="11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4.5679E-6 L 0.41389 -0.00278 " pathEditMode="relative" rAng="0" ptsTypes="AA">
                                      <p:cBhvr>
                                        <p:cTn id="120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694" y="-154"/>
                                    </p:animMotion>
                                  </p:childTnLst>
                                </p:cTn>
                              </p:par>
                              <p:par>
                                <p:cTn id="12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1.85185E-6 L 0.32187 0.03981 " pathEditMode="relative" rAng="0" ptsTypes="AA">
                                      <p:cBhvr>
                                        <p:cTn id="122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094" y="1975"/>
                                    </p:animMotion>
                                  </p:childTnLst>
                                </p:cTn>
                              </p:par>
                              <p:par>
                                <p:cTn id="12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1.7284E-6 L 0.42414 0.02407 " pathEditMode="relative" rAng="0" ptsTypes="AA">
                                      <p:cBhvr>
                                        <p:cTn id="124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198" y="1204"/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2.34568E-6 L 0.42275 0.025 " pathEditMode="relative" rAng="0" ptsTypes="AA">
                                      <p:cBhvr>
                                        <p:cTn id="126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128" y="1235"/>
                                    </p:animMotion>
                                  </p:childTnLst>
                                </p:cTn>
                              </p:par>
                              <p:par>
                                <p:cTn id="12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-3.7037E-6 L 0.4224 0.02531 " pathEditMode="relative" rAng="0" ptsTypes="AA">
                                      <p:cBhvr>
                                        <p:cTn id="128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111" y="1265"/>
                                    </p:animMotion>
                                  </p:childTnLst>
                                </p:cTn>
                              </p:par>
                              <p:par>
                                <p:cTn id="12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3.7037E-6 L 0.42188 0.02531 " pathEditMode="relative" rAng="0" ptsTypes="AA">
                                      <p:cBhvr>
                                        <p:cTn id="130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094" y="1265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2.35657E-6 L 0.35261 -0.04472 " pathEditMode="relative" rAng="0" ptsTypes="AA">
                                      <p:cBhvr>
                                        <p:cTn id="132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622" y="-2252"/>
                                    </p:animMotion>
                                  </p:childTnLst>
                                </p:cTn>
                              </p:par>
                              <p:par>
                                <p:cTn id="13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2.35657E-6 L 0.34862 -0.04472 " pathEditMode="relative" rAng="0" ptsTypes="AA">
                                      <p:cBhvr>
                                        <p:cTn id="134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431" y="-2252"/>
                                    </p:animMotion>
                                  </p:childTnLst>
                                </p:cTn>
                              </p:par>
                              <p:par>
                                <p:cTn id="13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2.35657E-6 L 0.35138 -0.04472 " pathEditMode="relative" rAng="0" ptsTypes="AA">
                                      <p:cBhvr>
                                        <p:cTn id="136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569" y="-2252"/>
                                    </p:animMotion>
                                  </p:childTnLst>
                                </p:cTn>
                              </p:par>
                              <p:par>
                                <p:cTn id="13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8092E-6 L 0.38316 0.02377 " pathEditMode="relative" rAng="0" ptsTypes="AA">
                                      <p:cBhvr>
                                        <p:cTn id="138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149" y="1173"/>
                                    </p:animMotion>
                                  </p:childTnLst>
                                </p:cTn>
                              </p:par>
                              <p:par>
                                <p:cTn id="13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-1.8092E-6 L 0.44601 0.02377 " pathEditMode="relative" rAng="0" ptsTypes="AA">
                                      <p:cBhvr>
                                        <p:cTn id="140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1173"/>
                                    </p:animMotion>
                                  </p:childTnLst>
                                </p:cTn>
                              </p:par>
                              <p:par>
                                <p:cTn id="14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4.23279E-6 L 0.45903 0.02192 " pathEditMode="relative" rAng="0" ptsTypes="AA">
                                      <p:cBhvr>
                                        <p:cTn id="142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951" y="1081"/>
                                    </p:animMotion>
                                  </p:childTnLst>
                                </p:cTn>
                              </p:par>
                              <p:par>
                                <p:cTn id="14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3.74267E-6 L 0.38959 0.00278 " pathEditMode="relative" rAng="0" ptsTypes="AA">
                                      <p:cBhvr>
                                        <p:cTn id="144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479" y="123"/>
                                    </p:animMotion>
                                  </p:childTnLst>
                                </p:cTn>
                              </p:par>
                              <p:par>
                                <p:cTn id="14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3.95062E-6 L 0.41215 -0.00432 " pathEditMode="relative" rAng="0" ptsTypes="AA">
                                      <p:cBhvr>
                                        <p:cTn id="14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608" y="-216"/>
                                    </p:animMotion>
                                  </p:childTnLst>
                                </p:cTn>
                              </p:par>
                              <p:par>
                                <p:cTn id="14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1.60494E-6 L 0.3802 0.10926 " pathEditMode="relative" rAng="0" ptsTypes="AA">
                                      <p:cBhvr>
                                        <p:cTn id="148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010" y="5463"/>
                                    </p:animMotion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6" fill="hold">
                      <p:stCondLst>
                        <p:cond delay="indefinite"/>
                      </p:stCondLst>
                      <p:childTnLst>
                        <p:par>
                          <p:cTn id="177" fill="hold">
                            <p:stCondLst>
                              <p:cond delay="0"/>
                            </p:stCondLst>
                            <p:childTnLst>
                              <p:par>
                                <p:cTn id="17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 animBg="1"/>
      <p:bldP spid="105" grpId="0" animBg="1"/>
      <p:bldP spid="106" grpId="0" animBg="1"/>
      <p:bldP spid="107" grpId="0" animBg="1"/>
      <p:bldP spid="108" grpId="0"/>
      <p:bldP spid="110" grpId="0"/>
      <p:bldP spid="111" grpId="0"/>
      <p:bldP spid="117" grpId="0"/>
      <p:bldP spid="126" grpId="0"/>
      <p:bldP spid="4" grpId="0" animBg="1"/>
      <p:bldP spid="127" grpId="0" animBg="1"/>
      <p:bldP spid="128" grpId="0" animBg="1"/>
      <p:bldP spid="129" grpId="0" animBg="1"/>
      <p:bldP spid="14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19</a:t>
            </a:fld>
            <a:endParaRPr lang="en-GB" noProof="0" dirty="0"/>
          </a:p>
        </p:txBody>
      </p:sp>
      <p:sp>
        <p:nvSpPr>
          <p:cNvPr id="12" name="11 Operación manual"/>
          <p:cNvSpPr/>
          <p:nvPr/>
        </p:nvSpPr>
        <p:spPr>
          <a:xfrm rot="17287729">
            <a:off x="2929950" y="1839436"/>
            <a:ext cx="607002" cy="971777"/>
          </a:xfrm>
          <a:prstGeom prst="flowChartManualOperation">
            <a:avLst/>
          </a:prstGeom>
          <a:solidFill>
            <a:schemeClr val="bg1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3" name="12 Operación manual"/>
          <p:cNvSpPr/>
          <p:nvPr/>
        </p:nvSpPr>
        <p:spPr>
          <a:xfrm rot="14352681">
            <a:off x="3040956" y="2681311"/>
            <a:ext cx="607002" cy="1107898"/>
          </a:xfrm>
          <a:prstGeom prst="flowChartManualOperation">
            <a:avLst/>
          </a:prstGeom>
          <a:solidFill>
            <a:schemeClr val="bg1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6" name="15 Operación manual"/>
          <p:cNvSpPr/>
          <p:nvPr/>
        </p:nvSpPr>
        <p:spPr>
          <a:xfrm>
            <a:off x="4036349" y="1059582"/>
            <a:ext cx="635664" cy="872284"/>
          </a:xfrm>
          <a:prstGeom prst="flowChartManualOperation">
            <a:avLst/>
          </a:prstGeom>
          <a:solidFill>
            <a:schemeClr val="bg1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7" name="16 Operación manual"/>
          <p:cNvSpPr/>
          <p:nvPr/>
        </p:nvSpPr>
        <p:spPr>
          <a:xfrm rot="8407247">
            <a:off x="4749915" y="2932770"/>
            <a:ext cx="708844" cy="1036739"/>
          </a:xfrm>
          <a:prstGeom prst="flowChartManualOperation">
            <a:avLst/>
          </a:prstGeom>
          <a:solidFill>
            <a:schemeClr val="bg1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8" name="17 Operación manual"/>
          <p:cNvSpPr/>
          <p:nvPr/>
        </p:nvSpPr>
        <p:spPr>
          <a:xfrm rot="5400000">
            <a:off x="5275340" y="1917776"/>
            <a:ext cx="629950" cy="1335586"/>
          </a:xfrm>
          <a:prstGeom prst="flowChartManualOperation">
            <a:avLst/>
          </a:prstGeom>
          <a:solidFill>
            <a:schemeClr val="bg1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9" name="18 Operación manual"/>
          <p:cNvSpPr/>
          <p:nvPr/>
        </p:nvSpPr>
        <p:spPr>
          <a:xfrm rot="3365298">
            <a:off x="4879694" y="1254135"/>
            <a:ext cx="607002" cy="1051202"/>
          </a:xfrm>
          <a:prstGeom prst="flowChartManualOperation">
            <a:avLst/>
          </a:prstGeom>
          <a:solidFill>
            <a:schemeClr val="bg1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8" name="7 Elipse"/>
          <p:cNvSpPr/>
          <p:nvPr/>
        </p:nvSpPr>
        <p:spPr>
          <a:xfrm rot="14906813">
            <a:off x="3859665" y="2056423"/>
            <a:ext cx="954435" cy="1014096"/>
          </a:xfrm>
          <a:prstGeom prst="ellipse">
            <a:avLst/>
          </a:prstGeom>
          <a:solidFill>
            <a:schemeClr val="bg2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2" name="21 Operación manual"/>
          <p:cNvSpPr/>
          <p:nvPr/>
        </p:nvSpPr>
        <p:spPr>
          <a:xfrm rot="17287729">
            <a:off x="3210424" y="2193203"/>
            <a:ext cx="602515" cy="435403"/>
          </a:xfrm>
          <a:prstGeom prst="flowChartManualOperation">
            <a:avLst/>
          </a:prstGeom>
          <a:solidFill>
            <a:schemeClr val="accent3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3" name="22 Operación manual"/>
          <p:cNvSpPr/>
          <p:nvPr/>
        </p:nvSpPr>
        <p:spPr>
          <a:xfrm rot="14352681">
            <a:off x="3321151" y="2835391"/>
            <a:ext cx="607002" cy="482278"/>
          </a:xfrm>
          <a:prstGeom prst="flowChartManualOperation">
            <a:avLst/>
          </a:prstGeom>
          <a:solidFill>
            <a:schemeClr val="accent2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45" y="3051026"/>
            <a:ext cx="1798638" cy="1104900"/>
          </a:xfrm>
          <a:prstGeom prst="rect">
            <a:avLst/>
          </a:prstGeom>
          <a:noFill/>
          <a:ln w="9525">
            <a:solidFill>
              <a:srgbClr val="FF66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5" name="ZoneTexte 4"/>
          <p:cNvSpPr txBox="1">
            <a:spLocks noChangeArrowheads="1"/>
          </p:cNvSpPr>
          <p:nvPr/>
        </p:nvSpPr>
        <p:spPr bwMode="auto">
          <a:xfrm>
            <a:off x="513458" y="2738289"/>
            <a:ext cx="1811337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s-PE" sz="90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Lay out digitales orientados a incrementar las ventas</a:t>
            </a:r>
          </a:p>
        </p:txBody>
      </p:sp>
      <p:sp>
        <p:nvSpPr>
          <p:cNvPr id="26" name="66 Rectángulo redondeado"/>
          <p:cNvSpPr/>
          <p:nvPr/>
        </p:nvSpPr>
        <p:spPr>
          <a:xfrm>
            <a:off x="619820" y="2058839"/>
            <a:ext cx="1287463" cy="365125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algn="ctr" defTabSz="739237">
              <a:defRPr/>
            </a:pPr>
            <a:r>
              <a:rPr lang="en-US" sz="900" dirty="0" err="1">
                <a:solidFill>
                  <a:srgbClr val="000000"/>
                </a:solidFill>
                <a:latin typeface="BNPP Sans" pitchFamily="50" charset="0"/>
              </a:rPr>
              <a:t>Identificación</a:t>
            </a:r>
            <a:r>
              <a:rPr lang="en-US" sz="900" dirty="0">
                <a:solidFill>
                  <a:srgbClr val="000000"/>
                </a:solidFill>
                <a:latin typeface="BNPP Sans" pitchFamily="50" charset="0"/>
              </a:rPr>
              <a:t> de </a:t>
            </a:r>
            <a:r>
              <a:rPr lang="en-US" sz="900" dirty="0" err="1">
                <a:solidFill>
                  <a:srgbClr val="000000"/>
                </a:solidFill>
                <a:latin typeface="BNPP Sans" pitchFamily="50" charset="0"/>
              </a:rPr>
              <a:t>oportunidades</a:t>
            </a:r>
            <a:r>
              <a:rPr lang="en-US" sz="900" dirty="0">
                <a:solidFill>
                  <a:srgbClr val="000000"/>
                </a:solidFill>
                <a:latin typeface="BNPP Sans" pitchFamily="50" charset="0"/>
              </a:rPr>
              <a:t> de </a:t>
            </a:r>
            <a:r>
              <a:rPr lang="en-US" sz="900" dirty="0" err="1">
                <a:solidFill>
                  <a:srgbClr val="000000"/>
                </a:solidFill>
                <a:latin typeface="BNPP Sans" pitchFamily="50" charset="0"/>
              </a:rPr>
              <a:t>negocio</a:t>
            </a:r>
            <a:endParaRPr lang="en-US" sz="900" dirty="0">
              <a:solidFill>
                <a:srgbClr val="000000"/>
              </a:solidFill>
              <a:latin typeface="BNPP Sans" pitchFamily="50" charset="0"/>
            </a:endParaRPr>
          </a:p>
        </p:txBody>
      </p:sp>
      <p:sp>
        <p:nvSpPr>
          <p:cNvPr id="27" name="Rectangle 29"/>
          <p:cNvSpPr/>
          <p:nvPr/>
        </p:nvSpPr>
        <p:spPr>
          <a:xfrm>
            <a:off x="388045" y="2695426"/>
            <a:ext cx="1798638" cy="1460500"/>
          </a:xfrm>
          <a:prstGeom prst="rect">
            <a:avLst/>
          </a:prstGeom>
          <a:noFill/>
          <a:ln w="190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s-ES" sz="11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" name="Rectangle 31"/>
          <p:cNvSpPr/>
          <p:nvPr/>
        </p:nvSpPr>
        <p:spPr>
          <a:xfrm>
            <a:off x="388045" y="1130151"/>
            <a:ext cx="1798638" cy="1362075"/>
          </a:xfrm>
          <a:prstGeom prst="rect">
            <a:avLst/>
          </a:prstGeom>
          <a:noFill/>
          <a:ln w="190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s-ES" sz="11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45" y="1136501"/>
            <a:ext cx="1798638" cy="841375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" name="Picture 84" descr="Flag of Chil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633" y="1030139"/>
            <a:ext cx="371475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1" descr="Flag of Brazil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589064"/>
            <a:ext cx="387350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19 Grupo"/>
          <p:cNvGrpSpPr/>
          <p:nvPr/>
        </p:nvGrpSpPr>
        <p:grpSpPr>
          <a:xfrm>
            <a:off x="3906208" y="3182781"/>
            <a:ext cx="715661" cy="971428"/>
            <a:chOff x="3419691" y="3166060"/>
            <a:chExt cx="715661" cy="768464"/>
          </a:xfrm>
        </p:grpSpPr>
        <p:sp>
          <p:nvSpPr>
            <p:cNvPr id="15" name="14 Operación manual"/>
            <p:cNvSpPr/>
            <p:nvPr/>
          </p:nvSpPr>
          <p:spPr>
            <a:xfrm rot="10961540">
              <a:off x="3419691" y="3175567"/>
              <a:ext cx="715661" cy="758957"/>
            </a:xfrm>
            <a:prstGeom prst="flowChartManualOperation">
              <a:avLst/>
            </a:prstGeom>
            <a:solidFill>
              <a:schemeClr val="bg1"/>
            </a:solidFill>
            <a:ln w="317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31 Operación manual"/>
            <p:cNvSpPr/>
            <p:nvPr/>
          </p:nvSpPr>
          <p:spPr>
            <a:xfrm rot="11104277">
              <a:off x="3514430" y="3166060"/>
              <a:ext cx="607002" cy="362672"/>
            </a:xfrm>
            <a:prstGeom prst="flowChartManualOperation">
              <a:avLst/>
            </a:prstGeom>
            <a:solidFill>
              <a:schemeClr val="accent4"/>
            </a:solidFill>
            <a:ln w="317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3" name="32 Operación manual"/>
          <p:cNvSpPr/>
          <p:nvPr/>
        </p:nvSpPr>
        <p:spPr>
          <a:xfrm rot="8637715">
            <a:off x="4608629" y="2973705"/>
            <a:ext cx="677686" cy="482278"/>
          </a:xfrm>
          <a:prstGeom prst="flowChartManualOperation">
            <a:avLst/>
          </a:prstGeom>
          <a:solidFill>
            <a:schemeClr val="accent3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4" name="33 Operación manual"/>
          <p:cNvSpPr/>
          <p:nvPr/>
        </p:nvSpPr>
        <p:spPr>
          <a:xfrm rot="5400000">
            <a:off x="4860648" y="2355367"/>
            <a:ext cx="609002" cy="482278"/>
          </a:xfrm>
          <a:prstGeom prst="flowChartManualOperation">
            <a:avLst/>
          </a:prstGeom>
          <a:solidFill>
            <a:schemeClr val="accent2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5" name="34 Operación manual"/>
          <p:cNvSpPr/>
          <p:nvPr/>
        </p:nvSpPr>
        <p:spPr>
          <a:xfrm rot="3387458">
            <a:off x="4634738" y="1697509"/>
            <a:ext cx="607002" cy="482278"/>
          </a:xfrm>
          <a:prstGeom prst="flowChartManualOperation">
            <a:avLst/>
          </a:prstGeom>
          <a:solidFill>
            <a:schemeClr val="accent4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36" name="35 Operación manual"/>
          <p:cNvSpPr/>
          <p:nvPr/>
        </p:nvSpPr>
        <p:spPr>
          <a:xfrm rot="21439893">
            <a:off x="4035626" y="1546493"/>
            <a:ext cx="602515" cy="435403"/>
          </a:xfrm>
          <a:prstGeom prst="flowChartManualOperation">
            <a:avLst/>
          </a:prstGeom>
          <a:solidFill>
            <a:schemeClr val="accent3"/>
          </a:solidFill>
          <a:ln w="317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grpSp>
        <p:nvGrpSpPr>
          <p:cNvPr id="38" name="37 Grupo"/>
          <p:cNvGrpSpPr/>
          <p:nvPr/>
        </p:nvGrpSpPr>
        <p:grpSpPr>
          <a:xfrm>
            <a:off x="3244723" y="1175934"/>
            <a:ext cx="748154" cy="995502"/>
            <a:chOff x="2874177" y="1105427"/>
            <a:chExt cx="748154" cy="995502"/>
          </a:xfrm>
        </p:grpSpPr>
        <p:sp>
          <p:nvSpPr>
            <p:cNvPr id="10" name="9 Operación manual"/>
            <p:cNvSpPr/>
            <p:nvPr/>
          </p:nvSpPr>
          <p:spPr>
            <a:xfrm rot="18905412">
              <a:off x="2874177" y="1105427"/>
              <a:ext cx="607002" cy="959963"/>
            </a:xfrm>
            <a:prstGeom prst="flowChartManualOperation">
              <a:avLst/>
            </a:prstGeom>
            <a:solidFill>
              <a:schemeClr val="bg1"/>
            </a:solidFill>
            <a:ln w="317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  <p:sp>
          <p:nvSpPr>
            <p:cNvPr id="37" name="36 Operación manual"/>
            <p:cNvSpPr/>
            <p:nvPr/>
          </p:nvSpPr>
          <p:spPr>
            <a:xfrm rot="18724604">
              <a:off x="3077691" y="1556289"/>
              <a:ext cx="607002" cy="482278"/>
            </a:xfrm>
            <a:prstGeom prst="flowChartManualOperation">
              <a:avLst/>
            </a:prstGeom>
            <a:solidFill>
              <a:schemeClr val="accent2"/>
            </a:solidFill>
            <a:ln w="317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0" name="ZoneTexte 7"/>
          <p:cNvSpPr txBox="1">
            <a:spLocks noChangeArrowheads="1"/>
          </p:cNvSpPr>
          <p:nvPr/>
        </p:nvSpPr>
        <p:spPr bwMode="auto">
          <a:xfrm>
            <a:off x="6724277" y="2814489"/>
            <a:ext cx="169703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s-PE" sz="90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Completo acceso  omni-canal access </a:t>
            </a:r>
          </a:p>
        </p:txBody>
      </p:sp>
      <p:sp>
        <p:nvSpPr>
          <p:cNvPr id="41" name="Rectangle 28"/>
          <p:cNvSpPr/>
          <p:nvPr/>
        </p:nvSpPr>
        <p:spPr>
          <a:xfrm>
            <a:off x="6533777" y="2704951"/>
            <a:ext cx="1998663" cy="1450975"/>
          </a:xfrm>
          <a:prstGeom prst="rect">
            <a:avLst/>
          </a:prstGeom>
          <a:noFill/>
          <a:ln w="190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s-ES" sz="11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2" name="Rectangle 30"/>
          <p:cNvSpPr/>
          <p:nvPr/>
        </p:nvSpPr>
        <p:spPr>
          <a:xfrm>
            <a:off x="6522665" y="1120626"/>
            <a:ext cx="2009775" cy="1362075"/>
          </a:xfrm>
          <a:prstGeom prst="rect">
            <a:avLst/>
          </a:prstGeom>
          <a:noFill/>
          <a:ln w="190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s-ES" sz="11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68 Rectángulo redondeado"/>
          <p:cNvSpPr/>
          <p:nvPr/>
        </p:nvSpPr>
        <p:spPr>
          <a:xfrm>
            <a:off x="6522665" y="3084364"/>
            <a:ext cx="1377950" cy="541337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marL="138605" indent="-138605" defTabSz="739237">
              <a:buClr>
                <a:srgbClr val="339966"/>
              </a:buClr>
              <a:buFont typeface="Wingdings" panose="05000000000000000000" pitchFamily="2" charset="2"/>
              <a:buChar char="ü"/>
              <a:defRPr/>
            </a:pPr>
            <a:r>
              <a:rPr lang="en-US" sz="900" dirty="0">
                <a:solidFill>
                  <a:srgbClr val="000000"/>
                </a:solidFill>
                <a:latin typeface="BNPP Sans" pitchFamily="50" charset="0"/>
              </a:rPr>
              <a:t>Telefono</a:t>
            </a:r>
          </a:p>
          <a:p>
            <a:pPr marL="138605" indent="-138605" defTabSz="739237">
              <a:buClr>
                <a:srgbClr val="00915A"/>
              </a:buClr>
              <a:buFont typeface="Wingdings" panose="05000000000000000000" pitchFamily="2" charset="2"/>
              <a:buChar char="ü"/>
              <a:defRPr/>
            </a:pPr>
            <a:r>
              <a:rPr lang="en-US" sz="900" dirty="0" err="1">
                <a:solidFill>
                  <a:srgbClr val="000000"/>
                </a:solidFill>
                <a:latin typeface="BNPP Sans" pitchFamily="50" charset="0"/>
              </a:rPr>
              <a:t>Correo</a:t>
            </a:r>
            <a:endParaRPr lang="en-US" sz="900" dirty="0">
              <a:solidFill>
                <a:srgbClr val="000000"/>
              </a:solidFill>
              <a:latin typeface="BNPP Sans" pitchFamily="50" charset="0"/>
            </a:endParaRPr>
          </a:p>
          <a:p>
            <a:pPr marL="138605" indent="-138605" defTabSz="739237">
              <a:buClr>
                <a:srgbClr val="00915A"/>
              </a:buClr>
              <a:buFont typeface="Wingdings" panose="05000000000000000000" pitchFamily="2" charset="2"/>
              <a:buChar char="ü"/>
              <a:defRPr/>
            </a:pPr>
            <a:r>
              <a:rPr lang="en-US" sz="900" dirty="0">
                <a:solidFill>
                  <a:srgbClr val="000000"/>
                </a:solidFill>
                <a:latin typeface="BNPP Sans" pitchFamily="50" charset="0"/>
              </a:rPr>
              <a:t>E-mail</a:t>
            </a:r>
          </a:p>
        </p:txBody>
      </p:sp>
      <p:sp>
        <p:nvSpPr>
          <p:cNvPr id="44" name="70 Rectángulo redondeado"/>
          <p:cNvSpPr/>
          <p:nvPr/>
        </p:nvSpPr>
        <p:spPr>
          <a:xfrm>
            <a:off x="7499672" y="3131989"/>
            <a:ext cx="1320800" cy="446087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marL="138605" indent="-138605" defTabSz="739237">
              <a:buClr>
                <a:srgbClr val="00915A"/>
              </a:buClr>
              <a:buFont typeface="Wingdings" panose="05000000000000000000" pitchFamily="2" charset="2"/>
              <a:buChar char="ü"/>
              <a:defRPr/>
            </a:pPr>
            <a:r>
              <a:rPr lang="en-US" sz="800" dirty="0">
                <a:solidFill>
                  <a:srgbClr val="000000"/>
                </a:solidFill>
                <a:latin typeface="BNPP Sans" pitchFamily="50" charset="0"/>
              </a:rPr>
              <a:t>Chat online</a:t>
            </a:r>
          </a:p>
          <a:p>
            <a:pPr marL="138605" indent="-138605" defTabSz="739237">
              <a:buClr>
                <a:srgbClr val="00915A"/>
              </a:buClr>
              <a:buFont typeface="Wingdings" panose="05000000000000000000" pitchFamily="2" charset="2"/>
              <a:buChar char="ü"/>
              <a:defRPr/>
            </a:pPr>
            <a:r>
              <a:rPr lang="en-US" sz="800" dirty="0" err="1">
                <a:solidFill>
                  <a:srgbClr val="000000"/>
                </a:solidFill>
                <a:latin typeface="BNPP Sans" pitchFamily="50" charset="0"/>
              </a:rPr>
              <a:t>Redes</a:t>
            </a:r>
            <a:r>
              <a:rPr lang="en-US" sz="800" dirty="0">
                <a:solidFill>
                  <a:srgbClr val="000000"/>
                </a:solidFill>
                <a:latin typeface="BNPP Sans" pitchFamily="50" charset="0"/>
              </a:rPr>
              <a:t> </a:t>
            </a:r>
            <a:r>
              <a:rPr lang="en-US" sz="800" dirty="0" err="1">
                <a:solidFill>
                  <a:srgbClr val="000000"/>
                </a:solidFill>
                <a:latin typeface="BNPP Sans" pitchFamily="50" charset="0"/>
              </a:rPr>
              <a:t>sociales</a:t>
            </a:r>
            <a:endParaRPr lang="en-US" sz="800" dirty="0">
              <a:solidFill>
                <a:srgbClr val="000000"/>
              </a:solidFill>
              <a:latin typeface="BNPP Sans" pitchFamily="50" charset="0"/>
            </a:endParaRPr>
          </a:p>
          <a:p>
            <a:pPr marL="138605" indent="-138605" defTabSz="739237">
              <a:buClr>
                <a:srgbClr val="00915A"/>
              </a:buClr>
              <a:buFont typeface="Wingdings" panose="05000000000000000000" pitchFamily="2" charset="2"/>
              <a:buChar char="ü"/>
              <a:defRPr/>
            </a:pPr>
            <a:r>
              <a:rPr lang="en-US" sz="800" dirty="0">
                <a:solidFill>
                  <a:srgbClr val="000000"/>
                </a:solidFill>
                <a:latin typeface="BNPP Sans" pitchFamily="50" charset="0"/>
              </a:rPr>
              <a:t>WhatsApp</a:t>
            </a:r>
          </a:p>
        </p:txBody>
      </p:sp>
      <p:cxnSp>
        <p:nvCxnSpPr>
          <p:cNvPr id="45" name="Connecteur droit 37"/>
          <p:cNvCxnSpPr/>
          <p:nvPr/>
        </p:nvCxnSpPr>
        <p:spPr>
          <a:xfrm>
            <a:off x="6522665" y="3084364"/>
            <a:ext cx="200977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233"/>
          <a:stretch>
            <a:fillRect/>
          </a:stretch>
        </p:blipFill>
        <p:spPr bwMode="auto">
          <a:xfrm>
            <a:off x="6556002" y="3578076"/>
            <a:ext cx="1976438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72" descr="Flag of Argentina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840" y="2571601"/>
            <a:ext cx="39370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Oval 6"/>
          <p:cNvSpPr/>
          <p:nvPr/>
        </p:nvSpPr>
        <p:spPr>
          <a:xfrm>
            <a:off x="6413127" y="990451"/>
            <a:ext cx="365125" cy="323850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925" tIns="72759" rIns="73925" bIns="72759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s-ES" sz="11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49" name="Picture 7" descr="Imagen relacionada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840" y="1012676"/>
            <a:ext cx="3889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0" name="Connecteur droit 37"/>
          <p:cNvCxnSpPr/>
          <p:nvPr/>
        </p:nvCxnSpPr>
        <p:spPr>
          <a:xfrm>
            <a:off x="6522665" y="1500039"/>
            <a:ext cx="200977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2 Rectángulo"/>
          <p:cNvSpPr>
            <a:spLocks noChangeArrowheads="1"/>
          </p:cNvSpPr>
          <p:nvPr/>
        </p:nvSpPr>
        <p:spPr bwMode="auto">
          <a:xfrm>
            <a:off x="6846515" y="1193651"/>
            <a:ext cx="1543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PE" sz="900" dirty="0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Innovación en productos y gestión de canales</a:t>
            </a:r>
          </a:p>
        </p:txBody>
      </p:sp>
      <p:pic>
        <p:nvPicPr>
          <p:cNvPr id="52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06" t="21875" r="19829" b="16487"/>
          <a:stretch>
            <a:fillRect/>
          </a:stretch>
        </p:blipFill>
        <p:spPr bwMode="auto">
          <a:xfrm>
            <a:off x="7213227" y="1603226"/>
            <a:ext cx="1189038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28" descr="Imagen relacionada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740" y="1506389"/>
            <a:ext cx="642937" cy="85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7" name="Diagramme 34"/>
          <p:cNvGraphicFramePr/>
          <p:nvPr/>
        </p:nvGraphicFramePr>
        <p:xfrm>
          <a:off x="1731757" y="600869"/>
          <a:ext cx="5284036" cy="3908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pSp>
        <p:nvGrpSpPr>
          <p:cNvPr id="58" name="57 Grupo"/>
          <p:cNvGrpSpPr/>
          <p:nvPr/>
        </p:nvGrpSpPr>
        <p:grpSpPr>
          <a:xfrm>
            <a:off x="1757669" y="4299942"/>
            <a:ext cx="5484984" cy="226417"/>
            <a:chOff x="669" y="0"/>
            <a:chExt cx="5484984" cy="226417"/>
          </a:xfrm>
        </p:grpSpPr>
        <p:sp>
          <p:nvSpPr>
            <p:cNvPr id="59" name="58 Cheurón"/>
            <p:cNvSpPr/>
            <p:nvPr/>
          </p:nvSpPr>
          <p:spPr>
            <a:xfrm>
              <a:off x="669" y="0"/>
              <a:ext cx="5484984" cy="226417"/>
            </a:xfrm>
            <a:prstGeom prst="rect">
              <a:avLst/>
            </a:prstGeom>
            <a:solidFill>
              <a:srgbClr val="FF6600"/>
            </a:solidFill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0" name="Cheurón 4"/>
            <p:cNvSpPr/>
            <p:nvPr/>
          </p:nvSpPr>
          <p:spPr>
            <a:xfrm>
              <a:off x="113878" y="0"/>
              <a:ext cx="5258567" cy="226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b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400" kern="1200" dirty="0" smtClean="0">
                  <a:solidFill>
                    <a:schemeClr val="bg1"/>
                  </a:solidFill>
                  <a:latin typeface="BNPP Sans" pitchFamily="50" charset="0"/>
                </a:rPr>
                <a:t>Data analytics  </a:t>
              </a:r>
              <a:endParaRPr lang="en-GB" sz="1400" kern="1200" dirty="0">
                <a:solidFill>
                  <a:schemeClr val="bg1"/>
                </a:solidFill>
                <a:latin typeface="BNPP Sans" pitchFamily="50" charset="0"/>
              </a:endParaRPr>
            </a:p>
          </p:txBody>
        </p:sp>
      </p:grpSp>
      <p:sp>
        <p:nvSpPr>
          <p:cNvPr id="39" name="38 CuadroTexto"/>
          <p:cNvSpPr txBox="1"/>
          <p:nvPr/>
        </p:nvSpPr>
        <p:spPr>
          <a:xfrm>
            <a:off x="2483768" y="2196279"/>
            <a:ext cx="885601" cy="1914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800" b="1" dirty="0" err="1" smtClean="0">
                <a:latin typeface="BNPP Sans" pitchFamily="50" charset="0"/>
              </a:rPr>
              <a:t>Reporting</a:t>
            </a:r>
            <a:r>
              <a:rPr lang="es-PE" sz="800" b="1" dirty="0" smtClean="0">
                <a:latin typeface="BNPP Sans" pitchFamily="50" charset="0"/>
              </a:rPr>
              <a:t> &amp;BI</a:t>
            </a:r>
          </a:p>
        </p:txBody>
      </p:sp>
      <p:sp>
        <p:nvSpPr>
          <p:cNvPr id="62" name="61 CuadroTexto"/>
          <p:cNvSpPr txBox="1"/>
          <p:nvPr/>
        </p:nvSpPr>
        <p:spPr>
          <a:xfrm>
            <a:off x="2624029" y="3259308"/>
            <a:ext cx="885601" cy="1914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800" b="1" dirty="0" smtClean="0">
                <a:latin typeface="BNPP Sans" pitchFamily="50" charset="0"/>
              </a:rPr>
              <a:t>Cumplimiento</a:t>
            </a:r>
          </a:p>
        </p:txBody>
      </p:sp>
      <p:sp>
        <p:nvSpPr>
          <p:cNvPr id="63" name="62 CuadroTexto"/>
          <p:cNvSpPr txBox="1"/>
          <p:nvPr/>
        </p:nvSpPr>
        <p:spPr>
          <a:xfrm rot="199167">
            <a:off x="3825615" y="3801082"/>
            <a:ext cx="885601" cy="1914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800" b="1" dirty="0" smtClean="0">
                <a:latin typeface="BNPP Sans" pitchFamily="50" charset="0"/>
              </a:rPr>
              <a:t>Soporte </a:t>
            </a:r>
          </a:p>
          <a:p>
            <a:pPr algn="ctr"/>
            <a:r>
              <a:rPr lang="es-PE" sz="800" b="1" dirty="0" smtClean="0">
                <a:latin typeface="BNPP Sans" pitchFamily="50" charset="0"/>
              </a:rPr>
              <a:t>De ventas</a:t>
            </a:r>
          </a:p>
        </p:txBody>
      </p:sp>
      <p:sp>
        <p:nvSpPr>
          <p:cNvPr id="64" name="63 CuadroTexto"/>
          <p:cNvSpPr txBox="1"/>
          <p:nvPr/>
        </p:nvSpPr>
        <p:spPr>
          <a:xfrm rot="19507792">
            <a:off x="4867950" y="3507720"/>
            <a:ext cx="847926" cy="2951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800" b="1" dirty="0" smtClean="0">
                <a:latin typeface="BNPP Sans" pitchFamily="50" charset="0"/>
              </a:rPr>
              <a:t>Soluciones </a:t>
            </a:r>
          </a:p>
          <a:p>
            <a:pPr algn="ctr"/>
            <a:r>
              <a:rPr lang="es-PE" sz="800" b="1" dirty="0" smtClean="0">
                <a:latin typeface="BNPP Sans" pitchFamily="50" charset="0"/>
              </a:rPr>
              <a:t>de TI </a:t>
            </a:r>
          </a:p>
          <a:p>
            <a:pPr algn="ctr"/>
            <a:r>
              <a:rPr lang="es-PE" sz="800" b="1" dirty="0" smtClean="0">
                <a:latin typeface="BNPP Sans" pitchFamily="50" charset="0"/>
              </a:rPr>
              <a:t>&amp; integración</a:t>
            </a:r>
          </a:p>
        </p:txBody>
      </p:sp>
      <p:sp>
        <p:nvSpPr>
          <p:cNvPr id="65" name="64 CuadroTexto"/>
          <p:cNvSpPr txBox="1"/>
          <p:nvPr/>
        </p:nvSpPr>
        <p:spPr>
          <a:xfrm>
            <a:off x="4982325" y="1556511"/>
            <a:ext cx="847926" cy="2951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800" b="1" dirty="0" smtClean="0">
                <a:latin typeface="BNPP Sans" pitchFamily="50" charset="0"/>
              </a:rPr>
              <a:t>Diseño de productos</a:t>
            </a:r>
          </a:p>
        </p:txBody>
      </p:sp>
      <p:sp>
        <p:nvSpPr>
          <p:cNvPr id="66" name="65 CuadroTexto"/>
          <p:cNvSpPr txBox="1"/>
          <p:nvPr/>
        </p:nvSpPr>
        <p:spPr>
          <a:xfrm>
            <a:off x="3911672" y="1124463"/>
            <a:ext cx="847926" cy="2951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800" b="1" dirty="0" err="1" smtClean="0">
                <a:latin typeface="BNPP Sans" pitchFamily="50" charset="0"/>
              </a:rPr>
              <a:t>Customer</a:t>
            </a:r>
            <a:r>
              <a:rPr lang="es-PE" sz="800" b="1" dirty="0" smtClean="0">
                <a:latin typeface="BNPP Sans" pitchFamily="50" charset="0"/>
              </a:rPr>
              <a:t> </a:t>
            </a:r>
          </a:p>
          <a:p>
            <a:pPr algn="ctr"/>
            <a:r>
              <a:rPr lang="es-PE" sz="800" b="1" dirty="0" err="1" smtClean="0">
                <a:latin typeface="BNPP Sans" pitchFamily="50" charset="0"/>
              </a:rPr>
              <a:t>Journey</a:t>
            </a:r>
            <a:endParaRPr lang="es-PE" sz="800" b="1" dirty="0" smtClean="0">
              <a:latin typeface="BNPP Sans" pitchFamily="50" charset="0"/>
            </a:endParaRPr>
          </a:p>
        </p:txBody>
      </p:sp>
      <p:sp>
        <p:nvSpPr>
          <p:cNvPr id="67" name="66 CuadroTexto"/>
          <p:cNvSpPr txBox="1"/>
          <p:nvPr/>
        </p:nvSpPr>
        <p:spPr>
          <a:xfrm>
            <a:off x="2915816" y="1347614"/>
            <a:ext cx="885601" cy="3574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800" b="1" dirty="0" smtClean="0">
                <a:latin typeface="BNPP Sans" pitchFamily="50" charset="0"/>
              </a:rPr>
              <a:t>Diseño </a:t>
            </a:r>
          </a:p>
          <a:p>
            <a:pPr algn="ctr"/>
            <a:r>
              <a:rPr lang="es-PE" sz="800" b="1" dirty="0">
                <a:latin typeface="BNPP Sans" pitchFamily="50" charset="0"/>
              </a:rPr>
              <a:t>d</a:t>
            </a:r>
            <a:r>
              <a:rPr lang="es-PE" sz="800" b="1" dirty="0" smtClean="0">
                <a:latin typeface="BNPP Sans" pitchFamily="50" charset="0"/>
              </a:rPr>
              <a:t>e cadena </a:t>
            </a:r>
          </a:p>
          <a:p>
            <a:pPr algn="ctr"/>
            <a:r>
              <a:rPr lang="es-PE" sz="800" b="1" dirty="0" smtClean="0">
                <a:latin typeface="BNPP Sans" pitchFamily="50" charset="0"/>
              </a:rPr>
              <a:t>de valor</a:t>
            </a:r>
          </a:p>
        </p:txBody>
      </p:sp>
      <p:sp>
        <p:nvSpPr>
          <p:cNvPr id="61" name="60 Rectángulo"/>
          <p:cNvSpPr/>
          <p:nvPr/>
        </p:nvSpPr>
        <p:spPr>
          <a:xfrm>
            <a:off x="5441624" y="2387727"/>
            <a:ext cx="858568" cy="5331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800" b="1" dirty="0" err="1">
                <a:latin typeface="BNPP Sans" pitchFamily="50" charset="0"/>
              </a:rPr>
              <a:t>Nuevas</a:t>
            </a:r>
            <a:r>
              <a:rPr lang="en-GB" sz="800" b="1" dirty="0">
                <a:latin typeface="BNPP Sans" pitchFamily="50" charset="0"/>
              </a:rPr>
              <a:t> </a:t>
            </a:r>
            <a:r>
              <a:rPr lang="en-GB" sz="800" b="1" dirty="0" err="1">
                <a:latin typeface="BNPP Sans" pitchFamily="50" charset="0"/>
              </a:rPr>
              <a:t>oportunidades</a:t>
            </a:r>
            <a:r>
              <a:rPr lang="en-GB" sz="800" b="1" dirty="0">
                <a:latin typeface="BNPP Sans" pitchFamily="50" charset="0"/>
              </a:rPr>
              <a:t> </a:t>
            </a:r>
            <a:endParaRPr lang="en-GB" sz="800" b="1" dirty="0" smtClean="0">
              <a:latin typeface="BNPP Sans" pitchFamily="50" charset="0"/>
            </a:endParaRPr>
          </a:p>
          <a:p>
            <a:pPr algn="ctr"/>
            <a:r>
              <a:rPr lang="en-GB" sz="800" b="1" dirty="0" smtClean="0">
                <a:latin typeface="BNPP Sans" pitchFamily="50" charset="0"/>
              </a:rPr>
              <a:t>de </a:t>
            </a:r>
            <a:r>
              <a:rPr lang="en-GB" sz="800" b="1" dirty="0" err="1">
                <a:latin typeface="BNPP Sans" pitchFamily="50" charset="0"/>
              </a:rPr>
              <a:t>negocio</a:t>
            </a:r>
            <a:endParaRPr lang="en-GB" sz="800" b="1" dirty="0">
              <a:latin typeface="BNPP Sans" pitchFamily="50" charset="0"/>
            </a:endParaRPr>
          </a:p>
        </p:txBody>
      </p:sp>
      <p:sp>
        <p:nvSpPr>
          <p:cNvPr id="69" name="Titre 2"/>
          <p:cNvSpPr txBox="1">
            <a:spLocks/>
          </p:cNvSpPr>
          <p:nvPr/>
        </p:nvSpPr>
        <p:spPr bwMode="auto">
          <a:xfrm>
            <a:off x="282575" y="238125"/>
            <a:ext cx="8778875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444500" indent="-177800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803275" indent="-174625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155700" indent="-1666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s-PE" sz="1900" b="1" dirty="0" smtClean="0">
                <a:solidFill>
                  <a:srgbClr val="339966"/>
                </a:solidFill>
                <a:latin typeface="BNPP Sans" pitchFamily="50" charset="0"/>
                <a:cs typeface="Arial" pitchFamily="34" charset="0"/>
              </a:rPr>
              <a:t>Know How y Best Practices </a:t>
            </a:r>
            <a:r>
              <a:rPr lang="en-US" altLang="es-PE" sz="1900" b="1" dirty="0" err="1">
                <a:solidFill>
                  <a:srgbClr val="339966"/>
                </a:solidFill>
                <a:latin typeface="BNPP Sans" pitchFamily="50" charset="0"/>
                <a:cs typeface="Arial" pitchFamily="34" charset="0"/>
              </a:rPr>
              <a:t>G</a:t>
            </a:r>
            <a:r>
              <a:rPr lang="en-US" altLang="es-PE" sz="1900" b="1" dirty="0" err="1" smtClean="0">
                <a:solidFill>
                  <a:srgbClr val="339966"/>
                </a:solidFill>
                <a:latin typeface="BNPP Sans" pitchFamily="50" charset="0"/>
                <a:cs typeface="Arial" pitchFamily="34" charset="0"/>
              </a:rPr>
              <a:t>lobales</a:t>
            </a:r>
            <a:endParaRPr lang="en-GB" altLang="es-PE" sz="1900" b="1" dirty="0" smtClean="0">
              <a:solidFill>
                <a:srgbClr val="00915A"/>
              </a:solidFill>
              <a:latin typeface="BNPP Sans" pitchFamily="50" charset="0"/>
              <a:cs typeface="Arial" pitchFamily="34" charset="0"/>
            </a:endParaRPr>
          </a:p>
        </p:txBody>
      </p:sp>
      <p:pic>
        <p:nvPicPr>
          <p:cNvPr id="22532" name="Picture 4" descr="Resultado de imagen para gear 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333837">
            <a:off x="3933159" y="2264102"/>
            <a:ext cx="853868" cy="649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4628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</a:t>
            </a:fld>
            <a:endParaRPr lang="en-GB" noProof="0" dirty="0"/>
          </a:p>
        </p:txBody>
      </p:sp>
      <p:sp>
        <p:nvSpPr>
          <p:cNvPr id="6" name="Rectangle 19"/>
          <p:cNvSpPr/>
          <p:nvPr/>
        </p:nvSpPr>
        <p:spPr>
          <a:xfrm>
            <a:off x="454720" y="1507617"/>
            <a:ext cx="4681537" cy="320675"/>
          </a:xfrm>
          <a:prstGeom prst="rect">
            <a:avLst/>
          </a:prstGeom>
          <a:solidFill>
            <a:srgbClr val="00915A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1. BNP PARIBAS</a:t>
            </a:r>
            <a:endParaRPr lang="en-US" sz="1400" b="1" kern="0" dirty="0">
              <a:solidFill>
                <a:srgbClr val="000000"/>
              </a:solidFill>
              <a:latin typeface="BNPP Sans" pitchFamily="50" charset="0"/>
              <a:cs typeface="BNPP Sans Light"/>
            </a:endParaRPr>
          </a:p>
        </p:txBody>
      </p:sp>
      <p:sp>
        <p:nvSpPr>
          <p:cNvPr id="7" name="Rectangle 19"/>
          <p:cNvSpPr/>
          <p:nvPr/>
        </p:nvSpPr>
        <p:spPr>
          <a:xfrm>
            <a:off x="455386" y="2017957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2. BNP PARIBAS CARDIF SEGUROS EN EL MUNDO</a:t>
            </a:r>
            <a:endParaRPr lang="en-US" sz="1400" b="1" kern="0" dirty="0">
              <a:solidFill>
                <a:srgbClr val="000000"/>
              </a:solidFill>
              <a:latin typeface="BNPP Sans" pitchFamily="50" charset="0"/>
              <a:cs typeface="BNPP Sans Light"/>
            </a:endParaRPr>
          </a:p>
        </p:txBody>
      </p:sp>
      <p:sp>
        <p:nvSpPr>
          <p:cNvPr id="9" name="Rectangle 19"/>
          <p:cNvSpPr/>
          <p:nvPr/>
        </p:nvSpPr>
        <p:spPr>
          <a:xfrm>
            <a:off x="455767" y="2499948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>
            <a:lvl1pPr marL="9525"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351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3923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495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067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Clr>
                <a:srgbClr val="008851"/>
              </a:buClr>
              <a:defRPr/>
            </a:pPr>
            <a:r>
              <a:rPr lang="en-US" altLang="es-PE" sz="1400" b="1" dirty="0">
                <a:solidFill>
                  <a:srgbClr val="000000"/>
                </a:solidFill>
                <a:latin typeface="BNPP Sans" pitchFamily="50" charset="0"/>
              </a:rPr>
              <a:t>3</a:t>
            </a:r>
            <a:r>
              <a:rPr lang="en-US" altLang="es-PE" sz="1400" b="1" dirty="0" smtClean="0">
                <a:solidFill>
                  <a:srgbClr val="000000"/>
                </a:solidFill>
                <a:latin typeface="BNPP Sans" pitchFamily="50" charset="0"/>
              </a:rPr>
              <a:t>. </a:t>
            </a:r>
            <a:r>
              <a:rPr lang="en-US" altLang="es-PE" sz="1400" b="1" dirty="0">
                <a:solidFill>
                  <a:srgbClr val="000000"/>
                </a:solidFill>
                <a:latin typeface="BNPP Sans" pitchFamily="50" charset="0"/>
              </a:rPr>
              <a:t>CARDIF PERÚ</a:t>
            </a:r>
          </a:p>
        </p:txBody>
      </p:sp>
      <p:pic>
        <p:nvPicPr>
          <p:cNvPr id="10" name="Picture 4" descr="Resultado de imagen para BNP PARIBA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8936" y="1572232"/>
            <a:ext cx="2539448" cy="1719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9"/>
          <p:cNvSpPr/>
          <p:nvPr/>
        </p:nvSpPr>
        <p:spPr>
          <a:xfrm>
            <a:off x="439845" y="2964371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>
            <a:lvl1pPr marL="9525"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351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3923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495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067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Clr>
                <a:srgbClr val="008851"/>
              </a:buClr>
              <a:defRPr/>
            </a:pPr>
            <a:r>
              <a:rPr lang="en-US" altLang="es-PE" sz="1400" b="1" dirty="0">
                <a:solidFill>
                  <a:srgbClr val="000000"/>
                </a:solidFill>
                <a:latin typeface="BNPP Sans" pitchFamily="50" charset="0"/>
              </a:rPr>
              <a:t>4</a:t>
            </a:r>
            <a:r>
              <a:rPr lang="en-US" altLang="es-PE" sz="1400" b="1" dirty="0" smtClean="0">
                <a:solidFill>
                  <a:srgbClr val="000000"/>
                </a:solidFill>
                <a:latin typeface="BNPP Sans" pitchFamily="50" charset="0"/>
              </a:rPr>
              <a:t>. NEGOCIO FALABELLA - CARDIF</a:t>
            </a:r>
            <a:endParaRPr lang="en-US" altLang="es-PE" sz="1400" b="1" dirty="0">
              <a:solidFill>
                <a:srgbClr val="000000"/>
              </a:solidFill>
              <a:latin typeface="BNPP Sans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203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0</a:t>
            </a:fld>
            <a:endParaRPr lang="en-GB" noProof="0" dirty="0"/>
          </a:p>
        </p:txBody>
      </p:sp>
      <p:sp>
        <p:nvSpPr>
          <p:cNvPr id="6" name="Rectangle 19"/>
          <p:cNvSpPr/>
          <p:nvPr/>
        </p:nvSpPr>
        <p:spPr>
          <a:xfrm>
            <a:off x="239362" y="1114994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 fontAlgn="base">
              <a:spcBef>
                <a:spcPct val="0"/>
              </a:spcBef>
              <a:spcAft>
                <a:spcPct val="0"/>
              </a:spcAft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1. BNP PARIBAS</a:t>
            </a:r>
          </a:p>
        </p:txBody>
      </p:sp>
      <p:sp>
        <p:nvSpPr>
          <p:cNvPr id="7" name="Rectangle 19"/>
          <p:cNvSpPr/>
          <p:nvPr/>
        </p:nvSpPr>
        <p:spPr>
          <a:xfrm>
            <a:off x="239362" y="1625335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 fontAlgn="base">
              <a:spcBef>
                <a:spcPct val="0"/>
              </a:spcBef>
              <a:spcAft>
                <a:spcPct val="0"/>
              </a:spcAft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2. BNP PARIBAS CARDIF SEGUROS EN EL MUNDO</a:t>
            </a:r>
            <a:endParaRPr lang="en-US" sz="1400" b="1" kern="0" dirty="0">
              <a:solidFill>
                <a:srgbClr val="000000"/>
              </a:solidFill>
              <a:latin typeface="BNPP Sans" pitchFamily="50" charset="0"/>
              <a:cs typeface="BNPP Sans Light"/>
            </a:endParaRPr>
          </a:p>
        </p:txBody>
      </p:sp>
      <p:sp>
        <p:nvSpPr>
          <p:cNvPr id="9" name="Rectangle 19"/>
          <p:cNvSpPr/>
          <p:nvPr/>
        </p:nvSpPr>
        <p:spPr>
          <a:xfrm>
            <a:off x="239743" y="2139702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>
            <a:lvl1pPr marL="9525"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351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3923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495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067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738188" fontAlgn="base">
              <a:spcBef>
                <a:spcPct val="0"/>
              </a:spcBef>
              <a:spcAft>
                <a:spcPct val="0"/>
              </a:spcAft>
              <a:buClr>
                <a:srgbClr val="008851"/>
              </a:buClr>
              <a:defRPr/>
            </a:pPr>
            <a:r>
              <a:rPr lang="en-US" altLang="es-PE" sz="1400" b="1" dirty="0" smtClean="0">
                <a:solidFill>
                  <a:srgbClr val="000000"/>
                </a:solidFill>
                <a:latin typeface="BNPP Sans" pitchFamily="50" charset="0"/>
              </a:rPr>
              <a:t>3. CARDIF PERÚ</a:t>
            </a:r>
          </a:p>
        </p:txBody>
      </p:sp>
      <p:sp>
        <p:nvSpPr>
          <p:cNvPr id="11" name="Rectangle 19"/>
          <p:cNvSpPr/>
          <p:nvPr/>
        </p:nvSpPr>
        <p:spPr>
          <a:xfrm>
            <a:off x="251520" y="2573417"/>
            <a:ext cx="4680520" cy="320407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 fontAlgn="base">
              <a:spcBef>
                <a:spcPct val="0"/>
              </a:spcBef>
              <a:spcAft>
                <a:spcPct val="0"/>
              </a:spcAft>
              <a:buClr>
                <a:srgbClr val="008851"/>
              </a:buClr>
              <a:tabLst>
                <a:tab pos="256597" algn="l"/>
              </a:tabLst>
            </a:pPr>
            <a:r>
              <a:rPr lang="en-US" altLang="es-PE" sz="1400" b="1" kern="0" spc="36" dirty="0">
                <a:solidFill>
                  <a:schemeClr val="bg1"/>
                </a:solidFill>
                <a:latin typeface="BNPP Sans" pitchFamily="50" charset="0"/>
                <a:cs typeface="BNPP Sans Light"/>
              </a:rPr>
              <a:t>4</a:t>
            </a:r>
            <a:r>
              <a:rPr lang="en-US" altLang="es-PE" sz="1400" b="1" kern="0" spc="36" dirty="0" smtClean="0">
                <a:solidFill>
                  <a:schemeClr val="bg1"/>
                </a:solidFill>
                <a:latin typeface="BNPP Sans" pitchFamily="50" charset="0"/>
                <a:cs typeface="BNPP Sans Light"/>
              </a:rPr>
              <a:t>. </a:t>
            </a:r>
            <a:r>
              <a:rPr lang="en-US" altLang="es-PE" sz="1400" b="1" kern="0" spc="36" dirty="0">
                <a:solidFill>
                  <a:schemeClr val="bg1"/>
                </a:solidFill>
                <a:latin typeface="BNPP Sans" pitchFamily="50" charset="0"/>
                <a:cs typeface="BNPP Sans Light"/>
              </a:rPr>
              <a:t>NEGOCIO FALABELLA - CARDIF</a:t>
            </a:r>
          </a:p>
        </p:txBody>
      </p:sp>
      <p:pic>
        <p:nvPicPr>
          <p:cNvPr id="9220" name="Picture 4" descr="Resultado de imagen para open plaz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5356" y="1168356"/>
            <a:ext cx="3024336" cy="2270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0872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21</a:t>
            </a:fld>
            <a:endParaRPr lang="en-GB" noProof="0" dirty="0"/>
          </a:p>
        </p:txBody>
      </p:sp>
      <p:sp>
        <p:nvSpPr>
          <p:cNvPr id="7" name="6 Rectángulo"/>
          <p:cNvSpPr/>
          <p:nvPr/>
        </p:nvSpPr>
        <p:spPr>
          <a:xfrm>
            <a:off x="104775" y="3853985"/>
            <a:ext cx="1260000" cy="609600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ctr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endParaRPr lang="es-ES" altLang="es-ES" sz="1100" b="1" kern="0" dirty="0">
              <a:solidFill>
                <a:prstClr val="white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1475661" y="3815884"/>
            <a:ext cx="6336705" cy="6477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endParaRPr lang="es-ES" altLang="es-ES" sz="1050" kern="0">
              <a:solidFill>
                <a:prstClr val="white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9" name="64 CuadroTexto"/>
          <p:cNvSpPr txBox="1">
            <a:spLocks noChangeArrowheads="1"/>
          </p:cNvSpPr>
          <p:nvPr/>
        </p:nvSpPr>
        <p:spPr bwMode="auto">
          <a:xfrm>
            <a:off x="2483768" y="3886880"/>
            <a:ext cx="735012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apfre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9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hubb</a:t>
            </a:r>
            <a:endParaRPr lang="es-PE" altLang="es-ES" sz="9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0" name="67 CuadroTexto"/>
          <p:cNvSpPr txBox="1">
            <a:spLocks noChangeArrowheads="1"/>
          </p:cNvSpPr>
          <p:nvPr/>
        </p:nvSpPr>
        <p:spPr bwMode="auto">
          <a:xfrm>
            <a:off x="3347864" y="3867894"/>
            <a:ext cx="915987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hubb</a:t>
            </a:r>
            <a:r>
              <a:rPr lang="es-PE" altLang="es-ES" sz="9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Interseguro</a:t>
            </a:r>
            <a:endParaRPr lang="es-PE" altLang="es-ES" sz="900" dirty="0" smtClean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Pacifico</a:t>
            </a:r>
            <a:endParaRPr lang="es-PE" altLang="es-ES" sz="9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1" name="68 CuadroTexto"/>
          <p:cNvSpPr txBox="1">
            <a:spLocks noChangeArrowheads="1"/>
          </p:cNvSpPr>
          <p:nvPr/>
        </p:nvSpPr>
        <p:spPr bwMode="auto">
          <a:xfrm>
            <a:off x="1639144" y="3818690"/>
            <a:ext cx="78263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9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La Positiv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hubb</a:t>
            </a:r>
            <a:endParaRPr lang="es-PE" altLang="es-ES" sz="9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Pacifico</a:t>
            </a:r>
          </a:p>
        </p:txBody>
      </p:sp>
      <p:sp>
        <p:nvSpPr>
          <p:cNvPr id="12" name="69 CuadroTexto"/>
          <p:cNvSpPr txBox="1">
            <a:spLocks noChangeArrowheads="1"/>
          </p:cNvSpPr>
          <p:nvPr/>
        </p:nvSpPr>
        <p:spPr bwMode="auto">
          <a:xfrm>
            <a:off x="4407148" y="3957187"/>
            <a:ext cx="596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9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Pacifico 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7906593" y="2833750"/>
            <a:ext cx="1152000" cy="425451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/>
          <a:p>
            <a:pPr algn="ctr" fontAlgn="ctr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000" b="1" kern="0" dirty="0">
                <a:solidFill>
                  <a:srgbClr val="FFFFFF"/>
                </a:solidFill>
                <a:latin typeface="BNPP Sans" pitchFamily="50" charset="0"/>
              </a:rPr>
              <a:t>TOTAL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1547665" y="3303656"/>
            <a:ext cx="6264696" cy="40428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endParaRPr lang="es-ES" altLang="es-ES" sz="800" kern="0">
              <a:solidFill>
                <a:prstClr val="white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104775" y="3307886"/>
            <a:ext cx="1260000" cy="425451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ctr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endParaRPr lang="es-ES" altLang="es-ES" sz="1050" b="1" kern="0" dirty="0">
              <a:solidFill>
                <a:srgbClr val="FFFFFF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7884367" y="3299420"/>
            <a:ext cx="1174225" cy="41486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tIns="90000" bIns="90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solidFill>
                  <a:prstClr val="black"/>
                </a:solidFill>
                <a:latin typeface="BNPP Sans" pitchFamily="50" charset="0"/>
              </a:rPr>
              <a:t>4.1M</a:t>
            </a:r>
          </a:p>
        </p:txBody>
      </p:sp>
      <p:sp>
        <p:nvSpPr>
          <p:cNvPr id="17" name="88 CuadroTexto"/>
          <p:cNvSpPr txBox="1">
            <a:spLocks noChangeArrowheads="1"/>
          </p:cNvSpPr>
          <p:nvPr/>
        </p:nvSpPr>
        <p:spPr bwMode="auto">
          <a:xfrm>
            <a:off x="1725291" y="3345990"/>
            <a:ext cx="5164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2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.4M</a:t>
            </a:r>
          </a:p>
        </p:txBody>
      </p:sp>
      <p:sp>
        <p:nvSpPr>
          <p:cNvPr id="18" name="89 CuadroTexto"/>
          <p:cNvSpPr txBox="1">
            <a:spLocks noChangeArrowheads="1"/>
          </p:cNvSpPr>
          <p:nvPr/>
        </p:nvSpPr>
        <p:spPr bwMode="auto">
          <a:xfrm>
            <a:off x="3551456" y="3345990"/>
            <a:ext cx="5164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2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8M</a:t>
            </a:r>
          </a:p>
        </p:txBody>
      </p:sp>
      <p:sp>
        <p:nvSpPr>
          <p:cNvPr id="19" name="90 CuadroTexto"/>
          <p:cNvSpPr txBox="1">
            <a:spLocks noChangeArrowheads="1"/>
          </p:cNvSpPr>
          <p:nvPr/>
        </p:nvSpPr>
        <p:spPr bwMode="auto">
          <a:xfrm>
            <a:off x="2627784" y="3345990"/>
            <a:ext cx="5164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2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.2M</a:t>
            </a:r>
          </a:p>
        </p:txBody>
      </p:sp>
      <p:sp>
        <p:nvSpPr>
          <p:cNvPr id="20" name="91 CuadroTexto"/>
          <p:cNvSpPr txBox="1">
            <a:spLocks noChangeArrowheads="1"/>
          </p:cNvSpPr>
          <p:nvPr/>
        </p:nvSpPr>
        <p:spPr bwMode="auto">
          <a:xfrm>
            <a:off x="4415552" y="3345990"/>
            <a:ext cx="5164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2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6M</a:t>
            </a:r>
          </a:p>
        </p:txBody>
      </p:sp>
      <p:sp>
        <p:nvSpPr>
          <p:cNvPr id="21" name="97 CuadroTexto"/>
          <p:cNvSpPr txBox="1">
            <a:spLocks noChangeArrowheads="1"/>
          </p:cNvSpPr>
          <p:nvPr/>
        </p:nvSpPr>
        <p:spPr bwMode="auto">
          <a:xfrm>
            <a:off x="2915816" y="892407"/>
            <a:ext cx="3305175" cy="239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ES_tradnl" altLang="es-ES" sz="14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Total créditos vigentes </a:t>
            </a:r>
            <a:r>
              <a:rPr lang="en-US" altLang="es-ES" sz="14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2017 </a:t>
            </a:r>
            <a:r>
              <a:rPr lang="es-ES_tradnl" altLang="es-ES" sz="14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: </a:t>
            </a:r>
            <a:r>
              <a:rPr lang="es-ES_tradnl" altLang="es-ES" sz="1400" b="1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8.189 </a:t>
            </a:r>
            <a:r>
              <a:rPr lang="es-ES_tradnl" altLang="es-ES" sz="14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 </a:t>
            </a:r>
            <a:r>
              <a:rPr lang="es-ES_tradnl" altLang="es-ES" sz="1400" b="1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Soles</a:t>
            </a:r>
            <a:endParaRPr lang="es-ES" altLang="es-ES" sz="1400" b="1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2" name="98 CuadroTexto"/>
          <p:cNvSpPr txBox="1">
            <a:spLocks noChangeArrowheads="1"/>
          </p:cNvSpPr>
          <p:nvPr/>
        </p:nvSpPr>
        <p:spPr bwMode="auto">
          <a:xfrm rot="10800000">
            <a:off x="944166" y="1275606"/>
            <a:ext cx="171449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ES_tradnl" altLang="es-ES" sz="11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M EUR</a:t>
            </a:r>
            <a:endParaRPr lang="es-ES" altLang="es-ES" sz="11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grpSp>
        <p:nvGrpSpPr>
          <p:cNvPr id="23" name="1 Grupo"/>
          <p:cNvGrpSpPr>
            <a:grpSpLocks/>
          </p:cNvGrpSpPr>
          <p:nvPr/>
        </p:nvGrpSpPr>
        <p:grpSpPr bwMode="auto">
          <a:xfrm>
            <a:off x="8028387" y="3954701"/>
            <a:ext cx="1368149" cy="296335"/>
            <a:chOff x="9390063" y="4931731"/>
            <a:chExt cx="1368149" cy="219075"/>
          </a:xfrm>
        </p:grpSpPr>
        <p:sp>
          <p:nvSpPr>
            <p:cNvPr id="24" name="23 Rectángulo"/>
            <p:cNvSpPr/>
            <p:nvPr/>
          </p:nvSpPr>
          <p:spPr>
            <a:xfrm>
              <a:off x="9390063" y="4947514"/>
              <a:ext cx="192087" cy="115797"/>
            </a:xfrm>
            <a:prstGeom prst="rect">
              <a:avLst/>
            </a:prstGeom>
            <a:solidFill>
              <a:srgbClr val="0070C0"/>
            </a:solidFill>
            <a:ln w="3175" cap="flat" cmpd="sng" algn="ctr">
              <a:noFill/>
              <a:prstDash val="solid"/>
            </a:ln>
            <a:effectLst/>
          </p:spPr>
          <p:txBody>
            <a:bodyPr tIns="90000" bIns="90000" anchor="ctr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endParaRPr lang="es-ES" altLang="es-ES" sz="1400" kern="0">
                <a:solidFill>
                  <a:prstClr val="white"/>
                </a:solidFill>
                <a:latin typeface="BNPP Sans" pitchFamily="50" charset="0"/>
                <a:cs typeface="Arial" charset="0"/>
              </a:endParaRPr>
            </a:p>
          </p:txBody>
        </p:sp>
        <p:sp>
          <p:nvSpPr>
            <p:cNvPr id="25" name="66 CuadroTexto"/>
            <p:cNvSpPr txBox="1">
              <a:spLocks noChangeArrowheads="1"/>
            </p:cNvSpPr>
            <p:nvPr/>
          </p:nvSpPr>
          <p:spPr bwMode="auto">
            <a:xfrm>
              <a:off x="9672362" y="4931731"/>
              <a:ext cx="1085850" cy="219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en-US" altLang="es-ES" sz="1200" kern="0" dirty="0" err="1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Captivas</a:t>
              </a:r>
              <a:endParaRPr lang="en-US" altLang="es-ES" sz="1200" kern="0" dirty="0">
                <a:solidFill>
                  <a:prstClr val="black"/>
                </a:solidFill>
                <a:latin typeface="BNPP Sans" pitchFamily="50" charset="0"/>
                <a:cs typeface="Arial" charset="0"/>
              </a:endParaRPr>
            </a:p>
          </p:txBody>
        </p:sp>
      </p:grpSp>
      <p:sp>
        <p:nvSpPr>
          <p:cNvPr id="26" name="80 CuadroTexto"/>
          <p:cNvSpPr txBox="1">
            <a:spLocks noChangeArrowheads="1"/>
          </p:cNvSpPr>
          <p:nvPr/>
        </p:nvSpPr>
        <p:spPr bwMode="auto">
          <a:xfrm>
            <a:off x="7073037" y="3939902"/>
            <a:ext cx="59531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9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Pacifico </a:t>
            </a:r>
          </a:p>
        </p:txBody>
      </p:sp>
      <p:sp>
        <p:nvSpPr>
          <p:cNvPr id="27" name="81 CuadroTexto"/>
          <p:cNvSpPr txBox="1">
            <a:spLocks noChangeArrowheads="1"/>
          </p:cNvSpPr>
          <p:nvPr/>
        </p:nvSpPr>
        <p:spPr bwMode="auto">
          <a:xfrm>
            <a:off x="6169630" y="3932846"/>
            <a:ext cx="596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900" dirty="0" smtClean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smtClean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Crecer</a:t>
            </a:r>
            <a:endParaRPr lang="es-PE" altLang="es-ES" sz="9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sp>
        <p:nvSpPr>
          <p:cNvPr id="28" name="99 CuadroTexto"/>
          <p:cNvSpPr txBox="1">
            <a:spLocks noChangeArrowheads="1"/>
          </p:cNvSpPr>
          <p:nvPr/>
        </p:nvSpPr>
        <p:spPr bwMode="auto">
          <a:xfrm>
            <a:off x="5436096" y="3345990"/>
            <a:ext cx="2471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200" b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9" name="100 CuadroTexto"/>
          <p:cNvSpPr txBox="1">
            <a:spLocks noChangeArrowheads="1"/>
          </p:cNvSpPr>
          <p:nvPr/>
        </p:nvSpPr>
        <p:spPr bwMode="auto">
          <a:xfrm>
            <a:off x="7277144" y="3374871"/>
            <a:ext cx="2471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2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30" name="101 CuadroTexto"/>
          <p:cNvSpPr txBox="1">
            <a:spLocks noChangeArrowheads="1"/>
          </p:cNvSpPr>
          <p:nvPr/>
        </p:nvSpPr>
        <p:spPr bwMode="auto">
          <a:xfrm>
            <a:off x="6263804" y="3374871"/>
            <a:ext cx="5164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200" b="1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0.1M</a:t>
            </a:r>
          </a:p>
        </p:txBody>
      </p:sp>
      <p:sp>
        <p:nvSpPr>
          <p:cNvPr id="31" name="74 CuadroTexto"/>
          <p:cNvSpPr txBox="1">
            <a:spLocks noChangeArrowheads="1"/>
          </p:cNvSpPr>
          <p:nvPr/>
        </p:nvSpPr>
        <p:spPr bwMode="auto">
          <a:xfrm>
            <a:off x="5271244" y="3999980"/>
            <a:ext cx="5969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900" dirty="0" err="1">
                <a:solidFill>
                  <a:prstClr val="black"/>
                </a:solidFill>
                <a:latin typeface="BNPP Sans" pitchFamily="50" charset="0"/>
                <a:cs typeface="Arial" charset="0"/>
              </a:rPr>
              <a:t>Rimac</a:t>
            </a:r>
            <a:endParaRPr lang="es-PE" altLang="es-ES" sz="900" dirty="0">
              <a:solidFill>
                <a:prstClr val="black"/>
              </a:solidFill>
              <a:latin typeface="BNPP Sans" pitchFamily="50" charset="0"/>
              <a:cs typeface="Arial" charset="0"/>
            </a:endParaRPr>
          </a:p>
        </p:txBody>
      </p:sp>
      <p:pic>
        <p:nvPicPr>
          <p:cNvPr id="32" name="Picture 2" descr="Resultado de imagen para Cardif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1871720" y="2862401"/>
            <a:ext cx="252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35 Pentágono"/>
          <p:cNvSpPr/>
          <p:nvPr/>
        </p:nvSpPr>
        <p:spPr>
          <a:xfrm>
            <a:off x="109539" y="2842217"/>
            <a:ext cx="1291237" cy="359835"/>
          </a:xfrm>
          <a:prstGeom prst="homePlate">
            <a:avLst/>
          </a:prstGeom>
          <a:noFill/>
          <a:ln w="3175" cap="flat" cmpd="sng" algn="ctr">
            <a:solidFill>
              <a:srgbClr val="00915A"/>
            </a:solidFill>
            <a:prstDash val="solid"/>
          </a:ln>
          <a:effectLst/>
        </p:spPr>
        <p:txBody>
          <a:bodyPr tIns="90000" bIns="90000" anchor="ctr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endParaRPr lang="es-PE" altLang="es-ES" sz="1400" kern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7" name="105 CuadroTexto"/>
          <p:cNvSpPr txBox="1">
            <a:spLocks noChangeArrowheads="1"/>
          </p:cNvSpPr>
          <p:nvPr/>
        </p:nvSpPr>
        <p:spPr bwMode="auto">
          <a:xfrm>
            <a:off x="179512" y="2952286"/>
            <a:ext cx="1501775" cy="146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1000" b="1" i="1" dirty="0">
                <a:solidFill>
                  <a:srgbClr val="000000"/>
                </a:solidFill>
                <a:cs typeface="Arial" charset="0"/>
              </a:rPr>
              <a:t>Presencia Cardif</a:t>
            </a:r>
          </a:p>
        </p:txBody>
      </p:sp>
      <p:graphicFrame>
        <p:nvGraphicFramePr>
          <p:cNvPr id="38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5055970"/>
              </p:ext>
            </p:extLst>
          </p:nvPr>
        </p:nvGraphicFramePr>
        <p:xfrm>
          <a:off x="1170487" y="1077188"/>
          <a:ext cx="6736106" cy="1661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9" name="Picture 2" descr="Resultado de imagen para Cardif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2725274" y="2862401"/>
            <a:ext cx="252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 descr="Resultado de imagen para Cardif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3644677" y="2862401"/>
            <a:ext cx="252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" descr="Resultado de imagen para Cardif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13"/>
          <a:stretch>
            <a:fillRect/>
          </a:stretch>
        </p:blipFill>
        <p:spPr bwMode="auto">
          <a:xfrm>
            <a:off x="4569820" y="2862401"/>
            <a:ext cx="252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41 CuadroTexto"/>
          <p:cNvSpPr txBox="1"/>
          <p:nvPr/>
        </p:nvSpPr>
        <p:spPr>
          <a:xfrm>
            <a:off x="232842" y="3373132"/>
            <a:ext cx="978162" cy="3207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dirty="0" smtClean="0">
                <a:solidFill>
                  <a:schemeClr val="bg1"/>
                </a:solidFill>
                <a:latin typeface="BNPP Sans" pitchFamily="50" charset="0"/>
              </a:rPr>
              <a:t>Número de tarjetas</a:t>
            </a:r>
          </a:p>
        </p:txBody>
      </p:sp>
      <p:sp>
        <p:nvSpPr>
          <p:cNvPr id="43" name="42 CuadroTexto"/>
          <p:cNvSpPr txBox="1"/>
          <p:nvPr/>
        </p:nvSpPr>
        <p:spPr>
          <a:xfrm>
            <a:off x="245694" y="4081363"/>
            <a:ext cx="978162" cy="218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dirty="0" smtClean="0">
                <a:solidFill>
                  <a:schemeClr val="bg1"/>
                </a:solidFill>
                <a:latin typeface="BNPP Sans" pitchFamily="50" charset="0"/>
              </a:rPr>
              <a:t>Aseguradoras</a:t>
            </a:r>
          </a:p>
        </p:txBody>
      </p:sp>
      <p:sp>
        <p:nvSpPr>
          <p:cNvPr id="44" name="2 Título"/>
          <p:cNvSpPr>
            <a:spLocks noGrp="1"/>
          </p:cNvSpPr>
          <p:nvPr>
            <p:ph type="title"/>
          </p:nvPr>
        </p:nvSpPr>
        <p:spPr>
          <a:xfrm>
            <a:off x="271792" y="267494"/>
            <a:ext cx="8038894" cy="307777"/>
          </a:xfrm>
        </p:spPr>
        <p:txBody>
          <a:bodyPr wrap="square">
            <a:spAutoFit/>
          </a:bodyPr>
          <a:lstStyle/>
          <a:p>
            <a:r>
              <a:rPr lang="en-US" altLang="es-ES" sz="20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Banca retail: Cardif </a:t>
            </a:r>
            <a:r>
              <a:rPr lang="en-US" altLang="es-ES" sz="20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mantiene</a:t>
            </a:r>
            <a:r>
              <a:rPr lang="en-US" altLang="es-ES" sz="20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un </a:t>
            </a:r>
            <a:r>
              <a:rPr lang="en-US" altLang="es-ES" sz="20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fuerte</a:t>
            </a:r>
            <a:r>
              <a:rPr lang="en-US" altLang="es-ES" sz="20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</a:t>
            </a:r>
            <a:r>
              <a:rPr lang="en-US" altLang="es-ES" sz="2000" dirty="0" err="1" smtClean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posicionamiento</a:t>
            </a:r>
            <a:r>
              <a:rPr lang="en-US" altLang="es-ES" sz="2000" dirty="0" smtClean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</a:t>
            </a:r>
            <a:r>
              <a:rPr lang="en-US" altLang="es-ES" sz="2000" dirty="0" err="1" smtClean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en</a:t>
            </a:r>
            <a:r>
              <a:rPr lang="en-US" altLang="es-ES" sz="2000" dirty="0" smtClean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 </a:t>
            </a:r>
            <a:r>
              <a:rPr lang="en-US" altLang="es-ES" sz="2000" dirty="0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la </a:t>
            </a:r>
            <a:r>
              <a:rPr lang="en-US" altLang="es-ES" sz="2000" dirty="0" err="1">
                <a:solidFill>
                  <a:srgbClr val="00915A"/>
                </a:solidFill>
                <a:latin typeface="BNPP Sans" pitchFamily="50" charset="0"/>
                <a:ea typeface="+mn-ea"/>
                <a:cs typeface="+mn-cs"/>
              </a:rPr>
              <a:t>industria</a:t>
            </a:r>
            <a:endParaRPr lang="en-US" altLang="es-ES" sz="2000" dirty="0">
              <a:solidFill>
                <a:srgbClr val="00915A"/>
              </a:solidFill>
              <a:latin typeface="BNPP Sans" pitchFamily="50" charset="0"/>
              <a:ea typeface="+mn-ea"/>
              <a:cs typeface="+mn-cs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7400736" y="4587974"/>
            <a:ext cx="1224133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700" dirty="0" smtClean="0">
                <a:latin typeface="BNPP Sans" pitchFamily="50" charset="0"/>
              </a:rPr>
              <a:t>Fuente; </a:t>
            </a:r>
            <a:r>
              <a:rPr lang="es-PE" sz="700" dirty="0" err="1" smtClean="0">
                <a:latin typeface="BNPP Sans" pitchFamily="50" charset="0"/>
              </a:rPr>
              <a:t>Sbs,diciembre</a:t>
            </a:r>
            <a:r>
              <a:rPr lang="es-PE" sz="700" dirty="0" smtClean="0">
                <a:latin typeface="BNPP Sans" pitchFamily="50" charset="0"/>
              </a:rPr>
              <a:t> 2017</a:t>
            </a:r>
          </a:p>
        </p:txBody>
      </p:sp>
    </p:spTree>
    <p:extLst>
      <p:ext uri="{BB962C8B-B14F-4D97-AF65-F5344CB8AC3E}">
        <p14:creationId xmlns:p14="http://schemas.microsoft.com/office/powerpoint/2010/main" val="375003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850742" y="3129752"/>
            <a:ext cx="479015" cy="2833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err="1">
                <a:latin typeface="BNPP Sans" pitchFamily="50" charset="0"/>
              </a:rPr>
              <a:t>Asoc.Créd</a:t>
            </a:r>
            <a:endParaRPr lang="es-PE" sz="600" dirty="0">
              <a:latin typeface="BNPP Sans" pitchFamily="50" charset="0"/>
            </a:endParaRPr>
          </a:p>
          <a:p>
            <a:r>
              <a:rPr lang="es-PE" sz="600" dirty="0">
                <a:latin typeface="BNPP Sans" pitchFamily="50" charset="0"/>
              </a:rPr>
              <a:t>           </a:t>
            </a:r>
          </a:p>
        </p:txBody>
      </p:sp>
      <p:graphicFrame>
        <p:nvGraphicFramePr>
          <p:cNvPr id="112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839962"/>
              </p:ext>
            </p:extLst>
          </p:nvPr>
        </p:nvGraphicFramePr>
        <p:xfrm>
          <a:off x="1284529" y="2980681"/>
          <a:ext cx="2382607" cy="1317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9" name="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794360"/>
              </p:ext>
            </p:extLst>
          </p:nvPr>
        </p:nvGraphicFramePr>
        <p:xfrm>
          <a:off x="5391721" y="3020436"/>
          <a:ext cx="1592235" cy="1253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9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5752395"/>
              </p:ext>
            </p:extLst>
          </p:nvPr>
        </p:nvGraphicFramePr>
        <p:xfrm>
          <a:off x="3497668" y="3047635"/>
          <a:ext cx="1665327" cy="1159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9 Tabla"/>
          <p:cNvGraphicFramePr>
            <a:graphicFrameLocks noGrp="1"/>
          </p:cNvGraphicFramePr>
          <p:nvPr>
            <p:extLst/>
          </p:nvPr>
        </p:nvGraphicFramePr>
        <p:xfrm>
          <a:off x="487736" y="1218154"/>
          <a:ext cx="1402061" cy="14522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206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8840">
                <a:tc>
                  <a:txBody>
                    <a:bodyPr/>
                    <a:lstStyle/>
                    <a:p>
                      <a:endParaRPr lang="es-PE" sz="800" dirty="0"/>
                    </a:p>
                  </a:txBody>
                  <a:tcPr marL="77410" marR="77410" marT="34378" marB="3437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Tiendas</a:t>
                      </a:r>
                      <a:r>
                        <a:rPr lang="es-PE" sz="800" baseline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 por departamento</a:t>
                      </a:r>
                      <a:endParaRPr lang="es-PE" sz="80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865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Supermercados</a:t>
                      </a:r>
                    </a:p>
                  </a:txBody>
                  <a:tcPr marL="77410" marR="77410" marT="34378" marB="3437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Mejoramiento del Hogar</a:t>
                      </a:r>
                    </a:p>
                  </a:txBody>
                  <a:tcPr marL="77410" marR="77410" marT="34378" marB="3437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Centros Comerciales</a:t>
                      </a:r>
                    </a:p>
                  </a:txBody>
                  <a:tcPr marL="77410" marR="77410" marT="34378" marB="3437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0001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Tiendas</a:t>
                      </a:r>
                      <a:r>
                        <a:rPr lang="es-PE" sz="800" baseline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 de conveniencia</a:t>
                      </a:r>
                      <a:endParaRPr lang="es-PE" sz="80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Farmacias</a:t>
                      </a:r>
                    </a:p>
                  </a:txBody>
                  <a:tcPr marL="77410" marR="77410" marT="34378" marB="3437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11" name="10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365" y="773162"/>
            <a:ext cx="843885" cy="233106"/>
          </a:xfrm>
          <a:prstGeom prst="rect">
            <a:avLst/>
          </a:prstGeom>
        </p:spPr>
      </p:pic>
      <p:pic>
        <p:nvPicPr>
          <p:cNvPr id="12" name="11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7283" y="729164"/>
            <a:ext cx="824628" cy="277104"/>
          </a:xfrm>
          <a:prstGeom prst="rect">
            <a:avLst/>
          </a:prstGeom>
        </p:spPr>
      </p:pic>
      <p:sp>
        <p:nvSpPr>
          <p:cNvPr id="13" name="AutoShape 2" descr="Resultado de imagen para inretail"/>
          <p:cNvSpPr>
            <a:spLocks noChangeAspect="1" noChangeArrowheads="1"/>
          </p:cNvSpPr>
          <p:nvPr/>
        </p:nvSpPr>
        <p:spPr bwMode="auto">
          <a:xfrm>
            <a:off x="53757" y="-102655"/>
            <a:ext cx="3967238" cy="1211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048" tIns="37024" rIns="74048" bIns="37024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34819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50000" r="53591" b="31250"/>
          <a:stretch/>
        </p:blipFill>
        <p:spPr bwMode="auto">
          <a:xfrm>
            <a:off x="5659153" y="722510"/>
            <a:ext cx="990977" cy="29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AutoShape 5" descr="Resultado de imagen para ripley"/>
          <p:cNvSpPr>
            <a:spLocks noChangeAspect="1" noChangeArrowheads="1"/>
          </p:cNvSpPr>
          <p:nvPr/>
        </p:nvSpPr>
        <p:spPr bwMode="auto">
          <a:xfrm>
            <a:off x="53757" y="-102655"/>
            <a:ext cx="6851280" cy="226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048" tIns="37024" rIns="74048" bIns="37024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34822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1" t="39656" r="41344" b="21982"/>
          <a:stretch/>
        </p:blipFill>
        <p:spPr bwMode="auto">
          <a:xfrm>
            <a:off x="7619958" y="720489"/>
            <a:ext cx="890088" cy="307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7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5" t="34915" r="55534" b="16162"/>
          <a:stretch/>
        </p:blipFill>
        <p:spPr bwMode="auto">
          <a:xfrm>
            <a:off x="2908230" y="1131590"/>
            <a:ext cx="215062" cy="184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6" name="Picture 10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7" t="33837" r="55534" b="16594"/>
          <a:stretch/>
        </p:blipFill>
        <p:spPr bwMode="auto">
          <a:xfrm>
            <a:off x="2259178" y="1059582"/>
            <a:ext cx="301170" cy="264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" name="1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2957001"/>
              </p:ext>
            </p:extLst>
          </p:nvPr>
        </p:nvGraphicFramePr>
        <p:xfrm>
          <a:off x="2152317" y="1523295"/>
          <a:ext cx="515990" cy="1144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 smtClean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31</a:t>
                      </a:r>
                      <a:endParaRPr lang="es-PE" sz="800" b="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865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65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25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4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2" name="21 Tabla"/>
          <p:cNvGraphicFramePr>
            <a:graphicFrameLocks noGrp="1"/>
          </p:cNvGraphicFramePr>
          <p:nvPr>
            <p:extLst/>
          </p:nvPr>
        </p:nvGraphicFramePr>
        <p:xfrm>
          <a:off x="2757538" y="1514693"/>
          <a:ext cx="515990" cy="1144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800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8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8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8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3" name="2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0242807"/>
              </p:ext>
            </p:extLst>
          </p:nvPr>
        </p:nvGraphicFramePr>
        <p:xfrm>
          <a:off x="3833221" y="1244455"/>
          <a:ext cx="515990" cy="14228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8840">
                <a:tc>
                  <a:txBody>
                    <a:bodyPr/>
                    <a:lstStyle/>
                    <a:p>
                      <a:endParaRPr lang="es-PE" sz="800" dirty="0"/>
                    </a:p>
                  </a:txBody>
                  <a:tcPr marL="77410" marR="77410" marT="34378" marB="3437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1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865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90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4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 smtClean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  <a:endParaRPr lang="es-PE" sz="80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24" name="23 Tabla"/>
          <p:cNvGraphicFramePr>
            <a:graphicFrameLocks noGrp="1"/>
          </p:cNvGraphicFramePr>
          <p:nvPr>
            <p:extLst/>
          </p:nvPr>
        </p:nvGraphicFramePr>
        <p:xfrm>
          <a:off x="4438442" y="1235853"/>
          <a:ext cx="515990" cy="14228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8840">
                <a:tc>
                  <a:txBody>
                    <a:bodyPr/>
                    <a:lstStyle/>
                    <a:p>
                      <a:endParaRPr lang="es-PE" sz="800" dirty="0"/>
                    </a:p>
                  </a:txBody>
                  <a:tcPr marL="77410" marR="77410" marT="34378" marB="3437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-</a:t>
                      </a:r>
                      <a:endParaRPr lang="es-PE" sz="80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8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8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26" name="2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1128358"/>
              </p:ext>
            </p:extLst>
          </p:nvPr>
        </p:nvGraphicFramePr>
        <p:xfrm>
          <a:off x="5608306" y="1497475"/>
          <a:ext cx="515990" cy="1144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31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865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 smtClean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24</a:t>
                      </a:r>
                      <a:endParaRPr lang="es-PE" sz="800" b="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25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8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 smtClean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25</a:t>
                      </a:r>
                      <a:endParaRPr lang="es-PE" sz="800" b="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1,153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7" name="2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938746"/>
              </p:ext>
            </p:extLst>
          </p:nvPr>
        </p:nvGraphicFramePr>
        <p:xfrm>
          <a:off x="6213527" y="1488873"/>
          <a:ext cx="515990" cy="1144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8334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8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8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8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8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8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pic>
        <p:nvPicPr>
          <p:cNvPr id="29" name="Picture 7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5" t="34915" r="55534" b="16162"/>
          <a:stretch/>
        </p:blipFill>
        <p:spPr bwMode="auto">
          <a:xfrm>
            <a:off x="4586090" y="1116403"/>
            <a:ext cx="215062" cy="184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0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7" t="33837" r="55534" b="16594"/>
          <a:stretch/>
        </p:blipFill>
        <p:spPr bwMode="auto">
          <a:xfrm>
            <a:off x="3976721" y="1055722"/>
            <a:ext cx="301170" cy="264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7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5" t="34915" r="55534" b="16162"/>
          <a:stretch/>
        </p:blipFill>
        <p:spPr bwMode="auto">
          <a:xfrm>
            <a:off x="6388356" y="1103328"/>
            <a:ext cx="215062" cy="184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0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7" t="33837" r="55534" b="16594"/>
          <a:stretch/>
        </p:blipFill>
        <p:spPr bwMode="auto">
          <a:xfrm>
            <a:off x="5712975" y="1055722"/>
            <a:ext cx="301170" cy="264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3" name="3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1888775"/>
              </p:ext>
            </p:extLst>
          </p:nvPr>
        </p:nvGraphicFramePr>
        <p:xfrm>
          <a:off x="7474094" y="1500366"/>
          <a:ext cx="515990" cy="1144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 smtClean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21</a:t>
                      </a:r>
                      <a:endParaRPr lang="es-PE" sz="800" b="0" dirty="0">
                        <a:solidFill>
                          <a:schemeClr val="tx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865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4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b="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34" name="3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0311065"/>
              </p:ext>
            </p:extLst>
          </p:nvPr>
        </p:nvGraphicFramePr>
        <p:xfrm>
          <a:off x="8079315" y="1491764"/>
          <a:ext cx="515990" cy="1144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8334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√</a:t>
                      </a:r>
                      <a:endParaRPr lang="es-PE" sz="8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8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1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-</a:t>
                      </a:r>
                      <a:endParaRPr lang="es-PE" sz="800" b="1" dirty="0">
                        <a:solidFill>
                          <a:schemeClr val="accent1"/>
                        </a:solidFill>
                        <a:latin typeface="BNPP Sans" pitchFamily="50" charset="0"/>
                      </a:endParaRP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3347">
                <a:tc>
                  <a:txBody>
                    <a:bodyPr/>
                    <a:lstStyle/>
                    <a:p>
                      <a:pPr algn="ctr"/>
                      <a:r>
                        <a:rPr lang="es-PE" sz="800" dirty="0">
                          <a:solidFill>
                            <a:schemeClr val="tx1"/>
                          </a:solidFill>
                          <a:latin typeface="BNPP Sans" pitchFamily="50" charset="0"/>
                        </a:rPr>
                        <a:t>-</a:t>
                      </a:r>
                    </a:p>
                  </a:txBody>
                  <a:tcPr marL="77410" marR="77410" marT="34378" marB="34378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pic>
        <p:nvPicPr>
          <p:cNvPr id="35" name="Picture 7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5" t="34915" r="55534" b="16162"/>
          <a:stretch/>
        </p:blipFill>
        <p:spPr bwMode="auto">
          <a:xfrm>
            <a:off x="8268841" y="1135300"/>
            <a:ext cx="215062" cy="184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10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7" t="33837" r="55534" b="16594"/>
          <a:stretch/>
        </p:blipFill>
        <p:spPr bwMode="auto">
          <a:xfrm>
            <a:off x="7593460" y="1087695"/>
            <a:ext cx="301170" cy="264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8" name="57 Conector recto"/>
          <p:cNvCxnSpPr/>
          <p:nvPr/>
        </p:nvCxnSpPr>
        <p:spPr>
          <a:xfrm>
            <a:off x="1926235" y="1488873"/>
            <a:ext cx="0" cy="11370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58 CuadroTexto"/>
          <p:cNvSpPr txBox="1"/>
          <p:nvPr/>
        </p:nvSpPr>
        <p:spPr>
          <a:xfrm>
            <a:off x="2104336" y="1366052"/>
            <a:ext cx="630931" cy="343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 pitchFamily="50" charset="0"/>
              </a:rPr>
              <a:t>N° Tiendas</a:t>
            </a:r>
          </a:p>
        </p:txBody>
      </p:sp>
      <p:sp>
        <p:nvSpPr>
          <p:cNvPr id="64" name="63 CuadroTexto"/>
          <p:cNvSpPr txBox="1"/>
          <p:nvPr/>
        </p:nvSpPr>
        <p:spPr>
          <a:xfrm>
            <a:off x="2675730" y="1364763"/>
            <a:ext cx="854535" cy="71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 pitchFamily="50" charset="0"/>
              </a:rPr>
              <a:t>E-</a:t>
            </a:r>
            <a:r>
              <a:rPr lang="es-PE" sz="900" dirty="0" err="1">
                <a:latin typeface="BNPP Sans" pitchFamily="50" charset="0"/>
              </a:rPr>
              <a:t>commerce</a:t>
            </a:r>
            <a:endParaRPr lang="es-PE" sz="900" dirty="0">
              <a:latin typeface="BNPP Sans" pitchFamily="50" charset="0"/>
            </a:endParaRPr>
          </a:p>
        </p:txBody>
      </p:sp>
      <p:sp>
        <p:nvSpPr>
          <p:cNvPr id="65" name="64 CuadroTexto"/>
          <p:cNvSpPr txBox="1"/>
          <p:nvPr/>
        </p:nvSpPr>
        <p:spPr>
          <a:xfrm>
            <a:off x="3840490" y="1400352"/>
            <a:ext cx="630931" cy="343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 pitchFamily="50" charset="0"/>
              </a:rPr>
              <a:t>N° Tiendas</a:t>
            </a:r>
          </a:p>
        </p:txBody>
      </p:sp>
      <p:sp>
        <p:nvSpPr>
          <p:cNvPr id="66" name="65 CuadroTexto"/>
          <p:cNvSpPr txBox="1"/>
          <p:nvPr/>
        </p:nvSpPr>
        <p:spPr>
          <a:xfrm>
            <a:off x="4434843" y="1381874"/>
            <a:ext cx="685789" cy="898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 pitchFamily="50" charset="0"/>
              </a:rPr>
              <a:t>E-</a:t>
            </a:r>
            <a:r>
              <a:rPr lang="es-PE" sz="900" dirty="0" err="1">
                <a:latin typeface="BNPP Sans" pitchFamily="50" charset="0"/>
              </a:rPr>
              <a:t>commerce</a:t>
            </a:r>
            <a:endParaRPr lang="es-PE" sz="900" dirty="0">
              <a:latin typeface="BNPP Sans" pitchFamily="50" charset="0"/>
            </a:endParaRPr>
          </a:p>
        </p:txBody>
      </p:sp>
      <p:sp>
        <p:nvSpPr>
          <p:cNvPr id="67" name="66 CuadroTexto"/>
          <p:cNvSpPr txBox="1"/>
          <p:nvPr/>
        </p:nvSpPr>
        <p:spPr>
          <a:xfrm>
            <a:off x="5622105" y="1372636"/>
            <a:ext cx="630931" cy="898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 pitchFamily="50" charset="0"/>
              </a:rPr>
              <a:t>N° Tiendas</a:t>
            </a:r>
          </a:p>
        </p:txBody>
      </p:sp>
      <p:sp>
        <p:nvSpPr>
          <p:cNvPr id="68" name="67 CuadroTexto"/>
          <p:cNvSpPr txBox="1"/>
          <p:nvPr/>
        </p:nvSpPr>
        <p:spPr>
          <a:xfrm>
            <a:off x="6232732" y="1364763"/>
            <a:ext cx="685789" cy="898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 pitchFamily="50" charset="0"/>
              </a:rPr>
              <a:t>E-</a:t>
            </a:r>
            <a:r>
              <a:rPr lang="es-PE" sz="900" dirty="0" err="1">
                <a:latin typeface="BNPP Sans" pitchFamily="50" charset="0"/>
              </a:rPr>
              <a:t>commerce</a:t>
            </a:r>
            <a:endParaRPr lang="es-PE" sz="900" dirty="0">
              <a:latin typeface="BNPP Sans" pitchFamily="50" charset="0"/>
            </a:endParaRPr>
          </a:p>
        </p:txBody>
      </p:sp>
      <p:sp>
        <p:nvSpPr>
          <p:cNvPr id="69" name="68 CuadroTexto"/>
          <p:cNvSpPr txBox="1"/>
          <p:nvPr/>
        </p:nvSpPr>
        <p:spPr>
          <a:xfrm>
            <a:off x="7461462" y="1392642"/>
            <a:ext cx="630931" cy="700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 pitchFamily="50" charset="0"/>
              </a:rPr>
              <a:t>N° Tiendas</a:t>
            </a:r>
          </a:p>
        </p:txBody>
      </p:sp>
      <p:sp>
        <p:nvSpPr>
          <p:cNvPr id="70" name="69 CuadroTexto"/>
          <p:cNvSpPr txBox="1"/>
          <p:nvPr/>
        </p:nvSpPr>
        <p:spPr>
          <a:xfrm>
            <a:off x="8092393" y="1364763"/>
            <a:ext cx="685789" cy="898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 pitchFamily="50" charset="0"/>
              </a:rPr>
              <a:t>E-</a:t>
            </a:r>
            <a:r>
              <a:rPr lang="es-PE" sz="900" dirty="0" err="1">
                <a:latin typeface="BNPP Sans" pitchFamily="50" charset="0"/>
              </a:rPr>
              <a:t>commerce</a:t>
            </a:r>
            <a:endParaRPr lang="es-PE" sz="900" dirty="0">
              <a:latin typeface="BNPP Sans" pitchFamily="50" charset="0"/>
            </a:endParaRPr>
          </a:p>
        </p:txBody>
      </p:sp>
      <p:cxnSp>
        <p:nvCxnSpPr>
          <p:cNvPr id="71" name="Conector recto 80"/>
          <p:cNvCxnSpPr/>
          <p:nvPr/>
        </p:nvCxnSpPr>
        <p:spPr bwMode="auto">
          <a:xfrm>
            <a:off x="3462458" y="1487901"/>
            <a:ext cx="0" cy="1137021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Conector recto 80"/>
          <p:cNvCxnSpPr/>
          <p:nvPr/>
        </p:nvCxnSpPr>
        <p:spPr bwMode="auto">
          <a:xfrm>
            <a:off x="5242551" y="1488873"/>
            <a:ext cx="0" cy="1137021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Conector recto 80"/>
          <p:cNvCxnSpPr/>
          <p:nvPr/>
        </p:nvCxnSpPr>
        <p:spPr bwMode="auto">
          <a:xfrm>
            <a:off x="7094200" y="1471684"/>
            <a:ext cx="0" cy="1137021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72 Rectángulo"/>
          <p:cNvSpPr/>
          <p:nvPr/>
        </p:nvSpPr>
        <p:spPr>
          <a:xfrm>
            <a:off x="322800" y="78465"/>
            <a:ext cx="8534509" cy="659547"/>
          </a:xfrm>
          <a:prstGeom prst="rect">
            <a:avLst/>
          </a:prstGeom>
        </p:spPr>
        <p:txBody>
          <a:bodyPr wrap="square" lIns="74048" tIns="37024" rIns="74048" bIns="37024">
            <a:spAutoFit/>
          </a:bodyPr>
          <a:lstStyle/>
          <a:p>
            <a:r>
              <a:rPr lang="es-PE" sz="1900" b="1" dirty="0">
                <a:solidFill>
                  <a:srgbClr val="00915A"/>
                </a:solidFill>
                <a:latin typeface="BNPP Sans" pitchFamily="50" charset="0"/>
              </a:rPr>
              <a:t>Banca </a:t>
            </a:r>
            <a:r>
              <a:rPr lang="es-PE" sz="1900" b="1" dirty="0" err="1">
                <a:solidFill>
                  <a:srgbClr val="00915A"/>
                </a:solidFill>
                <a:latin typeface="BNPP Sans" pitchFamily="50" charset="0"/>
              </a:rPr>
              <a:t>Retail</a:t>
            </a:r>
            <a:r>
              <a:rPr lang="es-PE" sz="1900" b="1" dirty="0">
                <a:solidFill>
                  <a:srgbClr val="00915A"/>
                </a:solidFill>
                <a:latin typeface="BNPP Sans" pitchFamily="50" charset="0"/>
              </a:rPr>
              <a:t>:  Son 4 grupos los que dominan la industria </a:t>
            </a:r>
            <a:r>
              <a:rPr lang="es-PE" sz="1900" b="1" dirty="0" err="1">
                <a:solidFill>
                  <a:srgbClr val="00915A"/>
                </a:solidFill>
                <a:latin typeface="BNPP Sans" pitchFamily="50" charset="0"/>
              </a:rPr>
              <a:t>retail</a:t>
            </a:r>
            <a:r>
              <a:rPr lang="es-PE" sz="1900" b="1" dirty="0">
                <a:solidFill>
                  <a:srgbClr val="00915A"/>
                </a:solidFill>
                <a:latin typeface="BNPP Sans" pitchFamily="50" charset="0"/>
              </a:rPr>
              <a:t> con formatos de negocio diversificados</a:t>
            </a:r>
            <a:endParaRPr lang="es-PE" sz="1900" b="1" dirty="0">
              <a:latin typeface="BNPP Sans" pitchFamily="50" charset="0"/>
            </a:endParaRPr>
          </a:p>
        </p:txBody>
      </p:sp>
      <p:cxnSp>
        <p:nvCxnSpPr>
          <p:cNvPr id="40" name="Conector recto 80">
            <a:extLst>
              <a:ext uri="{FF2B5EF4-FFF2-40B4-BE49-F238E27FC236}">
                <a16:creationId xmlns:a16="http://schemas.microsoft.com/office/drawing/2014/main" xmlns="" id="{8F2BC880-654E-4B9F-A144-EC7E36F1C8B0}"/>
              </a:ext>
            </a:extLst>
          </p:cNvPr>
          <p:cNvCxnSpPr/>
          <p:nvPr/>
        </p:nvCxnSpPr>
        <p:spPr bwMode="auto">
          <a:xfrm>
            <a:off x="3422948" y="2945789"/>
            <a:ext cx="0" cy="1250277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Conector recto 80">
            <a:extLst>
              <a:ext uri="{FF2B5EF4-FFF2-40B4-BE49-F238E27FC236}">
                <a16:creationId xmlns:a16="http://schemas.microsoft.com/office/drawing/2014/main" xmlns="" id="{EDDA8095-A322-4C96-AA36-B43C61912933}"/>
              </a:ext>
            </a:extLst>
          </p:cNvPr>
          <p:cNvCxnSpPr/>
          <p:nvPr/>
        </p:nvCxnSpPr>
        <p:spPr bwMode="auto">
          <a:xfrm>
            <a:off x="5242551" y="2951668"/>
            <a:ext cx="0" cy="1244398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Conector recto 80">
            <a:extLst>
              <a:ext uri="{FF2B5EF4-FFF2-40B4-BE49-F238E27FC236}">
                <a16:creationId xmlns:a16="http://schemas.microsoft.com/office/drawing/2014/main" xmlns="" id="{EACC6AB5-1EF5-4742-A98B-460F80F0044A}"/>
              </a:ext>
            </a:extLst>
          </p:cNvPr>
          <p:cNvCxnSpPr/>
          <p:nvPr/>
        </p:nvCxnSpPr>
        <p:spPr bwMode="auto">
          <a:xfrm>
            <a:off x="7071325" y="2966671"/>
            <a:ext cx="0" cy="1229395"/>
          </a:xfrm>
          <a:prstGeom prst="line">
            <a:avLst/>
          </a:prstGeom>
          <a:solidFill>
            <a:srgbClr val="BBE0E3"/>
          </a:solidFill>
          <a:ln w="317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Triángulo isósceles 55">
            <a:extLst>
              <a:ext uri="{FF2B5EF4-FFF2-40B4-BE49-F238E27FC236}">
                <a16:creationId xmlns:a16="http://schemas.microsoft.com/office/drawing/2014/main" xmlns="" id="{AEBCA59E-71F6-43B9-9619-D07CEE5DA688}"/>
              </a:ext>
            </a:extLst>
          </p:cNvPr>
          <p:cNvSpPr/>
          <p:nvPr/>
        </p:nvSpPr>
        <p:spPr>
          <a:xfrm rot="10800000">
            <a:off x="2379871" y="2704453"/>
            <a:ext cx="591719" cy="166694"/>
          </a:xfrm>
          <a:prstGeom prst="triangle">
            <a:avLst/>
          </a:prstGeom>
          <a:solidFill>
            <a:schemeClr val="bg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82" name="Triángulo isósceles 81">
            <a:extLst>
              <a:ext uri="{FF2B5EF4-FFF2-40B4-BE49-F238E27FC236}">
                <a16:creationId xmlns:a16="http://schemas.microsoft.com/office/drawing/2014/main" xmlns="" id="{972E2F41-85C9-439C-98BC-0F198AB43984}"/>
              </a:ext>
            </a:extLst>
          </p:cNvPr>
          <p:cNvSpPr/>
          <p:nvPr/>
        </p:nvSpPr>
        <p:spPr>
          <a:xfrm rot="10800000">
            <a:off x="4092104" y="2697741"/>
            <a:ext cx="591719" cy="166694"/>
          </a:xfrm>
          <a:prstGeom prst="triangle">
            <a:avLst/>
          </a:prstGeom>
          <a:solidFill>
            <a:schemeClr val="bg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83" name="Triángulo isósceles 82">
            <a:extLst>
              <a:ext uri="{FF2B5EF4-FFF2-40B4-BE49-F238E27FC236}">
                <a16:creationId xmlns:a16="http://schemas.microsoft.com/office/drawing/2014/main" xmlns="" id="{633DACDE-462A-49A0-8B3E-584676D08141}"/>
              </a:ext>
            </a:extLst>
          </p:cNvPr>
          <p:cNvSpPr/>
          <p:nvPr/>
        </p:nvSpPr>
        <p:spPr>
          <a:xfrm rot="10800000">
            <a:off x="5879802" y="2692970"/>
            <a:ext cx="591719" cy="166694"/>
          </a:xfrm>
          <a:prstGeom prst="triangle">
            <a:avLst/>
          </a:prstGeom>
          <a:solidFill>
            <a:schemeClr val="bg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xmlns="" id="{BA38E7B8-DB19-4644-A03B-A347DB220439}"/>
              </a:ext>
            </a:extLst>
          </p:cNvPr>
          <p:cNvSpPr/>
          <p:nvPr/>
        </p:nvSpPr>
        <p:spPr>
          <a:xfrm>
            <a:off x="1810278" y="4338464"/>
            <a:ext cx="394883" cy="17435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94" name="Rectángulo 93">
            <a:extLst>
              <a:ext uri="{FF2B5EF4-FFF2-40B4-BE49-F238E27FC236}">
                <a16:creationId xmlns:a16="http://schemas.microsoft.com/office/drawing/2014/main" xmlns="" id="{BAB45AE5-D0A9-40A2-AC41-6A64F161FDA8}"/>
              </a:ext>
            </a:extLst>
          </p:cNvPr>
          <p:cNvSpPr/>
          <p:nvPr/>
        </p:nvSpPr>
        <p:spPr>
          <a:xfrm>
            <a:off x="2929768" y="4334911"/>
            <a:ext cx="394883" cy="17435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xmlns="" id="{7017879F-DCCA-44FF-A3F8-83F88BD87282}"/>
              </a:ext>
            </a:extLst>
          </p:cNvPr>
          <p:cNvSpPr/>
          <p:nvPr/>
        </p:nvSpPr>
        <p:spPr>
          <a:xfrm>
            <a:off x="4798476" y="4351647"/>
            <a:ext cx="394883" cy="17435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96" name="Rectángulo 95">
            <a:extLst>
              <a:ext uri="{FF2B5EF4-FFF2-40B4-BE49-F238E27FC236}">
                <a16:creationId xmlns:a16="http://schemas.microsoft.com/office/drawing/2014/main" xmlns="" id="{5608EC33-B338-4888-81DF-5EF03C667E8C}"/>
              </a:ext>
            </a:extLst>
          </p:cNvPr>
          <p:cNvSpPr/>
          <p:nvPr/>
        </p:nvSpPr>
        <p:spPr>
          <a:xfrm>
            <a:off x="3735971" y="4356566"/>
            <a:ext cx="394883" cy="17435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97" name="Rectángulo 96">
            <a:extLst>
              <a:ext uri="{FF2B5EF4-FFF2-40B4-BE49-F238E27FC236}">
                <a16:creationId xmlns:a16="http://schemas.microsoft.com/office/drawing/2014/main" xmlns="" id="{23133B58-D074-47CB-98A6-073BC360814A}"/>
              </a:ext>
            </a:extLst>
          </p:cNvPr>
          <p:cNvSpPr/>
          <p:nvPr/>
        </p:nvSpPr>
        <p:spPr>
          <a:xfrm>
            <a:off x="5591788" y="4358498"/>
            <a:ext cx="394883" cy="17435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98" name="Rectángulo 97">
            <a:extLst>
              <a:ext uri="{FF2B5EF4-FFF2-40B4-BE49-F238E27FC236}">
                <a16:creationId xmlns:a16="http://schemas.microsoft.com/office/drawing/2014/main" xmlns="" id="{E8FD1610-0F91-4FA8-9C99-DA8A970125C8}"/>
              </a:ext>
            </a:extLst>
          </p:cNvPr>
          <p:cNvSpPr/>
          <p:nvPr/>
        </p:nvSpPr>
        <p:spPr>
          <a:xfrm>
            <a:off x="6697397" y="4350191"/>
            <a:ext cx="394883" cy="17435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xmlns="" id="{29F7B4A9-E141-42CD-B06A-AD878B916638}"/>
              </a:ext>
            </a:extLst>
          </p:cNvPr>
          <p:cNvSpPr txBox="1"/>
          <p:nvPr/>
        </p:nvSpPr>
        <p:spPr>
          <a:xfrm>
            <a:off x="1880383" y="4360873"/>
            <a:ext cx="267692" cy="163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 smtClean="0">
                <a:latin typeface="BNPP Sans"/>
              </a:rPr>
              <a:t>162</a:t>
            </a:r>
            <a:endParaRPr lang="es-PE" sz="900" dirty="0">
              <a:latin typeface="BNPP Sans"/>
            </a:endParaRPr>
          </a:p>
        </p:txBody>
      </p:sp>
      <p:sp>
        <p:nvSpPr>
          <p:cNvPr id="102" name="CuadroTexto 101">
            <a:extLst>
              <a:ext uri="{FF2B5EF4-FFF2-40B4-BE49-F238E27FC236}">
                <a16:creationId xmlns:a16="http://schemas.microsoft.com/office/drawing/2014/main" xmlns="" id="{EBAA4C42-746D-45BF-B9EC-DF9A4FD9A0BC}"/>
              </a:ext>
            </a:extLst>
          </p:cNvPr>
          <p:cNvSpPr txBox="1"/>
          <p:nvPr/>
        </p:nvSpPr>
        <p:spPr>
          <a:xfrm>
            <a:off x="3046213" y="4358719"/>
            <a:ext cx="267692" cy="1572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/>
              </a:rPr>
              <a:t>64</a:t>
            </a: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xmlns="" id="{095D3F37-1E7C-43A3-BEBC-4BD0384307CF}"/>
              </a:ext>
            </a:extLst>
          </p:cNvPr>
          <p:cNvSpPr txBox="1"/>
          <p:nvPr/>
        </p:nvSpPr>
        <p:spPr>
          <a:xfrm>
            <a:off x="3811527" y="4376845"/>
            <a:ext cx="232599" cy="163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>
                <a:latin typeface="BNPP Sans"/>
              </a:rPr>
              <a:t>42</a:t>
            </a:r>
          </a:p>
        </p:txBody>
      </p:sp>
      <p:sp>
        <p:nvSpPr>
          <p:cNvPr id="104" name="CuadroTexto 103">
            <a:extLst>
              <a:ext uri="{FF2B5EF4-FFF2-40B4-BE49-F238E27FC236}">
                <a16:creationId xmlns:a16="http://schemas.microsoft.com/office/drawing/2014/main" xmlns="" id="{F0751042-BB9A-4056-83D0-45870E2A787A}"/>
              </a:ext>
            </a:extLst>
          </p:cNvPr>
          <p:cNvSpPr txBox="1"/>
          <p:nvPr/>
        </p:nvSpPr>
        <p:spPr>
          <a:xfrm>
            <a:off x="4872826" y="4369886"/>
            <a:ext cx="232599" cy="163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>
                <a:latin typeface="BNPP Sans"/>
              </a:rPr>
              <a:t>9</a:t>
            </a:r>
          </a:p>
        </p:txBody>
      </p:sp>
      <p:sp>
        <p:nvSpPr>
          <p:cNvPr id="105" name="CuadroTexto 104">
            <a:extLst>
              <a:ext uri="{FF2B5EF4-FFF2-40B4-BE49-F238E27FC236}">
                <a16:creationId xmlns:a16="http://schemas.microsoft.com/office/drawing/2014/main" xmlns="" id="{0A24CF97-E316-4211-BE85-81CB4A7CB9BB}"/>
              </a:ext>
            </a:extLst>
          </p:cNvPr>
          <p:cNvSpPr txBox="1"/>
          <p:nvPr/>
        </p:nvSpPr>
        <p:spPr>
          <a:xfrm>
            <a:off x="5688675" y="4390408"/>
            <a:ext cx="232599" cy="163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>
                <a:latin typeface="BNPP Sans"/>
              </a:rPr>
              <a:t>64</a:t>
            </a:r>
          </a:p>
        </p:txBody>
      </p:sp>
      <p:sp>
        <p:nvSpPr>
          <p:cNvPr id="106" name="CuadroTexto 105">
            <a:extLst>
              <a:ext uri="{FF2B5EF4-FFF2-40B4-BE49-F238E27FC236}">
                <a16:creationId xmlns:a16="http://schemas.microsoft.com/office/drawing/2014/main" xmlns="" id="{18513FE1-BD77-4D88-93D5-E22989230407}"/>
              </a:ext>
            </a:extLst>
          </p:cNvPr>
          <p:cNvSpPr txBox="1"/>
          <p:nvPr/>
        </p:nvSpPr>
        <p:spPr>
          <a:xfrm>
            <a:off x="6774784" y="4382594"/>
            <a:ext cx="232599" cy="163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>
                <a:latin typeface="BNPP Sans"/>
              </a:rPr>
              <a:t>8</a:t>
            </a:r>
          </a:p>
        </p:txBody>
      </p:sp>
      <p:sp>
        <p:nvSpPr>
          <p:cNvPr id="91" name="Flecha: pentágono 90">
            <a:extLst>
              <a:ext uri="{FF2B5EF4-FFF2-40B4-BE49-F238E27FC236}">
                <a16:creationId xmlns:a16="http://schemas.microsoft.com/office/drawing/2014/main" xmlns="" id="{17F4EF7F-C214-4ECB-BF56-3181904C0DEC}"/>
              </a:ext>
            </a:extLst>
          </p:cNvPr>
          <p:cNvSpPr/>
          <p:nvPr/>
        </p:nvSpPr>
        <p:spPr>
          <a:xfrm>
            <a:off x="182941" y="2951669"/>
            <a:ext cx="1343065" cy="486383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xmlns="" id="{89BCE781-4935-4444-B0ED-14E114F40F75}"/>
              </a:ext>
            </a:extLst>
          </p:cNvPr>
          <p:cNvSpPr txBox="1"/>
          <p:nvPr/>
        </p:nvSpPr>
        <p:spPr>
          <a:xfrm>
            <a:off x="107504" y="3003798"/>
            <a:ext cx="1328019" cy="3902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b="1" dirty="0">
                <a:latin typeface="BNPP Sans"/>
              </a:rPr>
              <a:t>Estimación de </a:t>
            </a:r>
          </a:p>
          <a:p>
            <a:pPr algn="ctr"/>
            <a:r>
              <a:rPr lang="es-PE" sz="900" b="1" dirty="0">
                <a:latin typeface="BNPP Sans"/>
              </a:rPr>
              <a:t>Seguros 2017</a:t>
            </a:r>
          </a:p>
          <a:p>
            <a:pPr algn="ctr"/>
            <a:r>
              <a:rPr lang="es-PE" sz="900" b="1" dirty="0">
                <a:latin typeface="BNPP Sans"/>
              </a:rPr>
              <a:t>( M Soles)</a:t>
            </a:r>
          </a:p>
        </p:txBody>
      </p:sp>
      <p:sp>
        <p:nvSpPr>
          <p:cNvPr id="116" name="Triángulo isósceles 83">
            <a:extLst>
              <a:ext uri="{FF2B5EF4-FFF2-40B4-BE49-F238E27FC236}">
                <a16:creationId xmlns:a16="http://schemas.microsoft.com/office/drawing/2014/main" xmlns="" id="{D1407348-6410-4F3B-A439-1DAF3927BA8C}"/>
              </a:ext>
            </a:extLst>
          </p:cNvPr>
          <p:cNvSpPr/>
          <p:nvPr/>
        </p:nvSpPr>
        <p:spPr>
          <a:xfrm rot="10800000">
            <a:off x="7718981" y="2686721"/>
            <a:ext cx="591719" cy="166694"/>
          </a:xfrm>
          <a:prstGeom prst="triangle">
            <a:avLst/>
          </a:prstGeom>
          <a:solidFill>
            <a:schemeClr val="bg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117" name="Rectángulo 98">
            <a:extLst>
              <a:ext uri="{FF2B5EF4-FFF2-40B4-BE49-F238E27FC236}">
                <a16:creationId xmlns:a16="http://schemas.microsoft.com/office/drawing/2014/main" xmlns="" id="{8C050FD1-208E-484F-8FDD-8C53C6ACEE1A}"/>
              </a:ext>
            </a:extLst>
          </p:cNvPr>
          <p:cNvSpPr/>
          <p:nvPr/>
        </p:nvSpPr>
        <p:spPr>
          <a:xfrm>
            <a:off x="7437080" y="4358498"/>
            <a:ext cx="394883" cy="17435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118" name="Rectángulo 99">
            <a:extLst>
              <a:ext uri="{FF2B5EF4-FFF2-40B4-BE49-F238E27FC236}">
                <a16:creationId xmlns:a16="http://schemas.microsoft.com/office/drawing/2014/main" xmlns="" id="{96D085D4-A697-4FAA-AD77-6616BD4544FB}"/>
              </a:ext>
            </a:extLst>
          </p:cNvPr>
          <p:cNvSpPr/>
          <p:nvPr/>
        </p:nvSpPr>
        <p:spPr>
          <a:xfrm>
            <a:off x="8580741" y="4363348"/>
            <a:ext cx="394883" cy="17435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119" name="CuadroTexto 106">
            <a:extLst>
              <a:ext uri="{FF2B5EF4-FFF2-40B4-BE49-F238E27FC236}">
                <a16:creationId xmlns:a16="http://schemas.microsoft.com/office/drawing/2014/main" xmlns="" id="{94D1B342-817E-4296-8357-A5D9DFEBA9C6}"/>
              </a:ext>
            </a:extLst>
          </p:cNvPr>
          <p:cNvSpPr txBox="1"/>
          <p:nvPr/>
        </p:nvSpPr>
        <p:spPr>
          <a:xfrm>
            <a:off x="7511445" y="4376845"/>
            <a:ext cx="232599" cy="163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>
                <a:latin typeface="BNPP Sans"/>
              </a:rPr>
              <a:t>55</a:t>
            </a:r>
          </a:p>
        </p:txBody>
      </p:sp>
      <p:sp>
        <p:nvSpPr>
          <p:cNvPr id="120" name="CuadroTexto 107">
            <a:extLst>
              <a:ext uri="{FF2B5EF4-FFF2-40B4-BE49-F238E27FC236}">
                <a16:creationId xmlns:a16="http://schemas.microsoft.com/office/drawing/2014/main" xmlns="" id="{8AF90303-885E-4D27-8F2B-CD6CD2CAEF8F}"/>
              </a:ext>
            </a:extLst>
          </p:cNvPr>
          <p:cNvSpPr txBox="1"/>
          <p:nvPr/>
        </p:nvSpPr>
        <p:spPr>
          <a:xfrm>
            <a:off x="8661882" y="4362590"/>
            <a:ext cx="232599" cy="163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900" dirty="0">
                <a:latin typeface="BNPP Sans"/>
              </a:rPr>
              <a:t>13</a:t>
            </a:r>
          </a:p>
        </p:txBody>
      </p:sp>
      <p:pic>
        <p:nvPicPr>
          <p:cNvPr id="84" name="Picture 403" descr="Resultado de imagen para logo cardif png">
            <a:extLst>
              <a:ext uri="{FF2B5EF4-FFF2-40B4-BE49-F238E27FC236}">
                <a16:creationId xmlns="" xmlns:a16="http://schemas.microsoft.com/office/drawing/2014/main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1547664" y="4358950"/>
            <a:ext cx="210092" cy="16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403" descr="Resultado de imagen para logo cardif png">
            <a:extLst>
              <a:ext uri="{FF2B5EF4-FFF2-40B4-BE49-F238E27FC236}">
                <a16:creationId xmlns="" xmlns:a16="http://schemas.microsoft.com/office/drawing/2014/main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3491880" y="4358498"/>
            <a:ext cx="210092" cy="16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403" descr="Resultado de imagen para logo cardif png">
            <a:extLst>
              <a:ext uri="{FF2B5EF4-FFF2-40B4-BE49-F238E27FC236}">
                <a16:creationId xmlns="" xmlns:a16="http://schemas.microsoft.com/office/drawing/2014/main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5364088" y="4358950"/>
            <a:ext cx="210092" cy="16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403" descr="Resultado de imagen para logo cardif png">
            <a:extLst>
              <a:ext uri="{FF2B5EF4-FFF2-40B4-BE49-F238E27FC236}">
                <a16:creationId xmlns="" xmlns:a16="http://schemas.microsoft.com/office/drawing/2014/main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7193244" y="4358498"/>
            <a:ext cx="210092" cy="16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859" y="4332820"/>
            <a:ext cx="184906" cy="16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118" y="4358498"/>
            <a:ext cx="184906" cy="16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8" y="4358498"/>
            <a:ext cx="184906" cy="16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0362" y="4347808"/>
            <a:ext cx="184906" cy="16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403" descr="Resultado de imagen para logo cardif png">
            <a:extLst>
              <a:ext uri="{FF2B5EF4-FFF2-40B4-BE49-F238E27FC236}">
                <a16:creationId xmlns="" xmlns:a16="http://schemas.microsoft.com/office/drawing/2014/main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61023" y="3711168"/>
            <a:ext cx="210092" cy="16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" name="Picture 2" descr="Resultado de imagen para signo negativo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7" y="3923545"/>
            <a:ext cx="184906" cy="16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9" name="108 CuadroTexto"/>
          <p:cNvSpPr txBox="1"/>
          <p:nvPr/>
        </p:nvSpPr>
        <p:spPr>
          <a:xfrm>
            <a:off x="313501" y="3738954"/>
            <a:ext cx="1075540" cy="1341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dirty="0">
                <a:latin typeface="BNPP Sans" pitchFamily="50" charset="0"/>
              </a:rPr>
              <a:t>SI participa Cardif</a:t>
            </a:r>
          </a:p>
        </p:txBody>
      </p:sp>
      <p:sp>
        <p:nvSpPr>
          <p:cNvPr id="110" name="109 CuadroTexto"/>
          <p:cNvSpPr txBox="1"/>
          <p:nvPr/>
        </p:nvSpPr>
        <p:spPr>
          <a:xfrm>
            <a:off x="313501" y="3932046"/>
            <a:ext cx="1212505" cy="1557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dirty="0">
                <a:latin typeface="BNPP Sans" pitchFamily="50" charset="0"/>
              </a:rPr>
              <a:t>NO participa Cardif</a:t>
            </a:r>
          </a:p>
        </p:txBody>
      </p:sp>
      <p:sp>
        <p:nvSpPr>
          <p:cNvPr id="4" name="3 Rectángulo"/>
          <p:cNvSpPr/>
          <p:nvPr/>
        </p:nvSpPr>
        <p:spPr>
          <a:xfrm>
            <a:off x="4693621" y="4250210"/>
            <a:ext cx="148290" cy="9636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114" name="113 CuadroTexto"/>
          <p:cNvSpPr txBox="1"/>
          <p:nvPr/>
        </p:nvSpPr>
        <p:spPr>
          <a:xfrm>
            <a:off x="3031400" y="3695881"/>
            <a:ext cx="239507" cy="962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err="1">
                <a:latin typeface="BNPP Sans" pitchFamily="50" charset="0"/>
              </a:rPr>
              <a:t>Gex</a:t>
            </a:r>
            <a:endParaRPr lang="es-PE" sz="600" dirty="0">
              <a:latin typeface="BNPP Sans" pitchFamily="50" charset="0"/>
            </a:endParaRPr>
          </a:p>
        </p:txBody>
      </p:sp>
      <p:sp>
        <p:nvSpPr>
          <p:cNvPr id="115" name="114 CuadroTexto"/>
          <p:cNvSpPr txBox="1"/>
          <p:nvPr/>
        </p:nvSpPr>
        <p:spPr>
          <a:xfrm>
            <a:off x="2827262" y="4021213"/>
            <a:ext cx="429647" cy="768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Vida /Acc</a:t>
            </a:r>
          </a:p>
        </p:txBody>
      </p:sp>
      <p:sp>
        <p:nvSpPr>
          <p:cNvPr id="123" name="122 CuadroTexto"/>
          <p:cNvSpPr txBox="1"/>
          <p:nvPr/>
        </p:nvSpPr>
        <p:spPr>
          <a:xfrm>
            <a:off x="1629012" y="3845754"/>
            <a:ext cx="619366" cy="1555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Fraude</a:t>
            </a:r>
          </a:p>
        </p:txBody>
      </p:sp>
      <p:sp>
        <p:nvSpPr>
          <p:cNvPr id="124" name="123 CuadroTexto"/>
          <p:cNvSpPr txBox="1"/>
          <p:nvPr/>
        </p:nvSpPr>
        <p:spPr>
          <a:xfrm>
            <a:off x="1741076" y="3257512"/>
            <a:ext cx="229090" cy="1555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Auto</a:t>
            </a:r>
          </a:p>
        </p:txBody>
      </p:sp>
      <p:sp>
        <p:nvSpPr>
          <p:cNvPr id="125" name="124 CuadroTexto"/>
          <p:cNvSpPr txBox="1"/>
          <p:nvPr/>
        </p:nvSpPr>
        <p:spPr>
          <a:xfrm>
            <a:off x="1949495" y="3012814"/>
            <a:ext cx="309683" cy="92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Salud</a:t>
            </a:r>
          </a:p>
        </p:txBody>
      </p:sp>
      <p:sp>
        <p:nvSpPr>
          <p:cNvPr id="126" name="125 CuadroTexto"/>
          <p:cNvSpPr txBox="1"/>
          <p:nvPr/>
        </p:nvSpPr>
        <p:spPr>
          <a:xfrm>
            <a:off x="2211301" y="2943879"/>
            <a:ext cx="251231" cy="9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SOAT</a:t>
            </a:r>
          </a:p>
        </p:txBody>
      </p:sp>
      <p:sp>
        <p:nvSpPr>
          <p:cNvPr id="127" name="126 CuadroTexto"/>
          <p:cNvSpPr txBox="1"/>
          <p:nvPr/>
        </p:nvSpPr>
        <p:spPr>
          <a:xfrm>
            <a:off x="2444839" y="2929320"/>
            <a:ext cx="309683" cy="1075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Home</a:t>
            </a:r>
          </a:p>
        </p:txBody>
      </p:sp>
      <p:sp>
        <p:nvSpPr>
          <p:cNvPr id="130" name="129 CuadroTexto"/>
          <p:cNvSpPr txBox="1"/>
          <p:nvPr/>
        </p:nvSpPr>
        <p:spPr>
          <a:xfrm>
            <a:off x="4763536" y="3209650"/>
            <a:ext cx="479015" cy="957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err="1">
                <a:latin typeface="BNPP Sans" pitchFamily="50" charset="0"/>
              </a:rPr>
              <a:t>Asoc.Créd</a:t>
            </a:r>
            <a:endParaRPr lang="es-PE" sz="600" dirty="0">
              <a:latin typeface="BNPP Sans" pitchFamily="50" charset="0"/>
            </a:endParaRPr>
          </a:p>
        </p:txBody>
      </p:sp>
      <p:sp>
        <p:nvSpPr>
          <p:cNvPr id="131" name="130 CuadroTexto"/>
          <p:cNvSpPr txBox="1"/>
          <p:nvPr/>
        </p:nvSpPr>
        <p:spPr>
          <a:xfrm>
            <a:off x="3646199" y="3812005"/>
            <a:ext cx="262844" cy="61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Fraude</a:t>
            </a:r>
          </a:p>
        </p:txBody>
      </p:sp>
      <p:sp>
        <p:nvSpPr>
          <p:cNvPr id="134" name="133 CuadroTexto"/>
          <p:cNvSpPr txBox="1"/>
          <p:nvPr/>
        </p:nvSpPr>
        <p:spPr>
          <a:xfrm>
            <a:off x="3479396" y="3550698"/>
            <a:ext cx="429647" cy="768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Vida /Acc</a:t>
            </a:r>
          </a:p>
        </p:txBody>
      </p:sp>
      <p:sp>
        <p:nvSpPr>
          <p:cNvPr id="135" name="134 CuadroTexto"/>
          <p:cNvSpPr txBox="1"/>
          <p:nvPr/>
        </p:nvSpPr>
        <p:spPr>
          <a:xfrm>
            <a:off x="3718257" y="3336236"/>
            <a:ext cx="244466" cy="768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err="1">
                <a:latin typeface="BNPP Sans" pitchFamily="50" charset="0"/>
              </a:rPr>
              <a:t>Gex</a:t>
            </a:r>
            <a:endParaRPr lang="es-PE" sz="600" dirty="0">
              <a:latin typeface="BNPP Sans" pitchFamily="50" charset="0"/>
            </a:endParaRPr>
          </a:p>
        </p:txBody>
      </p:sp>
      <p:sp>
        <p:nvSpPr>
          <p:cNvPr id="136" name="135 CuadroTexto"/>
          <p:cNvSpPr txBox="1"/>
          <p:nvPr/>
        </p:nvSpPr>
        <p:spPr>
          <a:xfrm>
            <a:off x="3864820" y="3117345"/>
            <a:ext cx="251231" cy="9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SOAT</a:t>
            </a:r>
          </a:p>
        </p:txBody>
      </p:sp>
      <p:sp>
        <p:nvSpPr>
          <p:cNvPr id="137" name="136 CuadroTexto"/>
          <p:cNvSpPr txBox="1"/>
          <p:nvPr/>
        </p:nvSpPr>
        <p:spPr>
          <a:xfrm>
            <a:off x="4100200" y="2983085"/>
            <a:ext cx="309683" cy="92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Salud</a:t>
            </a:r>
          </a:p>
        </p:txBody>
      </p:sp>
      <p:sp>
        <p:nvSpPr>
          <p:cNvPr id="138" name="137 CuadroTexto"/>
          <p:cNvSpPr txBox="1"/>
          <p:nvPr/>
        </p:nvSpPr>
        <p:spPr>
          <a:xfrm>
            <a:off x="4374141" y="2966671"/>
            <a:ext cx="309683" cy="1075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Home</a:t>
            </a:r>
          </a:p>
        </p:txBody>
      </p:sp>
      <p:sp>
        <p:nvSpPr>
          <p:cNvPr id="140" name="139 CuadroTexto"/>
          <p:cNvSpPr txBox="1"/>
          <p:nvPr/>
        </p:nvSpPr>
        <p:spPr>
          <a:xfrm>
            <a:off x="6608176" y="3266848"/>
            <a:ext cx="479015" cy="957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err="1">
                <a:latin typeface="BNPP Sans" pitchFamily="50" charset="0"/>
              </a:rPr>
              <a:t>Asoc.Créd</a:t>
            </a:r>
            <a:endParaRPr lang="es-PE" sz="600" dirty="0">
              <a:latin typeface="BNPP Sans" pitchFamily="50" charset="0"/>
            </a:endParaRPr>
          </a:p>
        </p:txBody>
      </p:sp>
      <p:sp>
        <p:nvSpPr>
          <p:cNvPr id="141" name="140 CuadroTexto"/>
          <p:cNvSpPr txBox="1"/>
          <p:nvPr/>
        </p:nvSpPr>
        <p:spPr>
          <a:xfrm>
            <a:off x="5491251" y="3711169"/>
            <a:ext cx="244466" cy="768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err="1">
                <a:latin typeface="BNPP Sans" pitchFamily="50" charset="0"/>
              </a:rPr>
              <a:t>Gex</a:t>
            </a:r>
            <a:endParaRPr lang="es-PE" sz="600" dirty="0">
              <a:latin typeface="BNPP Sans" pitchFamily="50" charset="0"/>
            </a:endParaRPr>
          </a:p>
        </p:txBody>
      </p:sp>
      <p:sp>
        <p:nvSpPr>
          <p:cNvPr id="143" name="142 CuadroTexto"/>
          <p:cNvSpPr txBox="1"/>
          <p:nvPr/>
        </p:nvSpPr>
        <p:spPr>
          <a:xfrm>
            <a:off x="5303510" y="3438052"/>
            <a:ext cx="429647" cy="768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Vida /Acc</a:t>
            </a:r>
          </a:p>
        </p:txBody>
      </p:sp>
      <p:sp>
        <p:nvSpPr>
          <p:cNvPr id="144" name="143 CuadroTexto"/>
          <p:cNvSpPr txBox="1"/>
          <p:nvPr/>
        </p:nvSpPr>
        <p:spPr>
          <a:xfrm>
            <a:off x="5529738" y="3196534"/>
            <a:ext cx="290312" cy="957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Fraude</a:t>
            </a:r>
          </a:p>
        </p:txBody>
      </p:sp>
      <p:sp>
        <p:nvSpPr>
          <p:cNvPr id="145" name="144 CuadroTexto"/>
          <p:cNvSpPr txBox="1"/>
          <p:nvPr/>
        </p:nvSpPr>
        <p:spPr>
          <a:xfrm>
            <a:off x="5820051" y="3057135"/>
            <a:ext cx="251231" cy="9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SOAT</a:t>
            </a:r>
          </a:p>
        </p:txBody>
      </p:sp>
      <p:sp>
        <p:nvSpPr>
          <p:cNvPr id="146" name="145 CuadroTexto"/>
          <p:cNvSpPr txBox="1"/>
          <p:nvPr/>
        </p:nvSpPr>
        <p:spPr>
          <a:xfrm>
            <a:off x="6106562" y="2992020"/>
            <a:ext cx="309683" cy="92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Salud</a:t>
            </a:r>
          </a:p>
        </p:txBody>
      </p:sp>
      <p:graphicFrame>
        <p:nvGraphicFramePr>
          <p:cNvPr id="147" name="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6258610"/>
              </p:ext>
            </p:extLst>
          </p:nvPr>
        </p:nvGraphicFramePr>
        <p:xfrm>
          <a:off x="7078820" y="3020436"/>
          <a:ext cx="2229348" cy="1210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48" name="147 CuadroTexto"/>
          <p:cNvSpPr txBox="1"/>
          <p:nvPr/>
        </p:nvSpPr>
        <p:spPr>
          <a:xfrm>
            <a:off x="8656592" y="3730069"/>
            <a:ext cx="479015" cy="191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err="1">
                <a:latin typeface="BNPP Sans" pitchFamily="50" charset="0"/>
              </a:rPr>
              <a:t>Asoc.Créd</a:t>
            </a:r>
            <a:endParaRPr lang="es-PE" sz="600" dirty="0">
              <a:latin typeface="BNPP Sans" pitchFamily="50" charset="0"/>
            </a:endParaRPr>
          </a:p>
        </p:txBody>
      </p:sp>
      <p:sp>
        <p:nvSpPr>
          <p:cNvPr id="150" name="149 CuadroTexto"/>
          <p:cNvSpPr txBox="1"/>
          <p:nvPr/>
        </p:nvSpPr>
        <p:spPr>
          <a:xfrm>
            <a:off x="7204874" y="3828633"/>
            <a:ext cx="429647" cy="768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Vida /Acc</a:t>
            </a:r>
          </a:p>
        </p:txBody>
      </p:sp>
      <p:sp>
        <p:nvSpPr>
          <p:cNvPr id="151" name="150 CuadroTexto"/>
          <p:cNvSpPr txBox="1"/>
          <p:nvPr/>
        </p:nvSpPr>
        <p:spPr>
          <a:xfrm>
            <a:off x="7280313" y="3506756"/>
            <a:ext cx="244466" cy="768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err="1">
                <a:latin typeface="BNPP Sans" pitchFamily="50" charset="0"/>
              </a:rPr>
              <a:t>Gex</a:t>
            </a:r>
            <a:endParaRPr lang="es-PE" sz="600" dirty="0">
              <a:latin typeface="BNPP Sans" pitchFamily="50" charset="0"/>
            </a:endParaRPr>
          </a:p>
        </p:txBody>
      </p:sp>
      <p:sp>
        <p:nvSpPr>
          <p:cNvPr id="152" name="151 CuadroTexto"/>
          <p:cNvSpPr txBox="1"/>
          <p:nvPr/>
        </p:nvSpPr>
        <p:spPr>
          <a:xfrm>
            <a:off x="7288276" y="3268621"/>
            <a:ext cx="262844" cy="61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Fraude</a:t>
            </a:r>
          </a:p>
        </p:txBody>
      </p:sp>
      <p:sp>
        <p:nvSpPr>
          <p:cNvPr id="153" name="152 CuadroTexto"/>
          <p:cNvSpPr txBox="1"/>
          <p:nvPr/>
        </p:nvSpPr>
        <p:spPr>
          <a:xfrm>
            <a:off x="7478914" y="3027485"/>
            <a:ext cx="229090" cy="1555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Auto</a:t>
            </a:r>
          </a:p>
        </p:txBody>
      </p:sp>
      <p:sp>
        <p:nvSpPr>
          <p:cNvPr id="154" name="153 CuadroTexto"/>
          <p:cNvSpPr txBox="1"/>
          <p:nvPr/>
        </p:nvSpPr>
        <p:spPr>
          <a:xfrm>
            <a:off x="7744044" y="2945789"/>
            <a:ext cx="309683" cy="92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Salud</a:t>
            </a:r>
          </a:p>
        </p:txBody>
      </p:sp>
      <p:sp>
        <p:nvSpPr>
          <p:cNvPr id="155" name="154 CuadroTexto"/>
          <p:cNvSpPr txBox="1"/>
          <p:nvPr/>
        </p:nvSpPr>
        <p:spPr>
          <a:xfrm>
            <a:off x="8057071" y="2939097"/>
            <a:ext cx="251231" cy="9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SOAT</a:t>
            </a:r>
          </a:p>
        </p:txBody>
      </p:sp>
      <p:cxnSp>
        <p:nvCxnSpPr>
          <p:cNvPr id="3" name="2 Conector recto"/>
          <p:cNvCxnSpPr/>
          <p:nvPr/>
        </p:nvCxnSpPr>
        <p:spPr>
          <a:xfrm>
            <a:off x="8107631" y="3129752"/>
            <a:ext cx="0" cy="50698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7520759" y="3438052"/>
            <a:ext cx="586872" cy="19868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20 Conector recto"/>
          <p:cNvCxnSpPr/>
          <p:nvPr/>
        </p:nvCxnSpPr>
        <p:spPr>
          <a:xfrm>
            <a:off x="6261403" y="3244395"/>
            <a:ext cx="0" cy="50520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27 Conector recto"/>
          <p:cNvCxnSpPr/>
          <p:nvPr/>
        </p:nvCxnSpPr>
        <p:spPr>
          <a:xfrm>
            <a:off x="5820050" y="3299193"/>
            <a:ext cx="432985" cy="44926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42 Conector recto"/>
          <p:cNvCxnSpPr/>
          <p:nvPr/>
        </p:nvCxnSpPr>
        <p:spPr>
          <a:xfrm>
            <a:off x="2499389" y="3122164"/>
            <a:ext cx="0" cy="5278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44 Conector recto"/>
          <p:cNvCxnSpPr/>
          <p:nvPr/>
        </p:nvCxnSpPr>
        <p:spPr>
          <a:xfrm flipV="1">
            <a:off x="1856053" y="3650052"/>
            <a:ext cx="643336" cy="11286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CuadroTexto"/>
          <p:cNvSpPr txBox="1"/>
          <p:nvPr/>
        </p:nvSpPr>
        <p:spPr>
          <a:xfrm>
            <a:off x="3010535" y="3266848"/>
            <a:ext cx="281323" cy="1167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>
                <a:latin typeface="BNPP Sans" pitchFamily="50" charset="0"/>
              </a:rPr>
              <a:t>62</a:t>
            </a:r>
          </a:p>
        </p:txBody>
      </p:sp>
      <p:sp>
        <p:nvSpPr>
          <p:cNvPr id="5" name="4 Rectángulo"/>
          <p:cNvSpPr/>
          <p:nvPr/>
        </p:nvSpPr>
        <p:spPr>
          <a:xfrm>
            <a:off x="2255011" y="4331696"/>
            <a:ext cx="398351" cy="18419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2343509" y="4362490"/>
            <a:ext cx="265836" cy="157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 smtClean="0">
                <a:latin typeface="BNPP Sans" pitchFamily="50" charset="0"/>
              </a:rPr>
              <a:t>64%</a:t>
            </a:r>
          </a:p>
        </p:txBody>
      </p:sp>
      <p:sp>
        <p:nvSpPr>
          <p:cNvPr id="9" name="8 Flecha circular"/>
          <p:cNvSpPr/>
          <p:nvPr/>
        </p:nvSpPr>
        <p:spPr>
          <a:xfrm>
            <a:off x="2025431" y="4133475"/>
            <a:ext cx="378988" cy="310483"/>
          </a:xfrm>
          <a:prstGeom prst="circular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21" name="120 Rectángulo"/>
          <p:cNvSpPr/>
          <p:nvPr/>
        </p:nvSpPr>
        <p:spPr>
          <a:xfrm>
            <a:off x="4173649" y="4360873"/>
            <a:ext cx="398351" cy="18419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122" name="121 CuadroTexto"/>
          <p:cNvSpPr txBox="1"/>
          <p:nvPr/>
        </p:nvSpPr>
        <p:spPr>
          <a:xfrm>
            <a:off x="4306164" y="4396096"/>
            <a:ext cx="265836" cy="157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 smtClean="0">
                <a:latin typeface="BNPP Sans" pitchFamily="50" charset="0"/>
              </a:rPr>
              <a:t>12%</a:t>
            </a:r>
          </a:p>
        </p:txBody>
      </p:sp>
      <p:sp>
        <p:nvSpPr>
          <p:cNvPr id="128" name="127 Flecha circular"/>
          <p:cNvSpPr/>
          <p:nvPr/>
        </p:nvSpPr>
        <p:spPr>
          <a:xfrm>
            <a:off x="3958988" y="4155424"/>
            <a:ext cx="378988" cy="310483"/>
          </a:xfrm>
          <a:prstGeom prst="circular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32" name="131 CuadroTexto"/>
          <p:cNvSpPr txBox="1"/>
          <p:nvPr/>
        </p:nvSpPr>
        <p:spPr>
          <a:xfrm>
            <a:off x="6099814" y="4393252"/>
            <a:ext cx="265836" cy="157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 smtClean="0">
                <a:latin typeface="BNPP Sans" pitchFamily="50" charset="0"/>
              </a:rPr>
              <a:t>15%</a:t>
            </a:r>
          </a:p>
        </p:txBody>
      </p:sp>
      <p:sp>
        <p:nvSpPr>
          <p:cNvPr id="133" name="132 Rectángulo"/>
          <p:cNvSpPr/>
          <p:nvPr/>
        </p:nvSpPr>
        <p:spPr>
          <a:xfrm>
            <a:off x="6006659" y="4343571"/>
            <a:ext cx="398351" cy="18419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142" name="141 Flecha circular"/>
          <p:cNvSpPr/>
          <p:nvPr/>
        </p:nvSpPr>
        <p:spPr>
          <a:xfrm>
            <a:off x="5789643" y="4179669"/>
            <a:ext cx="378988" cy="310483"/>
          </a:xfrm>
          <a:prstGeom prst="circular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49" name="148 CuadroTexto"/>
          <p:cNvSpPr txBox="1"/>
          <p:nvPr/>
        </p:nvSpPr>
        <p:spPr>
          <a:xfrm>
            <a:off x="8050580" y="4386413"/>
            <a:ext cx="265836" cy="157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900" dirty="0">
                <a:latin typeface="BNPP Sans" pitchFamily="50" charset="0"/>
              </a:rPr>
              <a:t>7</a:t>
            </a:r>
            <a:r>
              <a:rPr lang="es-PE" sz="900" dirty="0" smtClean="0">
                <a:latin typeface="BNPP Sans" pitchFamily="50" charset="0"/>
              </a:rPr>
              <a:t>%</a:t>
            </a:r>
          </a:p>
        </p:txBody>
      </p:sp>
      <p:sp>
        <p:nvSpPr>
          <p:cNvPr id="156" name="155 Rectángulo"/>
          <p:cNvSpPr/>
          <p:nvPr/>
        </p:nvSpPr>
        <p:spPr>
          <a:xfrm>
            <a:off x="7918065" y="4347389"/>
            <a:ext cx="398351" cy="184198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157" name="156 Flecha circular"/>
          <p:cNvSpPr/>
          <p:nvPr/>
        </p:nvSpPr>
        <p:spPr>
          <a:xfrm>
            <a:off x="7671592" y="4150734"/>
            <a:ext cx="378988" cy="310483"/>
          </a:xfrm>
          <a:prstGeom prst="circular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29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48 Rectángulo"/>
          <p:cNvSpPr/>
          <p:nvPr/>
        </p:nvSpPr>
        <p:spPr>
          <a:xfrm>
            <a:off x="242307" y="1233843"/>
            <a:ext cx="926374" cy="366194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b="1" kern="0" dirty="0">
                <a:solidFill>
                  <a:prstClr val="white"/>
                </a:solidFill>
                <a:latin typeface="BNPP Sans" pitchFamily="50" charset="0"/>
              </a:rPr>
              <a:t>Asociados a crédito</a:t>
            </a:r>
          </a:p>
        </p:txBody>
      </p:sp>
      <p:sp>
        <p:nvSpPr>
          <p:cNvPr id="50" name="49 Rectángulo"/>
          <p:cNvSpPr/>
          <p:nvPr/>
        </p:nvSpPr>
        <p:spPr>
          <a:xfrm>
            <a:off x="242307" y="2014734"/>
            <a:ext cx="926374" cy="691101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b="1" kern="0" dirty="0">
                <a:solidFill>
                  <a:prstClr val="white"/>
                </a:solidFill>
                <a:latin typeface="BNPP Sans" pitchFamily="50" charset="0"/>
              </a:rPr>
              <a:t>Accidentes y Salud</a:t>
            </a:r>
          </a:p>
        </p:txBody>
      </p:sp>
      <p:sp>
        <p:nvSpPr>
          <p:cNvPr id="51" name="50 Rectángulo"/>
          <p:cNvSpPr/>
          <p:nvPr/>
        </p:nvSpPr>
        <p:spPr>
          <a:xfrm>
            <a:off x="242307" y="1623643"/>
            <a:ext cx="926374" cy="366194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b="1" kern="0" dirty="0">
                <a:solidFill>
                  <a:prstClr val="white"/>
                </a:solidFill>
                <a:latin typeface="BNPP Sans" pitchFamily="50" charset="0"/>
              </a:rPr>
              <a:t>Robo y Fraude</a:t>
            </a:r>
          </a:p>
        </p:txBody>
      </p:sp>
      <p:sp>
        <p:nvSpPr>
          <p:cNvPr id="52" name="51 Rectángulo"/>
          <p:cNvSpPr/>
          <p:nvPr/>
        </p:nvSpPr>
        <p:spPr>
          <a:xfrm>
            <a:off x="242307" y="2718403"/>
            <a:ext cx="926374" cy="542110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b="1" kern="0" dirty="0">
                <a:solidFill>
                  <a:prstClr val="white"/>
                </a:solidFill>
                <a:latin typeface="BNPP Sans" pitchFamily="50" charset="0"/>
              </a:rPr>
              <a:t>Vida y Sepelio</a:t>
            </a:r>
          </a:p>
        </p:txBody>
      </p:sp>
      <p:sp>
        <p:nvSpPr>
          <p:cNvPr id="53" name="52 Rectángulo"/>
          <p:cNvSpPr/>
          <p:nvPr/>
        </p:nvSpPr>
        <p:spPr>
          <a:xfrm>
            <a:off x="247312" y="3284526"/>
            <a:ext cx="926374" cy="369138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b="1" kern="0" dirty="0">
                <a:solidFill>
                  <a:prstClr val="white"/>
                </a:solidFill>
                <a:latin typeface="BNPP Sans" pitchFamily="50" charset="0"/>
              </a:rPr>
              <a:t>Servicios</a:t>
            </a:r>
          </a:p>
        </p:txBody>
      </p:sp>
      <p:sp>
        <p:nvSpPr>
          <p:cNvPr id="54" name="53 Rectángulo"/>
          <p:cNvSpPr/>
          <p:nvPr/>
        </p:nvSpPr>
        <p:spPr>
          <a:xfrm>
            <a:off x="1186522" y="1247863"/>
            <a:ext cx="838232" cy="162453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Desgravamen</a:t>
            </a:r>
          </a:p>
        </p:txBody>
      </p:sp>
      <p:sp>
        <p:nvSpPr>
          <p:cNvPr id="55" name="54 Rectángulo"/>
          <p:cNvSpPr/>
          <p:nvPr/>
        </p:nvSpPr>
        <p:spPr>
          <a:xfrm>
            <a:off x="1185121" y="1428190"/>
            <a:ext cx="839633" cy="171846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Desempleo</a:t>
            </a:r>
          </a:p>
        </p:txBody>
      </p:sp>
      <p:sp>
        <p:nvSpPr>
          <p:cNvPr id="56" name="55 Rectángulo"/>
          <p:cNvSpPr/>
          <p:nvPr/>
        </p:nvSpPr>
        <p:spPr>
          <a:xfrm>
            <a:off x="1192429" y="1623433"/>
            <a:ext cx="832323" cy="163351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Prot.de tarjeta</a:t>
            </a:r>
          </a:p>
        </p:txBody>
      </p:sp>
      <p:sp>
        <p:nvSpPr>
          <p:cNvPr id="57" name="56 Rectángulo"/>
          <p:cNvSpPr/>
          <p:nvPr/>
        </p:nvSpPr>
        <p:spPr>
          <a:xfrm>
            <a:off x="1191295" y="1807235"/>
            <a:ext cx="833458" cy="162454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Robo de bienes</a:t>
            </a:r>
          </a:p>
        </p:txBody>
      </p:sp>
      <p:sp>
        <p:nvSpPr>
          <p:cNvPr id="58" name="57 Rectángulo"/>
          <p:cNvSpPr/>
          <p:nvPr/>
        </p:nvSpPr>
        <p:spPr>
          <a:xfrm>
            <a:off x="1202695" y="2718404"/>
            <a:ext cx="857208" cy="162453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Vida</a:t>
            </a:r>
          </a:p>
        </p:txBody>
      </p:sp>
      <p:sp>
        <p:nvSpPr>
          <p:cNvPr id="59" name="58 Rectángulo"/>
          <p:cNvSpPr/>
          <p:nvPr/>
        </p:nvSpPr>
        <p:spPr>
          <a:xfrm>
            <a:off x="1202696" y="2907781"/>
            <a:ext cx="845807" cy="163351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Vida Retorno</a:t>
            </a:r>
          </a:p>
        </p:txBody>
      </p:sp>
      <p:sp>
        <p:nvSpPr>
          <p:cNvPr id="60" name="59 Rectángulo"/>
          <p:cNvSpPr/>
          <p:nvPr/>
        </p:nvSpPr>
        <p:spPr>
          <a:xfrm>
            <a:off x="1202695" y="3098057"/>
            <a:ext cx="857208" cy="162454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Sepelio</a:t>
            </a:r>
          </a:p>
        </p:txBody>
      </p:sp>
      <p:sp>
        <p:nvSpPr>
          <p:cNvPr id="61" name="60 Rectángulo"/>
          <p:cNvSpPr/>
          <p:nvPr/>
        </p:nvSpPr>
        <p:spPr>
          <a:xfrm>
            <a:off x="1192490" y="2014737"/>
            <a:ext cx="832262" cy="163351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Accidentes</a:t>
            </a:r>
          </a:p>
        </p:txBody>
      </p:sp>
      <p:sp>
        <p:nvSpPr>
          <p:cNvPr id="62" name="61 Rectángulo"/>
          <p:cNvSpPr/>
          <p:nvPr/>
        </p:nvSpPr>
        <p:spPr>
          <a:xfrm>
            <a:off x="1192490" y="2191549"/>
            <a:ext cx="832262" cy="171431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Salud</a:t>
            </a:r>
          </a:p>
        </p:txBody>
      </p:sp>
      <p:sp>
        <p:nvSpPr>
          <p:cNvPr id="63" name="62 Rectángulo"/>
          <p:cNvSpPr/>
          <p:nvPr/>
        </p:nvSpPr>
        <p:spPr>
          <a:xfrm>
            <a:off x="1186522" y="2376611"/>
            <a:ext cx="857208" cy="142474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Oncológico</a:t>
            </a:r>
          </a:p>
        </p:txBody>
      </p:sp>
      <p:sp>
        <p:nvSpPr>
          <p:cNvPr id="64" name="63 Rectángulo"/>
          <p:cNvSpPr/>
          <p:nvPr/>
        </p:nvSpPr>
        <p:spPr>
          <a:xfrm>
            <a:off x="1192760" y="2539641"/>
            <a:ext cx="857208" cy="160665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SOAT</a:t>
            </a:r>
          </a:p>
        </p:txBody>
      </p:sp>
      <p:sp>
        <p:nvSpPr>
          <p:cNvPr id="65" name="64 Rectángulo"/>
          <p:cNvSpPr/>
          <p:nvPr/>
        </p:nvSpPr>
        <p:spPr>
          <a:xfrm>
            <a:off x="1202695" y="3289232"/>
            <a:ext cx="857208" cy="183097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600" kern="0" dirty="0">
                <a:solidFill>
                  <a:prstClr val="white"/>
                </a:solidFill>
                <a:latin typeface="BNPP Sans" pitchFamily="50" charset="0"/>
              </a:rPr>
              <a:t>Garantía Extendida</a:t>
            </a:r>
          </a:p>
        </p:txBody>
      </p:sp>
      <p:sp>
        <p:nvSpPr>
          <p:cNvPr id="66" name="65 Rectángulo"/>
          <p:cNvSpPr/>
          <p:nvPr/>
        </p:nvSpPr>
        <p:spPr>
          <a:xfrm>
            <a:off x="257621" y="3664248"/>
            <a:ext cx="926374" cy="183097"/>
          </a:xfrm>
          <a:prstGeom prst="rect">
            <a:avLst/>
          </a:prstGeom>
          <a:solidFill>
            <a:srgbClr val="00915A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b="1" kern="0" dirty="0">
                <a:solidFill>
                  <a:prstClr val="white"/>
                </a:solidFill>
                <a:latin typeface="BNPP Sans" pitchFamily="50" charset="0"/>
              </a:rPr>
              <a:t>Otros</a:t>
            </a:r>
          </a:p>
        </p:txBody>
      </p:sp>
      <p:sp>
        <p:nvSpPr>
          <p:cNvPr id="67" name="66 Rectángulo"/>
          <p:cNvSpPr/>
          <p:nvPr/>
        </p:nvSpPr>
        <p:spPr>
          <a:xfrm>
            <a:off x="1211364" y="3679470"/>
            <a:ext cx="857208" cy="183097"/>
          </a:xfrm>
          <a:prstGeom prst="rect">
            <a:avLst/>
          </a:prstGeom>
          <a:solidFill>
            <a:srgbClr val="9BBB59"/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700" kern="0" dirty="0">
                <a:solidFill>
                  <a:prstClr val="white"/>
                </a:solidFill>
                <a:latin typeface="BNPP Sans" pitchFamily="50" charset="0"/>
              </a:rPr>
              <a:t>Autos y Domiciliario</a:t>
            </a:r>
          </a:p>
        </p:txBody>
      </p:sp>
      <p:sp>
        <p:nvSpPr>
          <p:cNvPr id="68" name="67 Rectángulo"/>
          <p:cNvSpPr/>
          <p:nvPr/>
        </p:nvSpPr>
        <p:spPr>
          <a:xfrm>
            <a:off x="1202695" y="3492217"/>
            <a:ext cx="857208" cy="162828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3175" cap="flat" cmpd="sng" algn="ctr">
            <a:noFill/>
            <a:prstDash val="solid"/>
          </a:ln>
          <a:effectLst/>
        </p:spPr>
        <p:txBody>
          <a:bodyPr lIns="59954" tIns="59010" rIns="59954" bIns="59010" anchor="ctr"/>
          <a:lstStyle/>
          <a:p>
            <a:pPr algn="ctr" defTabSz="5995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600" kern="0" dirty="0">
                <a:solidFill>
                  <a:prstClr val="white"/>
                </a:solidFill>
                <a:latin typeface="BNPP Sans" pitchFamily="50" charset="0"/>
              </a:rPr>
              <a:t>Asistencia</a:t>
            </a:r>
          </a:p>
        </p:txBody>
      </p:sp>
      <p:graphicFrame>
        <p:nvGraphicFramePr>
          <p:cNvPr id="69" name="6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1353352"/>
              </p:ext>
            </p:extLst>
          </p:nvPr>
        </p:nvGraphicFramePr>
        <p:xfrm>
          <a:off x="2244137" y="1252739"/>
          <a:ext cx="1388994" cy="372476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284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0" name="6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844003"/>
              </p:ext>
            </p:extLst>
          </p:nvPr>
        </p:nvGraphicFramePr>
        <p:xfrm>
          <a:off x="2244137" y="1643164"/>
          <a:ext cx="1388994" cy="373374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1" name="7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5674441"/>
              </p:ext>
            </p:extLst>
          </p:nvPr>
        </p:nvGraphicFramePr>
        <p:xfrm>
          <a:off x="2244137" y="2008646"/>
          <a:ext cx="1388994" cy="730594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61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861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72" name="7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6034118"/>
              </p:ext>
            </p:extLst>
          </p:nvPr>
        </p:nvGraphicFramePr>
        <p:xfrm>
          <a:off x="2244137" y="2742831"/>
          <a:ext cx="1388994" cy="551982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60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3" name="7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689961"/>
              </p:ext>
            </p:extLst>
          </p:nvPr>
        </p:nvGraphicFramePr>
        <p:xfrm>
          <a:off x="2244137" y="3295711"/>
          <a:ext cx="1388994" cy="178609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860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4" name="7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5712407"/>
              </p:ext>
            </p:extLst>
          </p:nvPr>
        </p:nvGraphicFramePr>
        <p:xfrm>
          <a:off x="2232571" y="3686472"/>
          <a:ext cx="1388994" cy="201679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0167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5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1252736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824" y="1251840"/>
            <a:ext cx="157608" cy="16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1637782"/>
            <a:ext cx="158742" cy="16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824" y="1636880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1821772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2013138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2195337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2399074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2561530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824" y="2561530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2928618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3294813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824" y="3294813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3719306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824" y="2013135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3127870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7485" y="1431770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5894" y="1442546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2312169" y="1305691"/>
            <a:ext cx="86175" cy="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2312169" y="1672785"/>
            <a:ext cx="86175" cy="6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2312169" y="3349562"/>
            <a:ext cx="86175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6" name="9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8181028"/>
              </p:ext>
            </p:extLst>
          </p:nvPr>
        </p:nvGraphicFramePr>
        <p:xfrm>
          <a:off x="2232573" y="3481752"/>
          <a:ext cx="1388995" cy="204343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0434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7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917" y="3478625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6" descr="Resultado de imagen para agency icon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9140" y="1046932"/>
            <a:ext cx="20523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2" descr="Resultado de imagen para telesales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3074" y="1052094"/>
            <a:ext cx="198427" cy="157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0" name="99 Grupo"/>
          <p:cNvGrpSpPr/>
          <p:nvPr/>
        </p:nvGrpSpPr>
        <p:grpSpPr>
          <a:xfrm>
            <a:off x="2051720" y="1249149"/>
            <a:ext cx="180852" cy="2666530"/>
            <a:chOff x="7486819" y="1368177"/>
            <a:chExt cx="252353" cy="4716389"/>
          </a:xfrm>
        </p:grpSpPr>
        <p:sp>
          <p:nvSpPr>
            <p:cNvPr id="101" name="127 CuadroTexto"/>
            <p:cNvSpPr txBox="1">
              <a:spLocks noChangeArrowheads="1"/>
            </p:cNvSpPr>
            <p:nvPr/>
          </p:nvSpPr>
          <p:spPr bwMode="auto">
            <a:xfrm>
              <a:off x="7594408" y="1444375"/>
              <a:ext cx="98093" cy="139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2</a:t>
              </a:r>
            </a:p>
          </p:txBody>
        </p:sp>
        <p:sp>
          <p:nvSpPr>
            <p:cNvPr id="102" name="128 CuadroTexto"/>
            <p:cNvSpPr txBox="1">
              <a:spLocks noChangeArrowheads="1"/>
            </p:cNvSpPr>
            <p:nvPr/>
          </p:nvSpPr>
          <p:spPr bwMode="auto">
            <a:xfrm>
              <a:off x="7594408" y="1804738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4</a:t>
              </a:r>
            </a:p>
          </p:txBody>
        </p:sp>
        <p:sp>
          <p:nvSpPr>
            <p:cNvPr id="103" name="129 CuadroTexto"/>
            <p:cNvSpPr txBox="1">
              <a:spLocks noChangeArrowheads="1"/>
            </p:cNvSpPr>
            <p:nvPr/>
          </p:nvSpPr>
          <p:spPr bwMode="auto">
            <a:xfrm>
              <a:off x="7594408" y="2165100"/>
              <a:ext cx="98093" cy="138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04" name="130 CuadroTexto"/>
            <p:cNvSpPr txBox="1">
              <a:spLocks noChangeArrowheads="1"/>
            </p:cNvSpPr>
            <p:nvPr/>
          </p:nvSpPr>
          <p:spPr bwMode="auto">
            <a:xfrm>
              <a:off x="7594408" y="2447675"/>
              <a:ext cx="98093" cy="138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2</a:t>
              </a:r>
            </a:p>
          </p:txBody>
        </p:sp>
        <p:sp>
          <p:nvSpPr>
            <p:cNvPr id="105" name="131 CuadroTexto"/>
            <p:cNvSpPr txBox="1">
              <a:spLocks noChangeArrowheads="1"/>
            </p:cNvSpPr>
            <p:nvPr/>
          </p:nvSpPr>
          <p:spPr bwMode="auto">
            <a:xfrm>
              <a:off x="7594408" y="2749633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2</a:t>
              </a:r>
            </a:p>
          </p:txBody>
        </p:sp>
        <p:sp>
          <p:nvSpPr>
            <p:cNvPr id="106" name="132 CuadroTexto"/>
            <p:cNvSpPr txBox="1">
              <a:spLocks noChangeArrowheads="1"/>
            </p:cNvSpPr>
            <p:nvPr/>
          </p:nvSpPr>
          <p:spPr bwMode="auto">
            <a:xfrm>
              <a:off x="7594408" y="3114757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2</a:t>
              </a:r>
            </a:p>
          </p:txBody>
        </p:sp>
        <p:sp>
          <p:nvSpPr>
            <p:cNvPr id="107" name="133 CuadroTexto"/>
            <p:cNvSpPr txBox="1">
              <a:spLocks noChangeArrowheads="1"/>
            </p:cNvSpPr>
            <p:nvPr/>
          </p:nvSpPr>
          <p:spPr bwMode="auto">
            <a:xfrm>
              <a:off x="7594408" y="3397331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2</a:t>
              </a:r>
            </a:p>
          </p:txBody>
        </p:sp>
        <p:sp>
          <p:nvSpPr>
            <p:cNvPr id="108" name="137 CuadroTexto"/>
            <p:cNvSpPr txBox="1">
              <a:spLocks noChangeArrowheads="1"/>
            </p:cNvSpPr>
            <p:nvPr/>
          </p:nvSpPr>
          <p:spPr bwMode="auto">
            <a:xfrm>
              <a:off x="7594406" y="3743406"/>
              <a:ext cx="107586" cy="157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09" name="138 CuadroTexto"/>
            <p:cNvSpPr txBox="1">
              <a:spLocks noChangeArrowheads="1"/>
            </p:cNvSpPr>
            <p:nvPr/>
          </p:nvSpPr>
          <p:spPr bwMode="auto">
            <a:xfrm>
              <a:off x="7594406" y="4103768"/>
              <a:ext cx="107586" cy="157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-</a:t>
              </a:r>
            </a:p>
          </p:txBody>
        </p:sp>
        <p:sp>
          <p:nvSpPr>
            <p:cNvPr id="110" name="139 CuadroTexto"/>
            <p:cNvSpPr txBox="1">
              <a:spLocks noChangeArrowheads="1"/>
            </p:cNvSpPr>
            <p:nvPr/>
          </p:nvSpPr>
          <p:spPr bwMode="auto">
            <a:xfrm>
              <a:off x="7594406" y="4391105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11" name="140 CuadroTexto"/>
            <p:cNvSpPr txBox="1">
              <a:spLocks noChangeArrowheads="1"/>
            </p:cNvSpPr>
            <p:nvPr/>
          </p:nvSpPr>
          <p:spPr bwMode="auto">
            <a:xfrm>
              <a:off x="7594406" y="4751468"/>
              <a:ext cx="107586" cy="157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12" name="141 CuadroTexto"/>
            <p:cNvSpPr txBox="1">
              <a:spLocks noChangeArrowheads="1"/>
            </p:cNvSpPr>
            <p:nvPr/>
          </p:nvSpPr>
          <p:spPr bwMode="auto">
            <a:xfrm>
              <a:off x="7583331" y="5067380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13" name="142 CuadroTexto"/>
            <p:cNvSpPr txBox="1">
              <a:spLocks noChangeArrowheads="1"/>
            </p:cNvSpPr>
            <p:nvPr/>
          </p:nvSpPr>
          <p:spPr bwMode="auto">
            <a:xfrm>
              <a:off x="7594406" y="5767392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4</a:t>
              </a:r>
            </a:p>
          </p:txBody>
        </p:sp>
        <p:sp>
          <p:nvSpPr>
            <p:cNvPr id="114" name="113 Rectángulo"/>
            <p:cNvSpPr/>
            <p:nvPr/>
          </p:nvSpPr>
          <p:spPr>
            <a:xfrm>
              <a:off x="7486819" y="1368177"/>
              <a:ext cx="252353" cy="4640185"/>
            </a:xfrm>
            <a:prstGeom prst="rect">
              <a:avLst/>
            </a:prstGeom>
            <a:noFill/>
            <a:ln w="3175">
              <a:solidFill>
                <a:schemeClr val="bg1">
                  <a:lumMod val="95000"/>
                  <a:lumOff val="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59953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altLang="es-ES" sz="900">
                <a:solidFill>
                  <a:prstClr val="white"/>
                </a:solidFill>
                <a:latin typeface="BNPP Sans" pitchFamily="50" charset="0"/>
              </a:endParaRPr>
            </a:p>
          </p:txBody>
        </p:sp>
        <p:sp>
          <p:nvSpPr>
            <p:cNvPr id="115" name="141 CuadroTexto"/>
            <p:cNvSpPr txBox="1">
              <a:spLocks noChangeArrowheads="1"/>
            </p:cNvSpPr>
            <p:nvPr/>
          </p:nvSpPr>
          <p:spPr bwMode="auto">
            <a:xfrm>
              <a:off x="7596129" y="5435360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16" name="115 Rectángulo"/>
            <p:cNvSpPr/>
            <p:nvPr/>
          </p:nvSpPr>
          <p:spPr>
            <a:xfrm>
              <a:off x="7504994" y="1387420"/>
              <a:ext cx="234177" cy="4697146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pic>
        <p:nvPicPr>
          <p:cNvPr id="117" name="10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756" y="763724"/>
            <a:ext cx="766498" cy="18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" name="Picture 4" descr="Resultado de imagen para online icon png">
            <a:extLst>
              <a:ext uri="{FF2B5EF4-FFF2-40B4-BE49-F238E27FC236}">
                <a16:creationId xmlns="" xmlns:a16="http://schemas.microsoft.com/office/drawing/2014/main" id="{0B32FB99-3856-4578-8FB8-003EA2EEF3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1" r="22816"/>
          <a:stretch>
            <a:fillRect/>
          </a:stretch>
        </p:blipFill>
        <p:spPr bwMode="auto">
          <a:xfrm>
            <a:off x="3240203" y="1037059"/>
            <a:ext cx="225641" cy="18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" name="Picture 403" descr="Resultado de imagen para logo cardif png">
            <a:extLst>
              <a:ext uri="{FF2B5EF4-FFF2-40B4-BE49-F238E27FC236}">
                <a16:creationId xmlns="" xmlns:a16="http://schemas.microsoft.com/office/drawing/2014/main" id="{1509F200-7BD5-4FFA-B287-5B9FD04B9A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3131840" y="3363898"/>
            <a:ext cx="86175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0" name="Picture 5" descr="Imagen relacionada">
            <a:extLst>
              <a:ext uri="{FF2B5EF4-FFF2-40B4-BE49-F238E27FC236}">
                <a16:creationId xmlns="" xmlns:a16="http://schemas.microsoft.com/office/drawing/2014/main" id="{23618E33-E22E-45D8-8014-8A282668DF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7693" y="1812590"/>
            <a:ext cx="243810" cy="192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3" name="12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112300"/>
              </p:ext>
            </p:extLst>
          </p:nvPr>
        </p:nvGraphicFramePr>
        <p:xfrm>
          <a:off x="3911992" y="1209610"/>
          <a:ext cx="1388995" cy="372476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284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4" name="12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672274"/>
              </p:ext>
            </p:extLst>
          </p:nvPr>
        </p:nvGraphicFramePr>
        <p:xfrm>
          <a:off x="3911992" y="1600035"/>
          <a:ext cx="1388995" cy="373374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5" name="12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364419"/>
              </p:ext>
            </p:extLst>
          </p:nvPr>
        </p:nvGraphicFramePr>
        <p:xfrm>
          <a:off x="3911992" y="1964620"/>
          <a:ext cx="1388995" cy="730594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61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861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26" name="12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3665012"/>
              </p:ext>
            </p:extLst>
          </p:nvPr>
        </p:nvGraphicFramePr>
        <p:xfrm>
          <a:off x="3911992" y="2699703"/>
          <a:ext cx="1388995" cy="551982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60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27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1217687"/>
            <a:ext cx="157608" cy="16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8" name="12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9720523"/>
              </p:ext>
            </p:extLst>
          </p:nvPr>
        </p:nvGraphicFramePr>
        <p:xfrm>
          <a:off x="3911992" y="3261558"/>
          <a:ext cx="1388995" cy="178609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860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9" name="12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778058"/>
              </p:ext>
            </p:extLst>
          </p:nvPr>
        </p:nvGraphicFramePr>
        <p:xfrm>
          <a:off x="3886784" y="3663225"/>
          <a:ext cx="1388995" cy="195552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9555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0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276" y="1215894"/>
            <a:ext cx="157608" cy="16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1410655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1798394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276" y="1798394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4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1957444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276" y="1957444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2161184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7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2345175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8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2527378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9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2894465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0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3260658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1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3672584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2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1594654"/>
            <a:ext cx="157608" cy="16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3972084" y="1271538"/>
            <a:ext cx="86175" cy="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4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3972084" y="1638632"/>
            <a:ext cx="86175" cy="6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3972084" y="1841472"/>
            <a:ext cx="86175" cy="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6" name="14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7328605"/>
              </p:ext>
            </p:extLst>
          </p:nvPr>
        </p:nvGraphicFramePr>
        <p:xfrm>
          <a:off x="3891582" y="3455451"/>
          <a:ext cx="1388995" cy="167238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7238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47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642" y="3444472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" name="Picture 6" descr="Resultado de imagen para agency icon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586" y="1012254"/>
            <a:ext cx="20523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9" name="Picture 2" descr="Resultado de imagen para telesales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0895" y="1015086"/>
            <a:ext cx="198427" cy="157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0" name="Picture 4" descr="Resultado de imagen para online icon 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1" r="22816"/>
          <a:stretch>
            <a:fillRect/>
          </a:stretch>
        </p:blipFill>
        <p:spPr bwMode="auto">
          <a:xfrm>
            <a:off x="5014533" y="1009771"/>
            <a:ext cx="225641" cy="18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1" name="150 Grupo"/>
          <p:cNvGrpSpPr/>
          <p:nvPr/>
        </p:nvGrpSpPr>
        <p:grpSpPr>
          <a:xfrm>
            <a:off x="3707904" y="1206916"/>
            <a:ext cx="154800" cy="2658480"/>
            <a:chOff x="5157926" y="1387419"/>
            <a:chExt cx="216000" cy="4702149"/>
          </a:xfrm>
        </p:grpSpPr>
        <p:sp>
          <p:nvSpPr>
            <p:cNvPr id="152" name="1 CuadroTexto"/>
            <p:cNvSpPr txBox="1">
              <a:spLocks noChangeArrowheads="1"/>
            </p:cNvSpPr>
            <p:nvPr/>
          </p:nvSpPr>
          <p:spPr bwMode="auto">
            <a:xfrm>
              <a:off x="5260069" y="1482669"/>
              <a:ext cx="98093" cy="139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2</a:t>
              </a:r>
            </a:p>
          </p:txBody>
        </p:sp>
        <p:sp>
          <p:nvSpPr>
            <p:cNvPr id="153" name="152 Rectángulo"/>
            <p:cNvSpPr/>
            <p:nvPr/>
          </p:nvSpPr>
          <p:spPr>
            <a:xfrm>
              <a:off x="5157926" y="1387419"/>
              <a:ext cx="199353" cy="4702149"/>
            </a:xfrm>
            <a:prstGeom prst="rect">
              <a:avLst/>
            </a:prstGeom>
            <a:noFill/>
            <a:ln w="3175">
              <a:solidFill>
                <a:schemeClr val="bg1">
                  <a:lumMod val="95000"/>
                  <a:lumOff val="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59953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altLang="es-ES" sz="900">
                <a:solidFill>
                  <a:prstClr val="white"/>
                </a:solidFill>
                <a:latin typeface="BNPP Sans" pitchFamily="50" charset="0"/>
              </a:endParaRPr>
            </a:p>
          </p:txBody>
        </p:sp>
        <p:sp>
          <p:nvSpPr>
            <p:cNvPr id="154" name="112 CuadroTexto"/>
            <p:cNvSpPr txBox="1">
              <a:spLocks noChangeArrowheads="1"/>
            </p:cNvSpPr>
            <p:nvPr/>
          </p:nvSpPr>
          <p:spPr bwMode="auto">
            <a:xfrm>
              <a:off x="5260069" y="2203394"/>
              <a:ext cx="98093" cy="138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55" name="113 CuadroTexto"/>
            <p:cNvSpPr txBox="1">
              <a:spLocks noChangeArrowheads="1"/>
            </p:cNvSpPr>
            <p:nvPr/>
          </p:nvSpPr>
          <p:spPr bwMode="auto">
            <a:xfrm>
              <a:off x="5260069" y="2485969"/>
              <a:ext cx="98093" cy="138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2</a:t>
              </a:r>
            </a:p>
          </p:txBody>
        </p:sp>
        <p:sp>
          <p:nvSpPr>
            <p:cNvPr id="156" name="114 CuadroTexto"/>
            <p:cNvSpPr txBox="1">
              <a:spLocks noChangeArrowheads="1"/>
            </p:cNvSpPr>
            <p:nvPr/>
          </p:nvSpPr>
          <p:spPr bwMode="auto">
            <a:xfrm>
              <a:off x="5260069" y="2787927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4</a:t>
              </a:r>
            </a:p>
          </p:txBody>
        </p:sp>
        <p:sp>
          <p:nvSpPr>
            <p:cNvPr id="157" name="115 CuadroTexto"/>
            <p:cNvSpPr txBox="1">
              <a:spLocks noChangeArrowheads="1"/>
            </p:cNvSpPr>
            <p:nvPr/>
          </p:nvSpPr>
          <p:spPr bwMode="auto">
            <a:xfrm>
              <a:off x="5260069" y="3153051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58" name="116 CuadroTexto"/>
            <p:cNvSpPr txBox="1">
              <a:spLocks noChangeArrowheads="1"/>
            </p:cNvSpPr>
            <p:nvPr/>
          </p:nvSpPr>
          <p:spPr bwMode="auto">
            <a:xfrm>
              <a:off x="5260069" y="3435625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59" name="119 CuadroTexto"/>
            <p:cNvSpPr txBox="1">
              <a:spLocks noChangeArrowheads="1"/>
            </p:cNvSpPr>
            <p:nvPr/>
          </p:nvSpPr>
          <p:spPr bwMode="auto">
            <a:xfrm>
              <a:off x="5255322" y="3781700"/>
              <a:ext cx="107586" cy="157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60" name="121 CuadroTexto"/>
            <p:cNvSpPr txBox="1">
              <a:spLocks noChangeArrowheads="1"/>
            </p:cNvSpPr>
            <p:nvPr/>
          </p:nvSpPr>
          <p:spPr bwMode="auto">
            <a:xfrm>
              <a:off x="5255322" y="4429399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61" name="122 CuadroTexto"/>
            <p:cNvSpPr txBox="1">
              <a:spLocks noChangeArrowheads="1"/>
            </p:cNvSpPr>
            <p:nvPr/>
          </p:nvSpPr>
          <p:spPr bwMode="auto">
            <a:xfrm>
              <a:off x="5255322" y="4789762"/>
              <a:ext cx="107586" cy="157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-</a:t>
              </a:r>
            </a:p>
          </p:txBody>
        </p:sp>
        <p:sp>
          <p:nvSpPr>
            <p:cNvPr id="162" name="123 CuadroTexto"/>
            <p:cNvSpPr txBox="1">
              <a:spLocks noChangeArrowheads="1"/>
            </p:cNvSpPr>
            <p:nvPr/>
          </p:nvSpPr>
          <p:spPr bwMode="auto">
            <a:xfrm>
              <a:off x="5255322" y="5091387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63" name="124 CuadroTexto"/>
            <p:cNvSpPr txBox="1">
              <a:spLocks noChangeArrowheads="1"/>
            </p:cNvSpPr>
            <p:nvPr/>
          </p:nvSpPr>
          <p:spPr bwMode="auto">
            <a:xfrm>
              <a:off x="5255322" y="5805686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64" name="158 CuadroTexto"/>
            <p:cNvSpPr txBox="1">
              <a:spLocks noChangeArrowheads="1"/>
            </p:cNvSpPr>
            <p:nvPr/>
          </p:nvSpPr>
          <p:spPr bwMode="auto">
            <a:xfrm>
              <a:off x="5260069" y="1843032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65" name="172 CuadroTexto"/>
            <p:cNvSpPr txBox="1">
              <a:spLocks noChangeArrowheads="1"/>
            </p:cNvSpPr>
            <p:nvPr/>
          </p:nvSpPr>
          <p:spPr bwMode="auto">
            <a:xfrm>
              <a:off x="5255322" y="4142062"/>
              <a:ext cx="107586" cy="157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-</a:t>
              </a:r>
            </a:p>
          </p:txBody>
        </p:sp>
        <p:sp>
          <p:nvSpPr>
            <p:cNvPr id="166" name="141 CuadroTexto"/>
            <p:cNvSpPr txBox="1">
              <a:spLocks noChangeArrowheads="1"/>
            </p:cNvSpPr>
            <p:nvPr/>
          </p:nvSpPr>
          <p:spPr bwMode="auto">
            <a:xfrm>
              <a:off x="5255322" y="5473654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67" name="166 Rectángulo"/>
            <p:cNvSpPr/>
            <p:nvPr/>
          </p:nvSpPr>
          <p:spPr>
            <a:xfrm>
              <a:off x="5157926" y="1417514"/>
              <a:ext cx="216000" cy="4645193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pic>
        <p:nvPicPr>
          <p:cNvPr id="168" name="Picture 171" descr="Resultado de imagen para banco ripley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" t="8356" r="4683" b="16585"/>
          <a:stretch>
            <a:fillRect/>
          </a:stretch>
        </p:blipFill>
        <p:spPr bwMode="auto">
          <a:xfrm>
            <a:off x="4250955" y="713933"/>
            <a:ext cx="775926" cy="182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71" name="85 Tabla">
            <a:extLst>
              <a:ext uri="{FF2B5EF4-FFF2-40B4-BE49-F238E27FC236}">
                <a16:creationId xmlns="" xmlns:a16="http://schemas.microsoft.com/office/drawing/2014/main" id="{F82E86D2-7F06-4069-8449-9C483F78D4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6809570"/>
              </p:ext>
            </p:extLst>
          </p:nvPr>
        </p:nvGraphicFramePr>
        <p:xfrm>
          <a:off x="5559270" y="1202456"/>
          <a:ext cx="1388994" cy="372476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284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2" name="86 Tabla">
            <a:extLst>
              <a:ext uri="{FF2B5EF4-FFF2-40B4-BE49-F238E27FC236}">
                <a16:creationId xmlns="" xmlns:a16="http://schemas.microsoft.com/office/drawing/2014/main" id="{ED1E0C6E-7344-4F6E-8C9A-8455FF4BFF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4823614"/>
              </p:ext>
            </p:extLst>
          </p:nvPr>
        </p:nvGraphicFramePr>
        <p:xfrm>
          <a:off x="5559270" y="1592880"/>
          <a:ext cx="1388994" cy="373374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3" name="87 Tabla">
            <a:extLst>
              <a:ext uri="{FF2B5EF4-FFF2-40B4-BE49-F238E27FC236}">
                <a16:creationId xmlns="" xmlns:a16="http://schemas.microsoft.com/office/drawing/2014/main" id="{01566951-AACD-4A3C-95A4-A5D0307602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8224075"/>
              </p:ext>
            </p:extLst>
          </p:nvPr>
        </p:nvGraphicFramePr>
        <p:xfrm>
          <a:off x="5559270" y="1958363"/>
          <a:ext cx="1388994" cy="730594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61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861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30" marB="25830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74" name="88 Tabla">
            <a:extLst>
              <a:ext uri="{FF2B5EF4-FFF2-40B4-BE49-F238E27FC236}">
                <a16:creationId xmlns="" xmlns:a16="http://schemas.microsoft.com/office/drawing/2014/main" id="{6509CECD-7C9E-4D19-B3D1-5210C8AFC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5079696"/>
              </p:ext>
            </p:extLst>
          </p:nvPr>
        </p:nvGraphicFramePr>
        <p:xfrm>
          <a:off x="5559270" y="2692548"/>
          <a:ext cx="1388994" cy="551982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60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75" name="89 Tabla">
            <a:extLst>
              <a:ext uri="{FF2B5EF4-FFF2-40B4-BE49-F238E27FC236}">
                <a16:creationId xmlns="" xmlns:a16="http://schemas.microsoft.com/office/drawing/2014/main" id="{31F5E298-B2C0-4FF7-8020-3A1C661129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605118"/>
              </p:ext>
            </p:extLst>
          </p:nvPr>
        </p:nvGraphicFramePr>
        <p:xfrm>
          <a:off x="5559270" y="3245427"/>
          <a:ext cx="1388994" cy="178609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860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6" name="90 Tabla">
            <a:extLst>
              <a:ext uri="{FF2B5EF4-FFF2-40B4-BE49-F238E27FC236}">
                <a16:creationId xmlns="" xmlns:a16="http://schemas.microsoft.com/office/drawing/2014/main" id="{8D71B376-5A78-4717-BE0A-F6C2E68961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3277010"/>
              </p:ext>
            </p:extLst>
          </p:nvPr>
        </p:nvGraphicFramePr>
        <p:xfrm>
          <a:off x="5547703" y="3636187"/>
          <a:ext cx="1388994" cy="201679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0167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77" name="Picture 2" descr="Resultado de imagen para star icon png">
            <a:extLst>
              <a:ext uri="{FF2B5EF4-FFF2-40B4-BE49-F238E27FC236}">
                <a16:creationId xmlns="" xmlns:a16="http://schemas.microsoft.com/office/drawing/2014/main" id="{27D623AE-ACE4-476F-84B9-7A2954E45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6741" y="1202452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" name="Picture 2" descr="Resultado de imagen para star icon png">
            <a:extLst>
              <a:ext uri="{FF2B5EF4-FFF2-40B4-BE49-F238E27FC236}">
                <a16:creationId xmlns="" xmlns:a16="http://schemas.microsoft.com/office/drawing/2014/main" id="{D7F90734-D233-4A89-8516-F6F8B77B79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49" y="1587499"/>
            <a:ext cx="158742" cy="16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9" name="Picture 2" descr="Resultado de imagen para star icon png">
            <a:extLst>
              <a:ext uri="{FF2B5EF4-FFF2-40B4-BE49-F238E27FC236}">
                <a16:creationId xmlns="" xmlns:a16="http://schemas.microsoft.com/office/drawing/2014/main" id="{30291DB5-2C37-4FE2-9274-01A6F7B2A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49" y="1962853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0" name="Picture 2" descr="Resultado de imagen para star icon png">
            <a:extLst>
              <a:ext uri="{FF2B5EF4-FFF2-40B4-BE49-F238E27FC236}">
                <a16:creationId xmlns="" xmlns:a16="http://schemas.microsoft.com/office/drawing/2014/main" id="{A8164E66-2E85-43F1-B32D-87597FDDE3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49" y="2145054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1" name="Picture 2" descr="Resultado de imagen para star icon png">
            <a:extLst>
              <a:ext uri="{FF2B5EF4-FFF2-40B4-BE49-F238E27FC236}">
                <a16:creationId xmlns="" xmlns:a16="http://schemas.microsoft.com/office/drawing/2014/main" id="{E95703DC-A152-4941-BCFD-0431FA674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49" y="2348790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2" name="Picture 2" descr="Resultado de imagen para star icon png">
            <a:extLst>
              <a:ext uri="{FF2B5EF4-FFF2-40B4-BE49-F238E27FC236}">
                <a16:creationId xmlns="" xmlns:a16="http://schemas.microsoft.com/office/drawing/2014/main" id="{B6E08D69-B824-46EE-877A-4D31BA5025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49" y="2511247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3" name="Picture 2" descr="Resultado de imagen para star icon png">
            <a:extLst>
              <a:ext uri="{FF2B5EF4-FFF2-40B4-BE49-F238E27FC236}">
                <a16:creationId xmlns="" xmlns:a16="http://schemas.microsoft.com/office/drawing/2014/main" id="{3FBFF7D4-7FA5-4019-9CC9-1665E4C7BF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49" y="2878335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" name="Picture 2" descr="Resultado de imagen para star icon png">
            <a:extLst>
              <a:ext uri="{FF2B5EF4-FFF2-40B4-BE49-F238E27FC236}">
                <a16:creationId xmlns="" xmlns:a16="http://schemas.microsoft.com/office/drawing/2014/main" id="{28687E65-47EE-4BEB-8282-55EF9304C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49" y="3244529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5" name="Picture 2" descr="Resultado de imagen para star icon png">
            <a:extLst>
              <a:ext uri="{FF2B5EF4-FFF2-40B4-BE49-F238E27FC236}">
                <a16:creationId xmlns="" xmlns:a16="http://schemas.microsoft.com/office/drawing/2014/main" id="{4EC6E2EA-A93B-4487-9278-8216A5710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17" y="1381486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6" name="Picture 403" descr="Resultado de imagen para logo cardif png">
            <a:extLst>
              <a:ext uri="{FF2B5EF4-FFF2-40B4-BE49-F238E27FC236}">
                <a16:creationId xmlns="" xmlns:a16="http://schemas.microsoft.com/office/drawing/2014/main" id="{DE33ED4B-8D51-49A5-9AB8-5026DD75A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5627301" y="3299279"/>
            <a:ext cx="86175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7" name="114 Tabla">
            <a:extLst>
              <a:ext uri="{FF2B5EF4-FFF2-40B4-BE49-F238E27FC236}">
                <a16:creationId xmlns="" xmlns:a16="http://schemas.microsoft.com/office/drawing/2014/main" id="{6FE4D6F1-1C26-4726-9F56-91F562E62A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626061"/>
              </p:ext>
            </p:extLst>
          </p:nvPr>
        </p:nvGraphicFramePr>
        <p:xfrm>
          <a:off x="5547705" y="3431468"/>
          <a:ext cx="1388995" cy="204343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0434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88" name="Picture 2" descr="Resultado de imagen para star icon png">
            <a:extLst>
              <a:ext uri="{FF2B5EF4-FFF2-40B4-BE49-F238E27FC236}">
                <a16:creationId xmlns="" xmlns:a16="http://schemas.microsoft.com/office/drawing/2014/main" id="{CF2DCD47-59A5-4A7C-873E-0E56B49CB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49" y="3428341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9" name="Picture 6" descr="Resultado de imagen para agency icon png">
            <a:extLst>
              <a:ext uri="{FF2B5EF4-FFF2-40B4-BE49-F238E27FC236}">
                <a16:creationId xmlns="" xmlns:a16="http://schemas.microsoft.com/office/drawing/2014/main" id="{05225F5E-0728-40F6-97A8-43C533096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4272" y="996649"/>
            <a:ext cx="20523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0" name="Picture 2" descr="Resultado de imagen para telesales icon png">
            <a:extLst>
              <a:ext uri="{FF2B5EF4-FFF2-40B4-BE49-F238E27FC236}">
                <a16:creationId xmlns="" xmlns:a16="http://schemas.microsoft.com/office/drawing/2014/main" id="{D725CAB6-FED3-468E-86F5-E2C34E0EF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206" y="1001809"/>
            <a:ext cx="198427" cy="157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1" name="142 Grupo">
            <a:extLst>
              <a:ext uri="{FF2B5EF4-FFF2-40B4-BE49-F238E27FC236}">
                <a16:creationId xmlns="" xmlns:a16="http://schemas.microsoft.com/office/drawing/2014/main" id="{8A807813-E76F-4804-8ED4-629F0E2315A2}"/>
              </a:ext>
            </a:extLst>
          </p:cNvPr>
          <p:cNvGrpSpPr/>
          <p:nvPr/>
        </p:nvGrpSpPr>
        <p:grpSpPr>
          <a:xfrm>
            <a:off x="5366852" y="1198866"/>
            <a:ext cx="180852" cy="2666530"/>
            <a:chOff x="7486819" y="1368177"/>
            <a:chExt cx="252353" cy="4716389"/>
          </a:xfrm>
        </p:grpSpPr>
        <p:sp>
          <p:nvSpPr>
            <p:cNvPr id="192" name="127 CuadroTexto">
              <a:extLst>
                <a:ext uri="{FF2B5EF4-FFF2-40B4-BE49-F238E27FC236}">
                  <a16:creationId xmlns="" xmlns:a16="http://schemas.microsoft.com/office/drawing/2014/main" id="{1DAA004C-DA75-464D-9F0E-D535493A50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8" y="1444375"/>
              <a:ext cx="98093" cy="139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93" name="128 CuadroTexto">
              <a:extLst>
                <a:ext uri="{FF2B5EF4-FFF2-40B4-BE49-F238E27FC236}">
                  <a16:creationId xmlns="" xmlns:a16="http://schemas.microsoft.com/office/drawing/2014/main" id="{D688F602-93A3-4386-95D6-DFBF2D125B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8" y="1804738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94" name="129 CuadroTexto">
              <a:extLst>
                <a:ext uri="{FF2B5EF4-FFF2-40B4-BE49-F238E27FC236}">
                  <a16:creationId xmlns="" xmlns:a16="http://schemas.microsoft.com/office/drawing/2014/main" id="{85ACD70B-8318-4EF6-8B8E-5427649C9F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8" y="2165100"/>
              <a:ext cx="98093" cy="138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95" name="130 CuadroTexto">
              <a:extLst>
                <a:ext uri="{FF2B5EF4-FFF2-40B4-BE49-F238E27FC236}">
                  <a16:creationId xmlns="" xmlns:a16="http://schemas.microsoft.com/office/drawing/2014/main" id="{0B2E8721-E693-47A3-A2A4-8CD6C6ED5A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8" y="2447675"/>
              <a:ext cx="98093" cy="138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-</a:t>
              </a:r>
            </a:p>
          </p:txBody>
        </p:sp>
        <p:sp>
          <p:nvSpPr>
            <p:cNvPr id="196" name="131 CuadroTexto">
              <a:extLst>
                <a:ext uri="{FF2B5EF4-FFF2-40B4-BE49-F238E27FC236}">
                  <a16:creationId xmlns="" xmlns:a16="http://schemas.microsoft.com/office/drawing/2014/main" id="{C3E4AF01-310E-4C9A-8289-819658D3DD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8" y="2749633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2</a:t>
              </a:r>
            </a:p>
          </p:txBody>
        </p:sp>
        <p:sp>
          <p:nvSpPr>
            <p:cNvPr id="197" name="132 CuadroTexto">
              <a:extLst>
                <a:ext uri="{FF2B5EF4-FFF2-40B4-BE49-F238E27FC236}">
                  <a16:creationId xmlns="" xmlns:a16="http://schemas.microsoft.com/office/drawing/2014/main" id="{CDB03B44-B367-43EB-A300-5D2C201F22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8" y="3114757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98" name="133 CuadroTexto">
              <a:extLst>
                <a:ext uri="{FF2B5EF4-FFF2-40B4-BE49-F238E27FC236}">
                  <a16:creationId xmlns="" xmlns:a16="http://schemas.microsoft.com/office/drawing/2014/main" id="{88B1248E-B5F9-4DC2-A119-0E28CCFE9C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8" y="3397331"/>
              <a:ext cx="98093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199" name="137 CuadroTexto">
              <a:extLst>
                <a:ext uri="{FF2B5EF4-FFF2-40B4-BE49-F238E27FC236}">
                  <a16:creationId xmlns="" xmlns:a16="http://schemas.microsoft.com/office/drawing/2014/main" id="{DA117BB7-F26C-41FA-9443-1883EBF82BA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6" y="3743406"/>
              <a:ext cx="107586" cy="157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200" name="138 CuadroTexto">
              <a:extLst>
                <a:ext uri="{FF2B5EF4-FFF2-40B4-BE49-F238E27FC236}">
                  <a16:creationId xmlns="" xmlns:a16="http://schemas.microsoft.com/office/drawing/2014/main" id="{6BD6D184-9F6D-4B91-B764-F195085523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6" y="4103768"/>
              <a:ext cx="107586" cy="157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-</a:t>
              </a:r>
            </a:p>
          </p:txBody>
        </p:sp>
        <p:sp>
          <p:nvSpPr>
            <p:cNvPr id="201" name="139 CuadroTexto">
              <a:extLst>
                <a:ext uri="{FF2B5EF4-FFF2-40B4-BE49-F238E27FC236}">
                  <a16:creationId xmlns="" xmlns:a16="http://schemas.microsoft.com/office/drawing/2014/main" id="{92CF9BA2-5208-4261-B3B0-43E3E73C27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6" y="4391105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202" name="140 CuadroTexto">
              <a:extLst>
                <a:ext uri="{FF2B5EF4-FFF2-40B4-BE49-F238E27FC236}">
                  <a16:creationId xmlns="" xmlns:a16="http://schemas.microsoft.com/office/drawing/2014/main" id="{138F5228-D80D-46CF-839C-7AEA2E7882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6" y="4751468"/>
              <a:ext cx="107586" cy="157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-</a:t>
              </a:r>
            </a:p>
          </p:txBody>
        </p:sp>
        <p:sp>
          <p:nvSpPr>
            <p:cNvPr id="203" name="141 CuadroTexto">
              <a:extLst>
                <a:ext uri="{FF2B5EF4-FFF2-40B4-BE49-F238E27FC236}">
                  <a16:creationId xmlns="" xmlns:a16="http://schemas.microsoft.com/office/drawing/2014/main" id="{8FC349F5-AF5B-4493-8F56-1FF68B6B83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83331" y="5067380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204" name="142 CuadroTexto">
              <a:extLst>
                <a:ext uri="{FF2B5EF4-FFF2-40B4-BE49-F238E27FC236}">
                  <a16:creationId xmlns="" xmlns:a16="http://schemas.microsoft.com/office/drawing/2014/main" id="{F5756A53-5F15-4D83-A583-9BFCD9EE83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4406" y="5767392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 dirty="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-</a:t>
              </a:r>
            </a:p>
          </p:txBody>
        </p:sp>
        <p:sp>
          <p:nvSpPr>
            <p:cNvPr id="205" name="156 Rectángulo">
              <a:extLst>
                <a:ext uri="{FF2B5EF4-FFF2-40B4-BE49-F238E27FC236}">
                  <a16:creationId xmlns="" xmlns:a16="http://schemas.microsoft.com/office/drawing/2014/main" id="{75570AED-63CA-418F-A4C7-1F54906E1A50}"/>
                </a:ext>
              </a:extLst>
            </p:cNvPr>
            <p:cNvSpPr/>
            <p:nvPr/>
          </p:nvSpPr>
          <p:spPr>
            <a:xfrm>
              <a:off x="7486819" y="1368177"/>
              <a:ext cx="252353" cy="4640185"/>
            </a:xfrm>
            <a:prstGeom prst="rect">
              <a:avLst/>
            </a:prstGeom>
            <a:noFill/>
            <a:ln w="3175">
              <a:solidFill>
                <a:schemeClr val="bg1">
                  <a:lumMod val="95000"/>
                  <a:lumOff val="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59953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altLang="es-ES" sz="900">
                <a:solidFill>
                  <a:prstClr val="white"/>
                </a:solidFill>
                <a:latin typeface="BNPP Sans" pitchFamily="50" charset="0"/>
              </a:endParaRPr>
            </a:p>
          </p:txBody>
        </p:sp>
        <p:sp>
          <p:nvSpPr>
            <p:cNvPr id="206" name="141 CuadroTexto">
              <a:extLst>
                <a:ext uri="{FF2B5EF4-FFF2-40B4-BE49-F238E27FC236}">
                  <a16:creationId xmlns="" xmlns:a16="http://schemas.microsoft.com/office/drawing/2014/main" id="{E93F8398-738B-4BA7-99A4-C9848F51B3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6129" y="5435360"/>
              <a:ext cx="107586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200"/>
                </a:spcBef>
                <a:buClr>
                  <a:srgbClr val="8064A2"/>
                </a:buClr>
                <a:buSzPct val="100000"/>
                <a:defRPr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ts val="200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6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400">
                  <a:solidFill>
                    <a:schemeClr val="accent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ts val="200"/>
                </a:spcBef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ts val="200"/>
                </a:spcBef>
                <a:defRPr sz="10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ts val="200"/>
                </a:spcBef>
                <a:spcAft>
                  <a:spcPct val="0"/>
                </a:spcAft>
                <a:defRPr sz="10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defTabSz="599535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ES" sz="600">
                  <a:solidFill>
                    <a:prstClr val="black"/>
                  </a:solidFill>
                  <a:latin typeface="BNPP Sans" pitchFamily="50" charset="0"/>
                  <a:cs typeface="Arial" charset="0"/>
                </a:rPr>
                <a:t>1</a:t>
              </a:r>
            </a:p>
          </p:txBody>
        </p:sp>
        <p:sp>
          <p:nvSpPr>
            <p:cNvPr id="207" name="158 Rectángulo">
              <a:extLst>
                <a:ext uri="{FF2B5EF4-FFF2-40B4-BE49-F238E27FC236}">
                  <a16:creationId xmlns="" xmlns:a16="http://schemas.microsoft.com/office/drawing/2014/main" id="{5C8E3D71-ABC7-4BDE-93C5-ABA980C9FC71}"/>
                </a:ext>
              </a:extLst>
            </p:cNvPr>
            <p:cNvSpPr/>
            <p:nvPr/>
          </p:nvSpPr>
          <p:spPr>
            <a:xfrm>
              <a:off x="7504994" y="1387420"/>
              <a:ext cx="234177" cy="4697146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pic>
        <p:nvPicPr>
          <p:cNvPr id="208" name="Picture 4" descr="Resultado de imagen para online icon png">
            <a:extLst>
              <a:ext uri="{FF2B5EF4-FFF2-40B4-BE49-F238E27FC236}">
                <a16:creationId xmlns="" xmlns:a16="http://schemas.microsoft.com/office/drawing/2014/main" id="{7C2E0EA5-EA1A-44D6-9FAE-8CC97804D8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1" r="22816"/>
          <a:stretch>
            <a:fillRect/>
          </a:stretch>
        </p:blipFill>
        <p:spPr bwMode="auto">
          <a:xfrm>
            <a:off x="6610554" y="964836"/>
            <a:ext cx="225641" cy="18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8" name="Picture 2" descr="Resultado de imagen para financiera oh png">
            <a:extLst>
              <a:ext uri="{FF2B5EF4-FFF2-40B4-BE49-F238E27FC236}">
                <a16:creationId xmlns="" xmlns:a16="http://schemas.microsoft.com/office/drawing/2014/main" id="{ACA93FE6-D90F-4472-98D1-A0D5C59627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6741" y="699542"/>
            <a:ext cx="1009900" cy="201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0" name="Picture 6" descr="Resultado de imagen para agency icon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047" y="1031796"/>
            <a:ext cx="20523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1" name="Picture 2" descr="Resultado de imagen para telesales icon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982" y="1028558"/>
            <a:ext cx="198427" cy="157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2" name="Picture 4" descr="Resultado de imagen para online icon 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1" r="22816"/>
          <a:stretch>
            <a:fillRect/>
          </a:stretch>
        </p:blipFill>
        <p:spPr bwMode="auto">
          <a:xfrm>
            <a:off x="8429502" y="1033219"/>
            <a:ext cx="225641" cy="18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23" name="22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0840028"/>
              </p:ext>
            </p:extLst>
          </p:nvPr>
        </p:nvGraphicFramePr>
        <p:xfrm>
          <a:off x="7370631" y="1226875"/>
          <a:ext cx="1388995" cy="372476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2842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06" marB="2580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24" name="22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381104"/>
              </p:ext>
            </p:extLst>
          </p:nvPr>
        </p:nvGraphicFramePr>
        <p:xfrm>
          <a:off x="7370631" y="1617301"/>
          <a:ext cx="1388995" cy="373374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8" marB="2586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25" name="22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6663235"/>
              </p:ext>
            </p:extLst>
          </p:nvPr>
        </p:nvGraphicFramePr>
        <p:xfrm>
          <a:off x="7370631" y="1981885"/>
          <a:ext cx="1388995" cy="730594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4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61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861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1" marB="25861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26" name="22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280743"/>
              </p:ext>
            </p:extLst>
          </p:nvPr>
        </p:nvGraphicFramePr>
        <p:xfrm>
          <a:off x="7370631" y="2716968"/>
          <a:ext cx="1388995" cy="551982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6963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74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609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64" marB="2586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27" name="22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0530781"/>
              </p:ext>
            </p:extLst>
          </p:nvPr>
        </p:nvGraphicFramePr>
        <p:xfrm>
          <a:off x="7370631" y="3283310"/>
          <a:ext cx="1388995" cy="178610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8610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28" name="22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9019395"/>
              </p:ext>
            </p:extLst>
          </p:nvPr>
        </p:nvGraphicFramePr>
        <p:xfrm>
          <a:off x="7392590" y="3658224"/>
          <a:ext cx="1388995" cy="204343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04343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29" name="143 CuadroTexto"/>
          <p:cNvSpPr txBox="1">
            <a:spLocks noChangeArrowheads="1"/>
          </p:cNvSpPr>
          <p:nvPr/>
        </p:nvSpPr>
        <p:spPr bwMode="auto">
          <a:xfrm>
            <a:off x="7140455" y="1275341"/>
            <a:ext cx="70300" cy="78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30" name="144 CuadroTexto"/>
          <p:cNvSpPr txBox="1">
            <a:spLocks noChangeArrowheads="1"/>
          </p:cNvSpPr>
          <p:nvPr/>
        </p:nvSpPr>
        <p:spPr bwMode="auto">
          <a:xfrm>
            <a:off x="7140455" y="1479081"/>
            <a:ext cx="70300" cy="78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31" name="145 CuadroTexto"/>
          <p:cNvSpPr txBox="1">
            <a:spLocks noChangeArrowheads="1"/>
          </p:cNvSpPr>
          <p:nvPr/>
        </p:nvSpPr>
        <p:spPr bwMode="auto">
          <a:xfrm>
            <a:off x="7140455" y="1681922"/>
            <a:ext cx="70300" cy="78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32" name="146 CuadroTexto"/>
          <p:cNvSpPr txBox="1">
            <a:spLocks noChangeArrowheads="1"/>
          </p:cNvSpPr>
          <p:nvPr/>
        </p:nvSpPr>
        <p:spPr bwMode="auto">
          <a:xfrm>
            <a:off x="7140455" y="1842583"/>
            <a:ext cx="70300" cy="78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33" name="147 CuadroTexto"/>
          <p:cNvSpPr txBox="1">
            <a:spLocks noChangeArrowheads="1"/>
          </p:cNvSpPr>
          <p:nvPr/>
        </p:nvSpPr>
        <p:spPr bwMode="auto">
          <a:xfrm>
            <a:off x="7140455" y="2216240"/>
            <a:ext cx="70300" cy="78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34" name="149 CuadroTexto"/>
          <p:cNvSpPr txBox="1">
            <a:spLocks noChangeArrowheads="1"/>
          </p:cNvSpPr>
          <p:nvPr/>
        </p:nvSpPr>
        <p:spPr bwMode="auto">
          <a:xfrm>
            <a:off x="7140455" y="2407168"/>
            <a:ext cx="70300" cy="78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35" name="150 CuadroTexto"/>
          <p:cNvSpPr txBox="1">
            <a:spLocks noChangeArrowheads="1"/>
          </p:cNvSpPr>
          <p:nvPr/>
        </p:nvSpPr>
        <p:spPr bwMode="auto">
          <a:xfrm>
            <a:off x="7140454" y="2602830"/>
            <a:ext cx="77103" cy="88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36" name="151 CuadroTexto"/>
          <p:cNvSpPr txBox="1">
            <a:spLocks noChangeArrowheads="1"/>
          </p:cNvSpPr>
          <p:nvPr/>
        </p:nvSpPr>
        <p:spPr bwMode="auto">
          <a:xfrm>
            <a:off x="7140454" y="2805673"/>
            <a:ext cx="77103" cy="89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37" name="152 CuadroTexto"/>
          <p:cNvSpPr txBox="1">
            <a:spLocks noChangeArrowheads="1"/>
          </p:cNvSpPr>
          <p:nvPr/>
        </p:nvSpPr>
        <p:spPr bwMode="auto">
          <a:xfrm>
            <a:off x="7140454" y="2969025"/>
            <a:ext cx="77103" cy="88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sp>
        <p:nvSpPr>
          <p:cNvPr id="238" name="153 CuadroTexto"/>
          <p:cNvSpPr txBox="1">
            <a:spLocks noChangeArrowheads="1"/>
          </p:cNvSpPr>
          <p:nvPr/>
        </p:nvSpPr>
        <p:spPr bwMode="auto">
          <a:xfrm>
            <a:off x="7142108" y="3128298"/>
            <a:ext cx="400939" cy="141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39" name="154 CuadroTexto"/>
          <p:cNvSpPr txBox="1">
            <a:spLocks noChangeArrowheads="1"/>
          </p:cNvSpPr>
          <p:nvPr/>
        </p:nvSpPr>
        <p:spPr bwMode="auto">
          <a:xfrm>
            <a:off x="7140454" y="3379200"/>
            <a:ext cx="77103" cy="88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40" name="155 CuadroTexto"/>
          <p:cNvSpPr txBox="1">
            <a:spLocks noChangeArrowheads="1"/>
          </p:cNvSpPr>
          <p:nvPr/>
        </p:nvSpPr>
        <p:spPr bwMode="auto">
          <a:xfrm>
            <a:off x="7144559" y="3746036"/>
            <a:ext cx="77103" cy="89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pic>
        <p:nvPicPr>
          <p:cNvPr id="241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7" y="1615508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2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7014" y="2362439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3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212" y="2517752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4" name="Picture 403" descr="Resultado de imagen para logo cardif 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8393728" y="2574295"/>
            <a:ext cx="87308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7" y="1223933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46" name="24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0193071"/>
              </p:ext>
            </p:extLst>
          </p:nvPr>
        </p:nvGraphicFramePr>
        <p:xfrm>
          <a:off x="7380837" y="3461920"/>
          <a:ext cx="1388995" cy="201606"/>
        </p:xfrm>
        <a:graphic>
          <a:graphicData uri="http://schemas.openxmlformats.org/drawingml/2006/table">
            <a:tbl>
              <a:tblPr/>
              <a:tblGrid>
                <a:gridCol w="4626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1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01606"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1007949" rtl="0" eaLnBrk="0" latinLnBrk="0" hangingPunct="0">
                        <a:spcBef>
                          <a:spcPts val="200"/>
                        </a:spcBef>
                        <a:buClr>
                          <a:srgbClr val="8064A2"/>
                        </a:buClr>
                        <a:buSzPct val="100000"/>
                        <a:defRPr sz="16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algn="l" defTabSz="1007949" rtl="0" eaLnBrk="0" latinLnBrk="0" hangingPunct="0">
                        <a:spcBef>
                          <a:spcPts val="2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defRPr sz="1400" kern="1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200" kern="1200">
                          <a:solidFill>
                            <a:schemeClr val="accent1"/>
                          </a:solidFill>
                          <a:latin typeface="Arial" charset="0"/>
                        </a:defRPr>
                      </a:lvl3pPr>
                      <a:lvl4pPr marL="1600200" indent="-228600" algn="l" defTabSz="1007949" rtl="0" eaLnBrk="0" latinLnBrk="0" hangingPunct="0">
                        <a:spcBef>
                          <a:spcPts val="200"/>
                        </a:spcBef>
                        <a:buFont typeface="Wingdings" pitchFamily="2" charset="2"/>
                        <a:defRPr sz="10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4pPr>
                      <a:lvl5pPr marL="2057400" indent="-228600" algn="l" defTabSz="1007949" rtl="0" eaLnBrk="0" latinLnBrk="0" hangingPunct="0">
                        <a:spcBef>
                          <a:spcPts val="200"/>
                        </a:spcBef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5pPr>
                      <a:lvl6pPr marL="25146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6pPr>
                      <a:lvl7pPr marL="29718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7pPr>
                      <a:lvl8pPr marL="34290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8pPr>
                      <a:lvl9pPr marL="3886200" indent="-228600" algn="l" defTabSz="1007949" rtl="0" eaLnBrk="0" fontAlgn="base" latinLnBrk="0" hangingPunct="0">
                        <a:spcBef>
                          <a:spcPts val="200"/>
                        </a:spcBef>
                        <a:spcAft>
                          <a:spcPct val="0"/>
                        </a:spcAft>
                        <a:defRPr sz="900" kern="1200">
                          <a:solidFill>
                            <a:schemeClr val="bg2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PE" altLang="es-E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BNPP Sans" pitchFamily="50" charset="0"/>
                        <a:cs typeface="Arial" charset="0"/>
                      </a:endParaRPr>
                    </a:p>
                  </a:txBody>
                  <a:tcPr marL="65327" marR="65327" marT="25854" marB="25854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47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671" y="3485468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8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7" y="3702045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9" name="154 CuadroTexto"/>
          <p:cNvSpPr txBox="1">
            <a:spLocks noChangeArrowheads="1"/>
          </p:cNvSpPr>
          <p:nvPr/>
        </p:nvSpPr>
        <p:spPr bwMode="auto">
          <a:xfrm>
            <a:off x="7147296" y="3563012"/>
            <a:ext cx="77103" cy="88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250" name="3 CuadroTexto"/>
          <p:cNvSpPr txBox="1">
            <a:spLocks noChangeArrowheads="1"/>
          </p:cNvSpPr>
          <p:nvPr/>
        </p:nvSpPr>
        <p:spPr bwMode="auto">
          <a:xfrm>
            <a:off x="6948264" y="1138704"/>
            <a:ext cx="524984" cy="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5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Aseguradoras</a:t>
            </a:r>
          </a:p>
        </p:txBody>
      </p:sp>
      <p:pic>
        <p:nvPicPr>
          <p:cNvPr id="255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4472" y="3292102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" name="255 Rectángulo"/>
          <p:cNvSpPr/>
          <p:nvPr/>
        </p:nvSpPr>
        <p:spPr>
          <a:xfrm>
            <a:off x="7096127" y="1239117"/>
            <a:ext cx="154800" cy="2626278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9954" tIns="29976" rIns="59954" bIns="29976" rtlCol="0" anchor="ctr"/>
          <a:lstStyle/>
          <a:p>
            <a:pPr algn="ctr"/>
            <a:endParaRPr lang="es-PE"/>
          </a:p>
        </p:txBody>
      </p:sp>
      <p:pic>
        <p:nvPicPr>
          <p:cNvPr id="258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7" y="3276132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9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7" y="3485469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0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7" y="2362439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1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7" y="3106463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2" name="Picture 403" descr="Resultado de imagen para logo cardif 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7438664" y="3148355"/>
            <a:ext cx="87308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3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283" y="2517752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4" name="Picture 403" descr="Resultado de imagen para logo cardif 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7892800" y="2574295"/>
            <a:ext cx="87308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5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7" y="1380732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" name="Picture 403" descr="Resultado de imagen para logo cardif 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7438664" y="1437273"/>
            <a:ext cx="87308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7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8147" y="2517752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8" name="Picture 403" descr="Resultado de imagen para logo cardif 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7438664" y="2574295"/>
            <a:ext cx="87308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9" name="147 CuadroTexto"/>
          <p:cNvSpPr txBox="1">
            <a:spLocks noChangeArrowheads="1"/>
          </p:cNvSpPr>
          <p:nvPr/>
        </p:nvSpPr>
        <p:spPr bwMode="auto">
          <a:xfrm>
            <a:off x="7140455" y="2040077"/>
            <a:ext cx="70300" cy="78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200"/>
              </a:spcBef>
              <a:buClr>
                <a:srgbClr val="8064A2"/>
              </a:buClr>
              <a:buSzPct val="100000"/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2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400"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spcBef>
                <a:spcPts val="200"/>
              </a:spcBef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spcBef>
                <a:spcPts val="200"/>
              </a:spcBef>
              <a:defRPr sz="1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ts val="20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599535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ES" sz="600" dirty="0">
                <a:solidFill>
                  <a:prstClr val="black"/>
                </a:solidFill>
                <a:latin typeface="BNPP Sans" pitchFamily="50" charset="0"/>
                <a:cs typeface="Arial" charset="0"/>
              </a:rPr>
              <a:t>-</a:t>
            </a:r>
          </a:p>
        </p:txBody>
      </p:sp>
      <p:pic>
        <p:nvPicPr>
          <p:cNvPr id="270" name="Picture 2" descr="Resultado de imagen para cencosud 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4784" y="704615"/>
            <a:ext cx="535044" cy="190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2" name="Picture 2" descr="Resultado de imagen para star icon 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0763" y="4087778"/>
            <a:ext cx="210092" cy="216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3" name="Picture 5" descr="Imagen relacionada">
            <a:extLst>
              <a:ext uri="{FF2B5EF4-FFF2-40B4-BE49-F238E27FC236}">
                <a16:creationId xmlns="" xmlns:a16="http://schemas.microsoft.com/office/drawing/2014/main" id="{2E9B5250-988F-4515-85EE-7E1B04037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0551" y="4087778"/>
            <a:ext cx="281321" cy="221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4" name="Picture 403" descr="Resultado de imagen para logo cardif png">
            <a:extLst>
              <a:ext uri="{FF2B5EF4-FFF2-40B4-BE49-F238E27FC236}">
                <a16:creationId xmlns="" xmlns:a16="http://schemas.microsoft.com/office/drawing/2014/main" id="{99526B18-D77D-4E3A-99E6-6CF25DBC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5599756" y="4164597"/>
            <a:ext cx="175545" cy="135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5" name="CuadroTexto 1">
            <a:extLst>
              <a:ext uri="{FF2B5EF4-FFF2-40B4-BE49-F238E27FC236}">
                <a16:creationId xmlns="" xmlns:a16="http://schemas.microsoft.com/office/drawing/2014/main" id="{C5BFB034-0AC3-4E4D-B1B5-BDC16F2C4C3F}"/>
              </a:ext>
            </a:extLst>
          </p:cNvPr>
          <p:cNvSpPr txBox="1"/>
          <p:nvPr/>
        </p:nvSpPr>
        <p:spPr>
          <a:xfrm>
            <a:off x="2438772" y="4138308"/>
            <a:ext cx="1342921" cy="212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dirty="0">
                <a:latin typeface="BNPP Sans"/>
              </a:rPr>
              <a:t>Línea desarrollada</a:t>
            </a:r>
          </a:p>
        </p:txBody>
      </p:sp>
      <p:sp>
        <p:nvSpPr>
          <p:cNvPr id="276" name="CuadroTexto 285">
            <a:extLst>
              <a:ext uri="{FF2B5EF4-FFF2-40B4-BE49-F238E27FC236}">
                <a16:creationId xmlns="" xmlns:a16="http://schemas.microsoft.com/office/drawing/2014/main" id="{AE938E4F-3BDC-426F-B8D4-E9C5B289F5D2}"/>
              </a:ext>
            </a:extLst>
          </p:cNvPr>
          <p:cNvSpPr txBox="1"/>
          <p:nvPr/>
        </p:nvSpPr>
        <p:spPr>
          <a:xfrm>
            <a:off x="4316163" y="4141922"/>
            <a:ext cx="1239299" cy="1951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fr-FR"/>
            </a:defPPr>
            <a:lvl1pPr>
              <a:defRPr sz="1400">
                <a:latin typeface="BNPP Sans"/>
              </a:defRPr>
            </a:lvl1pPr>
          </a:lstStyle>
          <a:p>
            <a:r>
              <a:rPr lang="es-PE" sz="1000" dirty="0"/>
              <a:t>Oportunidad</a:t>
            </a:r>
          </a:p>
        </p:txBody>
      </p:sp>
      <p:sp>
        <p:nvSpPr>
          <p:cNvPr id="277" name="CuadroTexto 286">
            <a:extLst>
              <a:ext uri="{FF2B5EF4-FFF2-40B4-BE49-F238E27FC236}">
                <a16:creationId xmlns="" xmlns:a16="http://schemas.microsoft.com/office/drawing/2014/main" id="{0636E8E0-B0C8-40E3-886F-8F8D8CDBF448}"/>
              </a:ext>
            </a:extLst>
          </p:cNvPr>
          <p:cNvSpPr txBox="1"/>
          <p:nvPr/>
        </p:nvSpPr>
        <p:spPr>
          <a:xfrm>
            <a:off x="5852142" y="4141922"/>
            <a:ext cx="1239299" cy="1951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fr-FR"/>
            </a:defPPr>
            <a:lvl1pPr>
              <a:defRPr sz="1400">
                <a:latin typeface="BNPP Sans"/>
              </a:defRPr>
            </a:lvl1pPr>
          </a:lstStyle>
          <a:p>
            <a:r>
              <a:rPr lang="es-PE" sz="1000" dirty="0"/>
              <a:t>Negocio </a:t>
            </a:r>
            <a:r>
              <a:rPr lang="es-PE" sz="1000" dirty="0" err="1"/>
              <a:t>Cardif</a:t>
            </a:r>
            <a:endParaRPr lang="es-PE" sz="1000" dirty="0"/>
          </a:p>
        </p:txBody>
      </p:sp>
      <p:sp>
        <p:nvSpPr>
          <p:cNvPr id="278" name="277 Rectángulo"/>
          <p:cNvSpPr/>
          <p:nvPr/>
        </p:nvSpPr>
        <p:spPr>
          <a:xfrm>
            <a:off x="2743226" y="4412444"/>
            <a:ext cx="462296" cy="108485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279" name="278 Rectángulo"/>
          <p:cNvSpPr/>
          <p:nvPr/>
        </p:nvSpPr>
        <p:spPr>
          <a:xfrm>
            <a:off x="5081816" y="4427080"/>
            <a:ext cx="462296" cy="10848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048" tIns="72882" rIns="74048" bIns="728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100" dirty="0">
              <a:solidFill>
                <a:schemeClr val="tx1"/>
              </a:solidFill>
            </a:endParaRPr>
          </a:p>
        </p:txBody>
      </p:sp>
      <p:sp>
        <p:nvSpPr>
          <p:cNvPr id="280" name="CuadroTexto 286">
            <a:extLst>
              <a:ext uri="{FF2B5EF4-FFF2-40B4-BE49-F238E27FC236}">
                <a16:creationId xmlns="" xmlns:a16="http://schemas.microsoft.com/office/drawing/2014/main" id="{0636E8E0-B0C8-40E3-886F-8F8D8CDBF448}"/>
              </a:ext>
            </a:extLst>
          </p:cNvPr>
          <p:cNvSpPr txBox="1"/>
          <p:nvPr/>
        </p:nvSpPr>
        <p:spPr>
          <a:xfrm>
            <a:off x="5160698" y="4379954"/>
            <a:ext cx="1239299" cy="1951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fr-FR"/>
            </a:defPPr>
            <a:lvl1pPr>
              <a:defRPr sz="1400">
                <a:latin typeface="BNPP Sans"/>
              </a:defRPr>
            </a:lvl1pPr>
          </a:lstStyle>
          <a:p>
            <a:endParaRPr lang="es-PE" sz="1000" dirty="0"/>
          </a:p>
          <a:p>
            <a:endParaRPr lang="es-PE" sz="1000" dirty="0"/>
          </a:p>
        </p:txBody>
      </p:sp>
      <p:sp>
        <p:nvSpPr>
          <p:cNvPr id="281" name="280 CuadroTexto"/>
          <p:cNvSpPr txBox="1"/>
          <p:nvPr/>
        </p:nvSpPr>
        <p:spPr>
          <a:xfrm>
            <a:off x="5601695" y="4399589"/>
            <a:ext cx="1075540" cy="1341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dirty="0">
                <a:latin typeface="BNPP Sans" pitchFamily="50" charset="0"/>
              </a:rPr>
              <a:t>Líneas Cardif</a:t>
            </a:r>
          </a:p>
        </p:txBody>
      </p:sp>
      <p:sp>
        <p:nvSpPr>
          <p:cNvPr id="282" name="281 CuadroTexto"/>
          <p:cNvSpPr txBox="1"/>
          <p:nvPr/>
        </p:nvSpPr>
        <p:spPr>
          <a:xfrm>
            <a:off x="3262787" y="4419340"/>
            <a:ext cx="1212505" cy="1557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000" dirty="0">
                <a:latin typeface="BNPP Sans" pitchFamily="50" charset="0"/>
              </a:rPr>
              <a:t>NO participa Cardif</a:t>
            </a:r>
          </a:p>
        </p:txBody>
      </p:sp>
      <p:sp>
        <p:nvSpPr>
          <p:cNvPr id="283" name="72 Rectángulo">
            <a:extLst>
              <a:ext uri="{FF2B5EF4-FFF2-40B4-BE49-F238E27FC236}">
                <a16:creationId xmlns="" xmlns:a16="http://schemas.microsoft.com/office/drawing/2014/main" id="{61F91900-AA3F-4E45-91E7-6176D9116884}"/>
              </a:ext>
            </a:extLst>
          </p:cNvPr>
          <p:cNvSpPr/>
          <p:nvPr/>
        </p:nvSpPr>
        <p:spPr>
          <a:xfrm>
            <a:off x="247312" y="39995"/>
            <a:ext cx="8779298" cy="659547"/>
          </a:xfrm>
          <a:prstGeom prst="rect">
            <a:avLst/>
          </a:prstGeom>
        </p:spPr>
        <p:txBody>
          <a:bodyPr wrap="square" lIns="74048" tIns="37024" rIns="74048" bIns="37024">
            <a:spAutoFit/>
          </a:bodyPr>
          <a:lstStyle/>
          <a:p>
            <a:r>
              <a:rPr lang="es-PE" sz="1900" b="1" dirty="0">
                <a:solidFill>
                  <a:srgbClr val="00915A"/>
                </a:solidFill>
                <a:latin typeface="BNPP Sans" pitchFamily="50" charset="0"/>
              </a:rPr>
              <a:t>Oferta de seguros </a:t>
            </a:r>
            <a:r>
              <a:rPr lang="es-PE" sz="1900" b="1" dirty="0" err="1">
                <a:solidFill>
                  <a:srgbClr val="00915A"/>
                </a:solidFill>
                <a:latin typeface="BNPP Sans" pitchFamily="50" charset="0"/>
              </a:rPr>
              <a:t>retail</a:t>
            </a:r>
            <a:r>
              <a:rPr lang="es-PE" sz="1900" b="1" dirty="0">
                <a:solidFill>
                  <a:srgbClr val="00915A"/>
                </a:solidFill>
                <a:latin typeface="BNPP Sans" pitchFamily="50" charset="0"/>
              </a:rPr>
              <a:t> : Existe oportunidad de crecimiento en  las líneas de protección individual desarrollando los canales de venta a distancia</a:t>
            </a:r>
            <a:endParaRPr lang="es-PE" sz="1900" b="1" dirty="0">
              <a:latin typeface="BNPP Sans" pitchFamily="50" charset="0"/>
            </a:endParaRPr>
          </a:p>
        </p:txBody>
      </p:sp>
      <p:pic>
        <p:nvPicPr>
          <p:cNvPr id="285" name="Picture 5" descr="Imagen relacionada">
            <a:extLst>
              <a:ext uri="{FF2B5EF4-FFF2-40B4-BE49-F238E27FC236}">
                <a16:creationId xmlns="" xmlns:a16="http://schemas.microsoft.com/office/drawing/2014/main" id="{23618E33-E22E-45D8-8014-8A282668DF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1443306"/>
            <a:ext cx="243810" cy="192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" name="Picture 5" descr="Imagen relacionada">
            <a:extLst>
              <a:ext uri="{FF2B5EF4-FFF2-40B4-BE49-F238E27FC236}">
                <a16:creationId xmlns="" xmlns:a16="http://schemas.microsoft.com/office/drawing/2014/main" id="{23618E33-E22E-45D8-8014-8A282668DF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1635646"/>
            <a:ext cx="243810" cy="192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7" name="Picture 5" descr="Imagen relacionada">
            <a:extLst>
              <a:ext uri="{FF2B5EF4-FFF2-40B4-BE49-F238E27FC236}">
                <a16:creationId xmlns="" xmlns:a16="http://schemas.microsoft.com/office/drawing/2014/main" id="{23618E33-E22E-45D8-8014-8A282668DF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1803346"/>
            <a:ext cx="243810" cy="192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8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9880" y="2575494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9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3293761"/>
            <a:ext cx="157608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0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4272" y="3719305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1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203" y="3712973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2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2735441" y="1685350"/>
            <a:ext cx="86175" cy="6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3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2756649" y="1303897"/>
            <a:ext cx="86175" cy="6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4" name="Picture 2" descr="Resultado de imagen para star icon png">
            <a:extLst>
              <a:ext uri="{FF2B5EF4-FFF2-40B4-BE49-F238E27FC236}">
                <a16:creationId xmlns="" xmlns:a16="http://schemas.microsoft.com/office/drawing/2014/main" id="{28687E65-47EE-4BEB-8282-55EF9304C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0554" y="3250834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5" name="Picture 403" descr="Resultado de imagen para logo cardif png">
            <a:extLst>
              <a:ext uri="{FF2B5EF4-FFF2-40B4-BE49-F238E27FC236}">
                <a16:creationId xmlns="" xmlns:a16="http://schemas.microsoft.com/office/drawing/2014/main" id="{DE33ED4B-8D51-49A5-9AB8-5026DD75A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6516216" y="3304350"/>
            <a:ext cx="86175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3401" y="1244229"/>
            <a:ext cx="157608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" name="Picture 2" descr="Resultado de imagen para star icon png">
            <a:extLst>
              <a:ext uri="{FF2B5EF4-FFF2-40B4-BE49-F238E27FC236}">
                <a16:creationId xmlns="" xmlns:a16="http://schemas.microsoft.com/office/drawing/2014/main" id="{27D623AE-ACE4-476F-84B9-7A2954E45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4003" y="1222670"/>
            <a:ext cx="158742" cy="16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8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772" y="2746869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1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8236" y="1250493"/>
            <a:ext cx="157608" cy="16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2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3218015" y="1303478"/>
            <a:ext cx="86175" cy="6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3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6713" y="2745502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4" name="Picture 2" descr="Resultado de imagen para star icon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271" y="2758537"/>
            <a:ext cx="158742" cy="16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7" name="Picture 403" descr="Resultado de imagen para logo cardi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152"/>
          <a:stretch>
            <a:fillRect/>
          </a:stretch>
        </p:blipFill>
        <p:spPr bwMode="auto">
          <a:xfrm>
            <a:off x="2735399" y="3355798"/>
            <a:ext cx="86175" cy="6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1850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/>
        </p:nvGrpSpPr>
        <p:grpSpPr>
          <a:xfrm>
            <a:off x="2753682" y="1203598"/>
            <a:ext cx="3672408" cy="2808312"/>
            <a:chOff x="6444208" y="1203598"/>
            <a:chExt cx="3672408" cy="2808312"/>
          </a:xfrm>
        </p:grpSpPr>
        <p:sp>
          <p:nvSpPr>
            <p:cNvPr id="2" name="1 Rectángulo"/>
            <p:cNvSpPr/>
            <p:nvPr/>
          </p:nvSpPr>
          <p:spPr>
            <a:xfrm>
              <a:off x="6444208" y="1203598"/>
              <a:ext cx="3672408" cy="2808312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P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" name="2 CuadroTexto"/>
            <p:cNvSpPr txBox="1"/>
            <p:nvPr/>
          </p:nvSpPr>
          <p:spPr>
            <a:xfrm>
              <a:off x="6588224" y="1347614"/>
              <a:ext cx="3240360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PE" sz="5400" b="1" dirty="0" smtClean="0">
                  <a:solidFill>
                    <a:schemeClr val="bg1"/>
                  </a:solidFill>
                  <a:latin typeface="BNPP Sans Light" pitchFamily="50" charset="0"/>
                </a:rPr>
                <a:t>Gracias!</a:t>
              </a:r>
            </a:p>
          </p:txBody>
        </p:sp>
        <p:sp>
          <p:nvSpPr>
            <p:cNvPr id="4" name="3 CuadroTexto"/>
            <p:cNvSpPr txBox="1"/>
            <p:nvPr/>
          </p:nvSpPr>
          <p:spPr>
            <a:xfrm>
              <a:off x="6607069" y="2067694"/>
              <a:ext cx="3240360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PE" sz="2800" dirty="0" smtClean="0">
                  <a:solidFill>
                    <a:schemeClr val="bg1"/>
                  </a:solidFill>
                  <a:latin typeface="BNPP Sans Light" pitchFamily="50" charset="0"/>
                </a:rPr>
                <a:t>BNP PARIBAS CARDIF</a:t>
              </a:r>
            </a:p>
          </p:txBody>
        </p:sp>
        <p:sp>
          <p:nvSpPr>
            <p:cNvPr id="5" name="4 CuadroTexto"/>
            <p:cNvSpPr txBox="1"/>
            <p:nvPr/>
          </p:nvSpPr>
          <p:spPr>
            <a:xfrm>
              <a:off x="6660232" y="2519848"/>
              <a:ext cx="3240360" cy="12760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PE" dirty="0" err="1" smtClean="0">
                  <a:solidFill>
                    <a:schemeClr val="bg1"/>
                  </a:solidFill>
                  <a:latin typeface="BNPP Sans Light" pitchFamily="50" charset="0"/>
                </a:rPr>
                <a:t>Canaval</a:t>
              </a:r>
              <a:r>
                <a:rPr lang="es-PE" dirty="0" smtClean="0">
                  <a:solidFill>
                    <a:schemeClr val="bg1"/>
                  </a:solidFill>
                  <a:latin typeface="BNPP Sans Light" pitchFamily="50" charset="0"/>
                </a:rPr>
                <a:t> y </a:t>
              </a:r>
              <a:r>
                <a:rPr lang="es-PE" dirty="0" err="1" smtClean="0">
                  <a:solidFill>
                    <a:schemeClr val="bg1"/>
                  </a:solidFill>
                  <a:latin typeface="BNPP Sans Light" pitchFamily="50" charset="0"/>
                </a:rPr>
                <a:t>Moreyra</a:t>
              </a:r>
              <a:r>
                <a:rPr lang="es-PE" dirty="0" smtClean="0">
                  <a:solidFill>
                    <a:schemeClr val="bg1"/>
                  </a:solidFill>
                  <a:latin typeface="BNPP Sans Light" pitchFamily="50" charset="0"/>
                </a:rPr>
                <a:t> 380-Piso 11</a:t>
              </a:r>
            </a:p>
            <a:p>
              <a:r>
                <a:rPr lang="es-PE" dirty="0" smtClean="0">
                  <a:solidFill>
                    <a:schemeClr val="bg1"/>
                  </a:solidFill>
                  <a:latin typeface="BNPP Sans Light" pitchFamily="50" charset="0"/>
                </a:rPr>
                <a:t>San Isidro</a:t>
              </a:r>
            </a:p>
            <a:p>
              <a:r>
                <a:rPr lang="es-PE" dirty="0" smtClean="0">
                  <a:solidFill>
                    <a:schemeClr val="bg1"/>
                  </a:solidFill>
                  <a:latin typeface="BNPP Sans Light" pitchFamily="50" charset="0"/>
                </a:rPr>
                <a:t>Tel.: 615 5700</a:t>
              </a:r>
            </a:p>
            <a:p>
              <a:endParaRPr lang="es-PE" sz="1100" dirty="0" smtClean="0">
                <a:solidFill>
                  <a:schemeClr val="bg1"/>
                </a:solidFill>
                <a:latin typeface="BNPP Sans Light" pitchFamily="50" charset="0"/>
              </a:endParaRPr>
            </a:p>
            <a:p>
              <a:r>
                <a:rPr lang="es-PE" sz="2200" b="1" dirty="0" smtClean="0">
                  <a:solidFill>
                    <a:schemeClr val="bg1"/>
                  </a:solidFill>
                  <a:latin typeface="BNPP Sans Light" pitchFamily="50" charset="0"/>
                </a:rPr>
                <a:t>Bnpparibascardif.com.p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9857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6219AF-F5ED-455B-A512-B03AB3602319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47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75" y="2951163"/>
            <a:ext cx="3741738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CuadroTexto 3"/>
          <p:cNvSpPr txBox="1">
            <a:spLocks noChangeArrowheads="1"/>
          </p:cNvSpPr>
          <p:nvPr/>
        </p:nvSpPr>
        <p:spPr bwMode="auto">
          <a:xfrm>
            <a:off x="168275" y="1914525"/>
            <a:ext cx="319087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046" tIns="37023" rIns="74046" bIns="37023">
            <a:spAutoFit/>
          </a:bodyPr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CL" altLang="es-PE" sz="3600" smtClean="0">
                <a:solidFill>
                  <a:srgbClr val="000000"/>
                </a:solidFill>
                <a:latin typeface="Gloucester MT Extra Condensed" pitchFamily="18" charset="0"/>
                <a:cs typeface="Arial" pitchFamily="34" charset="0"/>
              </a:rPr>
              <a:t>DESDE 1815</a:t>
            </a:r>
            <a:endParaRPr lang="es-CL" altLang="es-PE" sz="3600" smtClean="0">
              <a:solidFill>
                <a:srgbClr val="FFFFFF"/>
              </a:solidFill>
              <a:latin typeface="Gloucester MT Extra Condensed" pitchFamily="18" charset="0"/>
              <a:cs typeface="Arial" pitchFamily="34" charset="0"/>
            </a:endParaRPr>
          </a:p>
        </p:txBody>
      </p:sp>
      <p:sp>
        <p:nvSpPr>
          <p:cNvPr id="56" name="CuadroTexto 6"/>
          <p:cNvSpPr txBox="1">
            <a:spLocks noChangeArrowheads="1"/>
          </p:cNvSpPr>
          <p:nvPr/>
        </p:nvSpPr>
        <p:spPr bwMode="auto">
          <a:xfrm>
            <a:off x="168275" y="3317875"/>
            <a:ext cx="3190875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046" tIns="37023" rIns="74046" bIns="37023">
            <a:spAutoFit/>
          </a:bodyPr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CL" altLang="es-PE" sz="3900" smtClean="0">
                <a:solidFill>
                  <a:srgbClr val="000000"/>
                </a:solidFill>
                <a:latin typeface="Gloucester MT Extra Condensed" pitchFamily="18" charset="0"/>
                <a:cs typeface="Arial" pitchFamily="34" charset="0"/>
              </a:rPr>
              <a:t>1  DE LOS  6</a:t>
            </a:r>
          </a:p>
        </p:txBody>
      </p:sp>
      <p:sp>
        <p:nvSpPr>
          <p:cNvPr id="61" name="CuadroTexto 7"/>
          <p:cNvSpPr txBox="1">
            <a:spLocks noChangeArrowheads="1"/>
          </p:cNvSpPr>
          <p:nvPr/>
        </p:nvSpPr>
        <p:spPr bwMode="auto">
          <a:xfrm>
            <a:off x="177800" y="3879850"/>
            <a:ext cx="31892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046" tIns="37023" rIns="74046" bIns="37023">
            <a:spAutoFit/>
          </a:bodyPr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CL" altLang="es-PE" sz="1600" smtClean="0">
                <a:solidFill>
                  <a:srgbClr val="000000"/>
                </a:solidFill>
                <a:latin typeface="Gill Sans MT Ext Condensed Bold" pitchFamily="34" charset="0"/>
                <a:cs typeface="Arial" pitchFamily="34" charset="0"/>
              </a:rPr>
              <a:t>BANCOS MÁS SÓLIDOS DEL MUNDO</a:t>
            </a:r>
          </a:p>
        </p:txBody>
      </p:sp>
      <p:grpSp>
        <p:nvGrpSpPr>
          <p:cNvPr id="62" name="Grupo 13"/>
          <p:cNvGrpSpPr>
            <a:grpSpLocks/>
          </p:cNvGrpSpPr>
          <p:nvPr/>
        </p:nvGrpSpPr>
        <p:grpSpPr bwMode="auto">
          <a:xfrm>
            <a:off x="749300" y="4237038"/>
            <a:ext cx="1949450" cy="161925"/>
            <a:chOff x="1328057" y="5791201"/>
            <a:chExt cx="2667000" cy="337457"/>
          </a:xfrm>
        </p:grpSpPr>
        <p:sp>
          <p:nvSpPr>
            <p:cNvPr id="63" name="Rectángulo 8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328057" y="5791201"/>
              <a:ext cx="2667000" cy="6616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73818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PE" sz="15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ángulo 9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328057" y="5857369"/>
              <a:ext cx="2667000" cy="271289"/>
            </a:xfrm>
            <a:custGeom>
              <a:avLst/>
              <a:gdLst>
                <a:gd name="connsiteX0" fmla="*/ 0 w 2667000"/>
                <a:gd name="connsiteY0" fmla="*/ 0 h 65314"/>
                <a:gd name="connsiteX1" fmla="*/ 2667000 w 2667000"/>
                <a:gd name="connsiteY1" fmla="*/ 0 h 65314"/>
                <a:gd name="connsiteX2" fmla="*/ 2667000 w 2667000"/>
                <a:gd name="connsiteY2" fmla="*/ 65314 h 65314"/>
                <a:gd name="connsiteX3" fmla="*/ 0 w 2667000"/>
                <a:gd name="connsiteY3" fmla="*/ 65314 h 65314"/>
                <a:gd name="connsiteX4" fmla="*/ 0 w 2667000"/>
                <a:gd name="connsiteY4" fmla="*/ 0 h 65314"/>
                <a:gd name="connsiteX0" fmla="*/ 0 w 2667000"/>
                <a:gd name="connsiteY0" fmla="*/ 0 h 272143"/>
                <a:gd name="connsiteX1" fmla="*/ 2667000 w 2667000"/>
                <a:gd name="connsiteY1" fmla="*/ 0 h 272143"/>
                <a:gd name="connsiteX2" fmla="*/ 2667000 w 2667000"/>
                <a:gd name="connsiteY2" fmla="*/ 65314 h 272143"/>
                <a:gd name="connsiteX3" fmla="*/ 1360715 w 2667000"/>
                <a:gd name="connsiteY3" fmla="*/ 272143 h 272143"/>
                <a:gd name="connsiteX4" fmla="*/ 0 w 2667000"/>
                <a:gd name="connsiteY4" fmla="*/ 0 h 272143"/>
                <a:gd name="connsiteX0" fmla="*/ 0 w 2667000"/>
                <a:gd name="connsiteY0" fmla="*/ 43543 h 315686"/>
                <a:gd name="connsiteX1" fmla="*/ 2667000 w 2667000"/>
                <a:gd name="connsiteY1" fmla="*/ 43543 h 315686"/>
                <a:gd name="connsiteX2" fmla="*/ 2656114 w 2667000"/>
                <a:gd name="connsiteY2" fmla="*/ 0 h 315686"/>
                <a:gd name="connsiteX3" fmla="*/ 1360715 w 2667000"/>
                <a:gd name="connsiteY3" fmla="*/ 315686 h 315686"/>
                <a:gd name="connsiteX4" fmla="*/ 0 w 2667000"/>
                <a:gd name="connsiteY4" fmla="*/ 43543 h 315686"/>
                <a:gd name="connsiteX0" fmla="*/ 0 w 2667000"/>
                <a:gd name="connsiteY0" fmla="*/ 0 h 272143"/>
                <a:gd name="connsiteX1" fmla="*/ 2667000 w 2667000"/>
                <a:gd name="connsiteY1" fmla="*/ 0 h 272143"/>
                <a:gd name="connsiteX2" fmla="*/ 1360715 w 2667000"/>
                <a:gd name="connsiteY2" fmla="*/ 272143 h 272143"/>
                <a:gd name="connsiteX3" fmla="*/ 0 w 2667000"/>
                <a:gd name="connsiteY3" fmla="*/ 0 h 272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0" h="272143">
                  <a:moveTo>
                    <a:pt x="0" y="0"/>
                  </a:moveTo>
                  <a:lnTo>
                    <a:pt x="2667000" y="0"/>
                  </a:lnTo>
                  <a:lnTo>
                    <a:pt x="1360715" y="2721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73919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sz="1500">
                <a:solidFill>
                  <a:srgbClr val="000000"/>
                </a:solidFill>
              </a:endParaRPr>
            </a:p>
          </p:txBody>
        </p:sp>
      </p:grpSp>
      <p:pic>
        <p:nvPicPr>
          <p:cNvPr id="66" name="Imagen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555625"/>
            <a:ext cx="2503488" cy="136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66 Redondear rectángulo de esquina del mismo lado">
            <a:extLst>
              <a:ext uri="{FF2B5EF4-FFF2-40B4-BE49-F238E27FC236}"/>
            </a:extLst>
          </p:cNvPr>
          <p:cNvSpPr/>
          <p:nvPr/>
        </p:nvSpPr>
        <p:spPr>
          <a:xfrm rot="10800000">
            <a:off x="6711950" y="2119313"/>
            <a:ext cx="1316038" cy="407987"/>
          </a:xfrm>
          <a:prstGeom prst="round2SameRect">
            <a:avLst/>
          </a:prstGeom>
          <a:noFill/>
          <a:ln w="25400" cap="flat" cmpd="sng" algn="ctr">
            <a:solidFill>
              <a:schemeClr val="accent4"/>
            </a:solidFill>
            <a:prstDash val="solid"/>
          </a:ln>
          <a:effectLst/>
        </p:spPr>
        <p:txBody>
          <a:bodyPr lIns="74048" tIns="37024" rIns="74048" bIns="37024" anchor="ctr"/>
          <a:lstStyle/>
          <a:p>
            <a:pPr algn="ctr" defTabSz="740481">
              <a:defRPr/>
            </a:pPr>
            <a:endParaRPr lang="es-ES" sz="1500" kern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8" name="67 Redondear rectángulo de esquina del mismo lado">
            <a:extLst>
              <a:ext uri="{FF2B5EF4-FFF2-40B4-BE49-F238E27FC236}"/>
            </a:extLst>
          </p:cNvPr>
          <p:cNvSpPr/>
          <p:nvPr/>
        </p:nvSpPr>
        <p:spPr>
          <a:xfrm rot="10800000">
            <a:off x="4506913" y="2160588"/>
            <a:ext cx="1270000" cy="377825"/>
          </a:xfrm>
          <a:prstGeom prst="round2SameRect">
            <a:avLst/>
          </a:prstGeom>
          <a:solidFill>
            <a:sysClr val="window" lastClr="FFFFFF"/>
          </a:solidFill>
          <a:ln w="25400" cap="flat" cmpd="sng" algn="ctr">
            <a:solidFill>
              <a:schemeClr val="accent6">
                <a:lumMod val="75000"/>
              </a:schemeClr>
            </a:solidFill>
            <a:prstDash val="solid"/>
          </a:ln>
          <a:effectLst/>
        </p:spPr>
        <p:txBody>
          <a:bodyPr lIns="74048" tIns="37024" rIns="74048" bIns="37024" anchor="ctr"/>
          <a:lstStyle/>
          <a:p>
            <a:pPr algn="ctr" defTabSz="740481">
              <a:defRPr/>
            </a:pPr>
            <a:endParaRPr lang="es-ES" sz="1500" kern="0">
              <a:solidFill>
                <a:srgbClr val="85B95F">
                  <a:lumMod val="60000"/>
                  <a:lumOff val="40000"/>
                </a:srgbClr>
              </a:solidFill>
              <a:latin typeface="Calibri"/>
              <a:cs typeface="Arial" pitchFamily="34" charset="0"/>
            </a:endParaRPr>
          </a:p>
        </p:txBody>
      </p:sp>
      <p:sp>
        <p:nvSpPr>
          <p:cNvPr id="69" name="68 Rectángulo">
            <a:extLst>
              <a:ext uri="{FF2B5EF4-FFF2-40B4-BE49-F238E27FC236}"/>
            </a:extLst>
          </p:cNvPr>
          <p:cNvSpPr/>
          <p:nvPr/>
        </p:nvSpPr>
        <p:spPr>
          <a:xfrm>
            <a:off x="4354513" y="1136650"/>
            <a:ext cx="1606550" cy="1023938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shade val="30000"/>
                  <a:satMod val="115000"/>
                </a:schemeClr>
              </a:gs>
              <a:gs pos="50000">
                <a:schemeClr val="accent6">
                  <a:lumMod val="75000"/>
                  <a:shade val="67500"/>
                  <a:satMod val="115000"/>
                </a:schemeClr>
              </a:gs>
              <a:gs pos="100000">
                <a:schemeClr val="accent6">
                  <a:lumMod val="75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37024" rIns="74048" bIns="37024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s-PE" sz="15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0" name="69 Rectángulo">
            <a:extLst>
              <a:ext uri="{FF2B5EF4-FFF2-40B4-BE49-F238E27FC236}"/>
            </a:extLst>
          </p:cNvPr>
          <p:cNvSpPr/>
          <p:nvPr/>
        </p:nvSpPr>
        <p:spPr>
          <a:xfrm>
            <a:off x="6594475" y="1131888"/>
            <a:ext cx="1558925" cy="102711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37024" rIns="74048" bIns="37024" anchor="ctr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s-PE" sz="15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1" name="70 CuadroTexto">
            <a:extLst>
              <a:ext uri="{FF2B5EF4-FFF2-40B4-BE49-F238E27FC236}"/>
            </a:extLst>
          </p:cNvPr>
          <p:cNvSpPr txBox="1"/>
          <p:nvPr/>
        </p:nvSpPr>
        <p:spPr>
          <a:xfrm>
            <a:off x="4740275" y="1293813"/>
            <a:ext cx="915988" cy="520700"/>
          </a:xfrm>
          <a:prstGeom prst="rect">
            <a:avLst/>
          </a:prstGeom>
          <a:noFill/>
        </p:spPr>
        <p:txBody>
          <a:bodyPr lIns="74048" tIns="37024" rIns="74048" bIns="37024">
            <a:spAutoFit/>
          </a:bodyPr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lang="es-PE" altLang="es-PE" sz="29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NPP Sans" pitchFamily="50" charset="0"/>
                <a:cs typeface="Arial" pitchFamily="34" charset="0"/>
              </a:rPr>
              <a:t>43.2</a:t>
            </a:r>
            <a:endParaRPr lang="es-ES" altLang="es-PE" sz="2900" smtClean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BNPP Sans" pitchFamily="50" charset="0"/>
              <a:cs typeface="Arial" pitchFamily="34" charset="0"/>
            </a:endParaRPr>
          </a:p>
        </p:txBody>
      </p:sp>
      <p:sp>
        <p:nvSpPr>
          <p:cNvPr id="72" name="71 CuadroTexto">
            <a:extLst>
              <a:ext uri="{FF2B5EF4-FFF2-40B4-BE49-F238E27FC236}"/>
            </a:extLst>
          </p:cNvPr>
          <p:cNvSpPr txBox="1"/>
          <p:nvPr/>
        </p:nvSpPr>
        <p:spPr>
          <a:xfrm>
            <a:off x="4740275" y="1673225"/>
            <a:ext cx="915988" cy="166688"/>
          </a:xfrm>
          <a:prstGeom prst="rect">
            <a:avLst/>
          </a:prstGeom>
          <a:noFill/>
        </p:spPr>
        <p:txBody>
          <a:bodyPr lIns="74048" tIns="37024" rIns="74048" bIns="37024">
            <a:spAutoFit/>
          </a:bodyPr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lang="es-PE" altLang="es-PE" sz="600" b="1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Arial" pitchFamily="34" charset="0"/>
              </a:rPr>
              <a:t>BILLONES DE EUROS</a:t>
            </a:r>
            <a:endParaRPr lang="es-ES" altLang="es-PE" sz="600" b="1" smtClean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  <p:sp>
        <p:nvSpPr>
          <p:cNvPr id="73" name="72 CuadroTexto">
            <a:extLst>
              <a:ext uri="{FF2B5EF4-FFF2-40B4-BE49-F238E27FC236}"/>
            </a:extLst>
          </p:cNvPr>
          <p:cNvSpPr txBox="1"/>
          <p:nvPr/>
        </p:nvSpPr>
        <p:spPr>
          <a:xfrm>
            <a:off x="7058025" y="1306513"/>
            <a:ext cx="912813" cy="520700"/>
          </a:xfrm>
          <a:prstGeom prst="rect">
            <a:avLst/>
          </a:prstGeom>
          <a:noFill/>
        </p:spPr>
        <p:txBody>
          <a:bodyPr lIns="74048" tIns="37024" rIns="74048" bIns="37024">
            <a:spAutoFit/>
          </a:bodyPr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lang="es-PE" altLang="es-PE" sz="290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NPP Sans" pitchFamily="50" charset="0"/>
                <a:cs typeface="Arial" pitchFamily="34" charset="0"/>
              </a:rPr>
              <a:t>7.8</a:t>
            </a:r>
            <a:endParaRPr lang="es-ES" altLang="es-PE" sz="2900" smtClean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BNPP Sans" pitchFamily="50" charset="0"/>
              <a:cs typeface="Arial" pitchFamily="34" charset="0"/>
            </a:endParaRPr>
          </a:p>
        </p:txBody>
      </p:sp>
      <p:sp>
        <p:nvSpPr>
          <p:cNvPr id="74" name="73 CuadroTexto">
            <a:extLst>
              <a:ext uri="{FF2B5EF4-FFF2-40B4-BE49-F238E27FC236}"/>
            </a:extLst>
          </p:cNvPr>
          <p:cNvSpPr txBox="1"/>
          <p:nvPr/>
        </p:nvSpPr>
        <p:spPr>
          <a:xfrm>
            <a:off x="6975475" y="1685925"/>
            <a:ext cx="914400" cy="166688"/>
          </a:xfrm>
          <a:prstGeom prst="rect">
            <a:avLst/>
          </a:prstGeom>
          <a:noFill/>
        </p:spPr>
        <p:txBody>
          <a:bodyPr lIns="74048" tIns="37024" rIns="74048" bIns="37024">
            <a:spAutoFit/>
          </a:bodyPr>
          <a:lstStyle/>
          <a:p>
            <a:pPr defTabSz="740481">
              <a:defRPr/>
            </a:pPr>
            <a:r>
              <a:rPr lang="es-ES" sz="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rPr>
              <a:t>BILLONES DE EUROS</a:t>
            </a:r>
          </a:p>
        </p:txBody>
      </p:sp>
      <p:sp>
        <p:nvSpPr>
          <p:cNvPr id="75" name="74 CuadroTexto">
            <a:extLst>
              <a:ext uri="{FF2B5EF4-FFF2-40B4-BE49-F238E27FC236}"/>
            </a:extLst>
          </p:cNvPr>
          <p:cNvSpPr txBox="1"/>
          <p:nvPr/>
        </p:nvSpPr>
        <p:spPr>
          <a:xfrm>
            <a:off x="4673600" y="1835150"/>
            <a:ext cx="1042988" cy="352425"/>
          </a:xfrm>
          <a:prstGeom prst="rect">
            <a:avLst/>
          </a:prstGeom>
          <a:noFill/>
        </p:spPr>
        <p:txBody>
          <a:bodyPr lIns="74048" tIns="37024" rIns="74048" bIns="37024">
            <a:spAutoFit/>
          </a:bodyPr>
          <a:lstStyle/>
          <a:p>
            <a:pPr algn="ctr" defTabSz="740481">
              <a:defRPr/>
            </a:pPr>
            <a:r>
              <a:rPr lang="es-ES" sz="900" b="1" kern="0" dirty="0">
                <a:solidFill>
                  <a:prstClr val="white"/>
                </a:solidFill>
                <a:latin typeface="BNPP Sans" pitchFamily="50" charset="0"/>
                <a:cs typeface="Arial" pitchFamily="34" charset="0"/>
              </a:rPr>
              <a:t>Producto Neto Bancario</a:t>
            </a:r>
          </a:p>
        </p:txBody>
      </p:sp>
      <p:sp>
        <p:nvSpPr>
          <p:cNvPr id="76" name="68 CuadroTexto"/>
          <p:cNvSpPr txBox="1">
            <a:spLocks noChangeArrowheads="1"/>
          </p:cNvSpPr>
          <p:nvPr/>
        </p:nvSpPr>
        <p:spPr bwMode="auto">
          <a:xfrm>
            <a:off x="6751638" y="1822450"/>
            <a:ext cx="1341437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048" tIns="37024" rIns="74048" bIns="37024">
            <a:spAutoFit/>
          </a:bodyPr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PE" sz="800" b="1" smtClean="0">
                <a:solidFill>
                  <a:srgbClr val="FFFFFF"/>
                </a:solidFill>
                <a:latin typeface="BNPP Sans" pitchFamily="50" charset="0"/>
                <a:cs typeface="Arial" pitchFamily="34" charset="0"/>
              </a:rPr>
              <a:t>Utilidad Neta </a:t>
            </a:r>
            <a:endParaRPr lang="es-ES" altLang="es-PE" sz="800" b="1" smtClean="0">
              <a:solidFill>
                <a:srgbClr val="FFFFFF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77" name="70 CuadroTexto"/>
          <p:cNvSpPr txBox="1">
            <a:spLocks noChangeArrowheads="1"/>
          </p:cNvSpPr>
          <p:nvPr/>
        </p:nvSpPr>
        <p:spPr bwMode="auto">
          <a:xfrm>
            <a:off x="4954588" y="2160588"/>
            <a:ext cx="639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048" tIns="37024" rIns="74048" bIns="37024">
            <a:spAutoFit/>
          </a:bodyPr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PE" b="1" smtClean="0">
                <a:solidFill>
                  <a:srgbClr val="9CA700"/>
                </a:solidFill>
                <a:latin typeface="Calibri" pitchFamily="34" charset="0"/>
                <a:cs typeface="Arial" pitchFamily="34" charset="0"/>
              </a:rPr>
              <a:t>1.5 </a:t>
            </a:r>
            <a:r>
              <a:rPr lang="es-PE" altLang="es-PE" sz="1000" b="1" smtClean="0">
                <a:solidFill>
                  <a:srgbClr val="9CA700"/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s-ES" altLang="es-PE" sz="1000" b="1" smtClean="0">
              <a:solidFill>
                <a:srgbClr val="9CA7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8" name="77 Elipse">
            <a:extLst>
              <a:ext uri="{FF2B5EF4-FFF2-40B4-BE49-F238E27FC236}"/>
            </a:extLst>
          </p:cNvPr>
          <p:cNvSpPr/>
          <p:nvPr/>
        </p:nvSpPr>
        <p:spPr>
          <a:xfrm>
            <a:off x="4802188" y="2209800"/>
            <a:ext cx="182562" cy="1746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74048" tIns="37024" rIns="74048" bIns="37024" anchor="ctr"/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endParaRPr lang="es-ES" altLang="es-PE" smtClean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9" name="87 Flecha arriba"/>
          <p:cNvSpPr>
            <a:spLocks noChangeArrowheads="1"/>
          </p:cNvSpPr>
          <p:nvPr/>
        </p:nvSpPr>
        <p:spPr bwMode="auto">
          <a:xfrm>
            <a:off x="4868863" y="2270125"/>
            <a:ext cx="38100" cy="53975"/>
          </a:xfrm>
          <a:prstGeom prst="upArrow">
            <a:avLst>
              <a:gd name="adj1" fmla="val 50000"/>
              <a:gd name="adj2" fmla="val 51394"/>
            </a:avLst>
          </a:prstGeom>
          <a:solidFill>
            <a:srgbClr val="FFFFFF"/>
          </a:solidFill>
          <a:ln w="25400" algn="ctr">
            <a:solidFill>
              <a:srgbClr val="FFFFFF"/>
            </a:solidFill>
            <a:miter lim="800000"/>
            <a:headEnd/>
            <a:tailEnd/>
          </a:ln>
        </p:spPr>
        <p:txBody>
          <a:bodyPr lIns="74048" tIns="37024" rIns="74048" bIns="37024" anchor="ctr"/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s-ES" altLang="es-PE" smtClean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80" name="76 CuadroTexto"/>
          <p:cNvSpPr txBox="1">
            <a:spLocks noChangeArrowheads="1"/>
          </p:cNvSpPr>
          <p:nvPr/>
        </p:nvSpPr>
        <p:spPr bwMode="auto">
          <a:xfrm>
            <a:off x="4922838" y="2389188"/>
            <a:ext cx="1220787" cy="166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048" tIns="37024" rIns="74048" bIns="37024">
            <a:spAutoFit/>
          </a:bodyPr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PE" sz="600" b="1" smtClean="0">
                <a:solidFill>
                  <a:srgbClr val="9CA700"/>
                </a:solidFill>
                <a:latin typeface="Calibri" pitchFamily="34" charset="0"/>
                <a:cs typeface="Arial" pitchFamily="34" charset="0"/>
              </a:rPr>
              <a:t>VS 2016</a:t>
            </a:r>
            <a:endParaRPr lang="es-ES" altLang="es-PE" sz="600" b="1" smtClean="0">
              <a:solidFill>
                <a:srgbClr val="9CA700"/>
              </a:solidFill>
              <a:latin typeface="Calibri" pitchFamily="34" charset="0"/>
              <a:cs typeface="Arial" pitchFamily="34" charset="0"/>
            </a:endParaRPr>
          </a:p>
        </p:txBody>
      </p:sp>
      <p:grpSp>
        <p:nvGrpSpPr>
          <p:cNvPr id="81" name="22 Grupo"/>
          <p:cNvGrpSpPr>
            <a:grpSpLocks/>
          </p:cNvGrpSpPr>
          <p:nvPr/>
        </p:nvGrpSpPr>
        <p:grpSpPr bwMode="auto">
          <a:xfrm>
            <a:off x="7092950" y="2139950"/>
            <a:ext cx="1366838" cy="420688"/>
            <a:chOff x="8248262" y="2600705"/>
            <a:chExt cx="1616909" cy="561199"/>
          </a:xfrm>
        </p:grpSpPr>
        <p:sp>
          <p:nvSpPr>
            <p:cNvPr id="82" name="71 CuadroTexto"/>
            <p:cNvSpPr txBox="1">
              <a:spLocks noChangeArrowheads="1"/>
            </p:cNvSpPr>
            <p:nvPr/>
          </p:nvSpPr>
          <p:spPr bwMode="auto">
            <a:xfrm>
              <a:off x="8418462" y="2600705"/>
              <a:ext cx="756085" cy="430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39775"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358775" indent="-142875" defTabSz="739775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649288" indent="-141288" defTabSz="739775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935038" indent="-134938" defTabSz="739775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defTabSz="739775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PE" b="1" smtClean="0">
                  <a:solidFill>
                    <a:srgbClr val="008578"/>
                  </a:solidFill>
                  <a:latin typeface="Calibri" pitchFamily="34" charset="0"/>
                  <a:cs typeface="Arial" pitchFamily="34" charset="0"/>
                </a:rPr>
                <a:t>4.4</a:t>
              </a:r>
              <a:r>
                <a:rPr lang="es-PE" altLang="es-PE" sz="1000" b="1" smtClean="0">
                  <a:solidFill>
                    <a:srgbClr val="008578"/>
                  </a:solidFill>
                  <a:latin typeface="Calibri" pitchFamily="34" charset="0"/>
                  <a:cs typeface="Arial" pitchFamily="34" charset="0"/>
                </a:rPr>
                <a:t>%</a:t>
              </a:r>
              <a:endParaRPr lang="es-ES" altLang="es-PE" sz="1000" b="1" smtClean="0">
                <a:solidFill>
                  <a:srgbClr val="008578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83" name="82 Elipse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248262" y="2691768"/>
              <a:ext cx="215964" cy="232950"/>
            </a:xfrm>
            <a:prstGeom prst="ellipse">
              <a:avLst/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>
              <a:lvl1pPr defTabSz="739775"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358775" indent="-142875" defTabSz="739775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649288" indent="-141288" defTabSz="739775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935038" indent="-134938" defTabSz="739775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defTabSz="739775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endParaRPr lang="es-ES" altLang="es-PE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84" name="83 Flecha arriba"/>
            <p:cNvSpPr>
              <a:spLocks noChangeArrowheads="1"/>
            </p:cNvSpPr>
            <p:nvPr/>
          </p:nvSpPr>
          <p:spPr bwMode="auto">
            <a:xfrm>
              <a:off x="8333362" y="2772857"/>
              <a:ext cx="46063" cy="71544"/>
            </a:xfrm>
            <a:prstGeom prst="upArrow">
              <a:avLst>
                <a:gd name="adj1" fmla="val 50000"/>
                <a:gd name="adj2" fmla="val 49996"/>
              </a:avLst>
            </a:prstGeom>
            <a:solidFill>
              <a:srgbClr val="FFFFFF"/>
            </a:solidFill>
            <a:ln w="254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>
              <a:lvl1pPr defTabSz="739775"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358775" indent="-142875" defTabSz="739775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649288" indent="-141288" defTabSz="739775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935038" indent="-134938" defTabSz="739775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defTabSz="739775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endParaRPr lang="es-ES" altLang="es-PE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85" name="77 CuadroTexto"/>
            <p:cNvSpPr txBox="1">
              <a:spLocks noChangeArrowheads="1"/>
            </p:cNvSpPr>
            <p:nvPr/>
          </p:nvSpPr>
          <p:spPr bwMode="auto">
            <a:xfrm>
              <a:off x="8424483" y="2915945"/>
              <a:ext cx="1440688" cy="245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739775"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358775" indent="-142875" defTabSz="739775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649288" indent="-141288" defTabSz="739775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935038" indent="-134938" defTabSz="739775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defTabSz="739775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9775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s-PE" altLang="es-PE" sz="600" b="1" smtClean="0">
                  <a:solidFill>
                    <a:srgbClr val="008578"/>
                  </a:solidFill>
                  <a:latin typeface="Calibri" pitchFamily="34" charset="0"/>
                  <a:cs typeface="Arial" pitchFamily="34" charset="0"/>
                </a:rPr>
                <a:t>VS 2016</a:t>
              </a:r>
              <a:endParaRPr lang="es-ES" altLang="es-PE" sz="600" b="1" smtClean="0">
                <a:solidFill>
                  <a:srgbClr val="008578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86" name="79 Flecha arriba"/>
          <p:cNvSpPr>
            <a:spLocks noChangeArrowheads="1"/>
          </p:cNvSpPr>
          <p:nvPr/>
        </p:nvSpPr>
        <p:spPr bwMode="auto">
          <a:xfrm>
            <a:off x="4908550" y="1131888"/>
            <a:ext cx="503238" cy="987425"/>
          </a:xfrm>
          <a:prstGeom prst="upArrow">
            <a:avLst>
              <a:gd name="adj1" fmla="val 50000"/>
              <a:gd name="adj2" fmla="val 49953"/>
            </a:avLst>
          </a:prstGeom>
          <a:solidFill>
            <a:srgbClr val="D9D9D9">
              <a:alpha val="1686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048" tIns="37024" rIns="74048" bIns="37024" anchor="ctr"/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s-ES" altLang="es-PE" smtClean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87" name="80 Flecha arriba"/>
          <p:cNvSpPr>
            <a:spLocks noChangeArrowheads="1"/>
          </p:cNvSpPr>
          <p:nvPr/>
        </p:nvSpPr>
        <p:spPr bwMode="auto">
          <a:xfrm>
            <a:off x="7180263" y="1131888"/>
            <a:ext cx="473075" cy="1000125"/>
          </a:xfrm>
          <a:prstGeom prst="upArrow">
            <a:avLst>
              <a:gd name="adj1" fmla="val 50000"/>
              <a:gd name="adj2" fmla="val 49994"/>
            </a:avLst>
          </a:prstGeom>
          <a:solidFill>
            <a:srgbClr val="D9D9D9">
              <a:alpha val="1686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048" tIns="37024" rIns="74048" bIns="37024" anchor="ctr"/>
          <a:lstStyle>
            <a:lvl1pPr defTabSz="739775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358775" indent="-142875" defTabSz="739775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649288" indent="-14128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defTabSz="739775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39775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9775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s-ES" altLang="es-PE" sz="2300" smtClean="0">
              <a:solidFill>
                <a:srgbClr val="FFFFFF"/>
              </a:solidFill>
              <a:latin typeface="BNPP Sans" pitchFamily="50" charset="0"/>
              <a:cs typeface="Arial" pitchFamily="34" charset="0"/>
            </a:endParaRPr>
          </a:p>
        </p:txBody>
      </p:sp>
      <p:sp>
        <p:nvSpPr>
          <p:cNvPr id="88" name="CuadroTexto 5"/>
          <p:cNvSpPr txBox="1">
            <a:spLocks noChangeArrowheads="1"/>
          </p:cNvSpPr>
          <p:nvPr/>
        </p:nvSpPr>
        <p:spPr bwMode="auto">
          <a:xfrm>
            <a:off x="187325" y="2408238"/>
            <a:ext cx="3189288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046" tIns="37023" rIns="74046" bIns="37023">
            <a:spAutoFit/>
          </a:bodyPr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CL" altLang="es-PE" sz="6500" smtClean="0">
                <a:solidFill>
                  <a:srgbClr val="00915A"/>
                </a:solidFill>
                <a:latin typeface="Gloucester MT Extra Condensed" pitchFamily="18" charset="0"/>
                <a:cs typeface="Arial" pitchFamily="34" charset="0"/>
              </a:rPr>
              <a:t>LÍDER</a:t>
            </a:r>
          </a:p>
        </p:txBody>
      </p:sp>
      <p:cxnSp>
        <p:nvCxnSpPr>
          <p:cNvPr id="89" name="Conector recto 11">
            <a:extLst>
              <a:ext uri="{FF2B5EF4-FFF2-40B4-BE49-F238E27FC236}"/>
            </a:extLst>
          </p:cNvPr>
          <p:cNvCxnSpPr/>
          <p:nvPr/>
        </p:nvCxnSpPr>
        <p:spPr>
          <a:xfrm>
            <a:off x="774700" y="2463800"/>
            <a:ext cx="2017713" cy="0"/>
          </a:xfrm>
          <a:prstGeom prst="line">
            <a:avLst/>
          </a:prstGeom>
          <a:ln w="1905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recto 12">
            <a:extLst>
              <a:ext uri="{FF2B5EF4-FFF2-40B4-BE49-F238E27FC236}"/>
            </a:extLst>
          </p:cNvPr>
          <p:cNvCxnSpPr/>
          <p:nvPr/>
        </p:nvCxnSpPr>
        <p:spPr>
          <a:xfrm>
            <a:off x="774700" y="3375025"/>
            <a:ext cx="2017713" cy="0"/>
          </a:xfrm>
          <a:prstGeom prst="line">
            <a:avLst/>
          </a:prstGeom>
          <a:ln w="1905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166911 CuadroTexto"/>
          <p:cNvSpPr txBox="1">
            <a:spLocks noChangeArrowheads="1"/>
          </p:cNvSpPr>
          <p:nvPr/>
        </p:nvSpPr>
        <p:spPr bwMode="auto">
          <a:xfrm>
            <a:off x="4679950" y="2943225"/>
            <a:ext cx="66516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ES" sz="1300" b="1" smtClean="0">
                <a:solidFill>
                  <a:srgbClr val="008578"/>
                </a:solidFill>
                <a:latin typeface="BNPP Sans" pitchFamily="50" charset="0"/>
                <a:cs typeface="Arial" pitchFamily="34" charset="0"/>
              </a:rPr>
              <a:t>15,7 Bn</a:t>
            </a:r>
          </a:p>
        </p:txBody>
      </p:sp>
      <p:sp>
        <p:nvSpPr>
          <p:cNvPr id="92" name="102 CuadroTexto"/>
          <p:cNvSpPr txBox="1">
            <a:spLocks noChangeArrowheads="1"/>
          </p:cNvSpPr>
          <p:nvPr/>
        </p:nvSpPr>
        <p:spPr bwMode="auto">
          <a:xfrm>
            <a:off x="4572000" y="3148013"/>
            <a:ext cx="97631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ES" sz="900" b="1" smtClean="0">
                <a:solidFill>
                  <a:srgbClr val="008578"/>
                </a:solidFill>
                <a:latin typeface="BNPP Sans" pitchFamily="50" charset="0"/>
                <a:cs typeface="Arial" pitchFamily="34" charset="0"/>
              </a:rPr>
              <a:t>Estable Vs 2016</a:t>
            </a:r>
          </a:p>
        </p:txBody>
      </p:sp>
      <p:sp>
        <p:nvSpPr>
          <p:cNvPr id="93" name="103 CuadroTexto"/>
          <p:cNvSpPr txBox="1">
            <a:spLocks noChangeArrowheads="1"/>
          </p:cNvSpPr>
          <p:nvPr/>
        </p:nvSpPr>
        <p:spPr bwMode="auto">
          <a:xfrm>
            <a:off x="4787900" y="3906838"/>
            <a:ext cx="67151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ES" sz="1300" b="1" smtClean="0">
                <a:solidFill>
                  <a:srgbClr val="686F00"/>
                </a:solidFill>
                <a:latin typeface="BNPP Sans" pitchFamily="50" charset="0"/>
                <a:cs typeface="Arial" pitchFamily="34" charset="0"/>
              </a:rPr>
              <a:t>15,9 Bn</a:t>
            </a:r>
          </a:p>
        </p:txBody>
      </p:sp>
      <p:sp>
        <p:nvSpPr>
          <p:cNvPr id="94" name="104 CuadroTexto"/>
          <p:cNvSpPr txBox="1">
            <a:spLocks noChangeArrowheads="1"/>
          </p:cNvSpPr>
          <p:nvPr/>
        </p:nvSpPr>
        <p:spPr bwMode="auto">
          <a:xfrm>
            <a:off x="4700588" y="4105275"/>
            <a:ext cx="976312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ES" sz="900" b="1" smtClean="0">
                <a:solidFill>
                  <a:srgbClr val="686F00"/>
                </a:solidFill>
                <a:latin typeface="BNPP Sans" pitchFamily="50" charset="0"/>
                <a:cs typeface="Arial" pitchFamily="34" charset="0"/>
              </a:rPr>
              <a:t>+2,7% Vs 2016</a:t>
            </a:r>
          </a:p>
        </p:txBody>
      </p:sp>
      <p:sp>
        <p:nvSpPr>
          <p:cNvPr id="95" name="105 CuadroTexto"/>
          <p:cNvSpPr txBox="1">
            <a:spLocks noChangeArrowheads="1"/>
          </p:cNvSpPr>
          <p:nvPr/>
        </p:nvSpPr>
        <p:spPr bwMode="auto">
          <a:xfrm>
            <a:off x="7315200" y="3168650"/>
            <a:ext cx="669925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PE" sz="1300" b="1" smtClean="0">
                <a:solidFill>
                  <a:srgbClr val="00915A"/>
                </a:solidFill>
                <a:latin typeface="BNPP Sans" pitchFamily="50" charset="0"/>
                <a:cs typeface="Arial" pitchFamily="34" charset="0"/>
              </a:rPr>
              <a:t>11,7 Bn</a:t>
            </a:r>
          </a:p>
        </p:txBody>
      </p:sp>
      <p:sp>
        <p:nvSpPr>
          <p:cNvPr id="96" name="106 CuadroTexto"/>
          <p:cNvSpPr txBox="1">
            <a:spLocks noChangeArrowheads="1"/>
          </p:cNvSpPr>
          <p:nvPr/>
        </p:nvSpPr>
        <p:spPr bwMode="auto">
          <a:xfrm>
            <a:off x="7192963" y="3346450"/>
            <a:ext cx="974725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PE" sz="900" b="1" smtClean="0">
                <a:solidFill>
                  <a:srgbClr val="00915A"/>
                </a:solidFill>
                <a:latin typeface="BNPP Sans" pitchFamily="50" charset="0"/>
                <a:cs typeface="Arial" pitchFamily="34" charset="0"/>
              </a:rPr>
              <a:t>+2,1% Vs 2016</a:t>
            </a:r>
          </a:p>
        </p:txBody>
      </p:sp>
      <p:sp>
        <p:nvSpPr>
          <p:cNvPr id="97" name="166912 CuadroTexto"/>
          <p:cNvSpPr txBox="1">
            <a:spLocks noChangeArrowheads="1"/>
          </p:cNvSpPr>
          <p:nvPr/>
        </p:nvSpPr>
        <p:spPr bwMode="auto">
          <a:xfrm>
            <a:off x="4367213" y="3341688"/>
            <a:ext cx="11811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ES" sz="800" b="1" smtClean="0">
                <a:solidFill>
                  <a:srgbClr val="008578"/>
                </a:solidFill>
                <a:latin typeface="BNPP Sans" pitchFamily="50" charset="0"/>
                <a:cs typeface="Arial" pitchFamily="34" charset="0"/>
              </a:rPr>
              <a:t>Mercados domésticos</a:t>
            </a:r>
          </a:p>
        </p:txBody>
      </p:sp>
      <p:sp>
        <p:nvSpPr>
          <p:cNvPr id="98" name="109 CuadroTexto"/>
          <p:cNvSpPr txBox="1">
            <a:spLocks noChangeArrowheads="1"/>
          </p:cNvSpPr>
          <p:nvPr/>
        </p:nvSpPr>
        <p:spPr bwMode="auto">
          <a:xfrm>
            <a:off x="4489450" y="4316413"/>
            <a:ext cx="11795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ES" sz="800" b="1" smtClean="0">
                <a:solidFill>
                  <a:srgbClr val="686F00"/>
                </a:solidFill>
                <a:latin typeface="BNPP Sans" pitchFamily="50" charset="0"/>
                <a:cs typeface="Arial" pitchFamily="34" charset="0"/>
              </a:rPr>
              <a:t>Servicios Financieros Internacionales</a:t>
            </a:r>
          </a:p>
        </p:txBody>
      </p:sp>
      <p:sp>
        <p:nvSpPr>
          <p:cNvPr id="99" name="110 CuadroTexto"/>
          <p:cNvSpPr txBox="1">
            <a:spLocks noChangeArrowheads="1"/>
          </p:cNvSpPr>
          <p:nvPr/>
        </p:nvSpPr>
        <p:spPr bwMode="auto">
          <a:xfrm>
            <a:off x="7050088" y="3557588"/>
            <a:ext cx="117951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PE" sz="800" b="1" smtClean="0">
                <a:solidFill>
                  <a:srgbClr val="00915A"/>
                </a:solidFill>
                <a:latin typeface="BNPP Sans" pitchFamily="50" charset="0"/>
                <a:cs typeface="Arial" pitchFamily="34" charset="0"/>
              </a:rPr>
              <a:t>Banca Corporativa &amp; Institucional</a:t>
            </a:r>
          </a:p>
        </p:txBody>
      </p:sp>
      <p:cxnSp>
        <p:nvCxnSpPr>
          <p:cNvPr id="100" name="99 Conector recto">
            <a:extLst>
              <a:ext uri="{FF2B5EF4-FFF2-40B4-BE49-F238E27FC236}"/>
            </a:extLst>
          </p:cNvPr>
          <p:cNvCxnSpPr/>
          <p:nvPr/>
        </p:nvCxnSpPr>
        <p:spPr>
          <a:xfrm>
            <a:off x="4630738" y="2693988"/>
            <a:ext cx="327025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113 CuadroTexto"/>
          <p:cNvSpPr txBox="1">
            <a:spLocks noChangeArrowheads="1"/>
          </p:cNvSpPr>
          <p:nvPr/>
        </p:nvSpPr>
        <p:spPr bwMode="auto">
          <a:xfrm>
            <a:off x="4792663" y="2811463"/>
            <a:ext cx="330835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PE" sz="1100" b="1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Principales actividades</a:t>
            </a:r>
          </a:p>
        </p:txBody>
      </p:sp>
      <p:sp>
        <p:nvSpPr>
          <p:cNvPr id="102" name="114 CuadroTexto"/>
          <p:cNvSpPr txBox="1">
            <a:spLocks noChangeArrowheads="1"/>
          </p:cNvSpPr>
          <p:nvPr/>
        </p:nvSpPr>
        <p:spPr bwMode="auto">
          <a:xfrm>
            <a:off x="425450" y="215900"/>
            <a:ext cx="841216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ES" sz="2400" b="1" smtClean="0">
                <a:solidFill>
                  <a:srgbClr val="00915A"/>
                </a:solidFill>
                <a:latin typeface="Arial Narrow" pitchFamily="34" charset="0"/>
                <a:cs typeface="Arial" pitchFamily="34" charset="0"/>
              </a:rPr>
              <a:t>BNP PARIBAS</a:t>
            </a:r>
          </a:p>
        </p:txBody>
      </p:sp>
      <p:sp>
        <p:nvSpPr>
          <p:cNvPr id="103" name="166920 CuadroTexto"/>
          <p:cNvSpPr txBox="1">
            <a:spLocks noChangeArrowheads="1"/>
          </p:cNvSpPr>
          <p:nvPr/>
        </p:nvSpPr>
        <p:spPr bwMode="auto">
          <a:xfrm>
            <a:off x="6035675" y="3438525"/>
            <a:ext cx="5476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defTabSz="738188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s-PE" altLang="es-PE" sz="1600" b="1" smtClean="0">
                <a:solidFill>
                  <a:srgbClr val="000000"/>
                </a:solidFill>
                <a:latin typeface="BNPP Sans" pitchFamily="50" charset="0"/>
                <a:cs typeface="Arial" pitchFamily="34" charset="0"/>
              </a:rPr>
              <a:t>43.2</a:t>
            </a:r>
          </a:p>
        </p:txBody>
      </p:sp>
      <p:sp>
        <p:nvSpPr>
          <p:cNvPr id="104" name="Rectángulo 2"/>
          <p:cNvSpPr>
            <a:spLocks noChangeArrowheads="1"/>
          </p:cNvSpPr>
          <p:nvPr/>
        </p:nvSpPr>
        <p:spPr bwMode="auto">
          <a:xfrm>
            <a:off x="4110038" y="677863"/>
            <a:ext cx="45720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100" b="1" smtClean="0">
                <a:solidFill>
                  <a:srgbClr val="000000"/>
                </a:solidFill>
                <a:latin typeface="BNPPSans" pitchFamily="50" charset="0"/>
                <a:cs typeface="Arial" pitchFamily="34" charset="0"/>
              </a:rPr>
              <a:t>Sólidos resultados gracias a un modelo</a:t>
            </a:r>
          </a:p>
          <a:p>
            <a:pPr algn="ctr" defTabSz="738188" fontAlgn="base">
              <a:spcBef>
                <a:spcPct val="0"/>
              </a:spcBef>
              <a:spcAft>
                <a:spcPct val="0"/>
              </a:spcAft>
            </a:pPr>
            <a:r>
              <a:rPr lang="es-PE" altLang="es-PE" sz="1100" b="1" smtClean="0">
                <a:solidFill>
                  <a:srgbClr val="03935C"/>
                </a:solidFill>
                <a:latin typeface="BNPPSans" pitchFamily="50" charset="0"/>
                <a:cs typeface="Arial" pitchFamily="34" charset="0"/>
              </a:rPr>
              <a:t>integrado </a:t>
            </a:r>
            <a:r>
              <a:rPr lang="es-PE" altLang="es-PE" sz="1100" b="1" smtClean="0">
                <a:solidFill>
                  <a:srgbClr val="77767A"/>
                </a:solidFill>
                <a:latin typeface="BNPPSans" pitchFamily="50" charset="0"/>
                <a:cs typeface="Arial" pitchFamily="34" charset="0"/>
              </a:rPr>
              <a:t>y </a:t>
            </a:r>
            <a:r>
              <a:rPr lang="es-PE" altLang="es-PE" sz="1100" b="1" smtClean="0">
                <a:solidFill>
                  <a:srgbClr val="03935C"/>
                </a:solidFill>
                <a:latin typeface="BNPPSans" pitchFamily="50" charset="0"/>
                <a:cs typeface="Arial" pitchFamily="34" charset="0"/>
              </a:rPr>
              <a:t>diversificado</a:t>
            </a:r>
            <a:endParaRPr lang="es-PE" altLang="es-PE" sz="1100" b="1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811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4</a:t>
            </a:fld>
            <a:endParaRPr lang="en-GB" noProof="0" dirty="0"/>
          </a:p>
        </p:txBody>
      </p:sp>
      <p:sp>
        <p:nvSpPr>
          <p:cNvPr id="7" name="6 Rectángulo"/>
          <p:cNvSpPr/>
          <p:nvPr/>
        </p:nvSpPr>
        <p:spPr>
          <a:xfrm>
            <a:off x="5118490" y="1551279"/>
            <a:ext cx="2592288" cy="300390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827584" y="1551280"/>
            <a:ext cx="2592288" cy="300390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7510859" y="1981656"/>
            <a:ext cx="1224136" cy="174222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5134595" y="1981657"/>
            <a:ext cx="1016182" cy="173273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1751817" y="1981657"/>
            <a:ext cx="1452015" cy="172418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1187592" y="1981657"/>
            <a:ext cx="612100" cy="17418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3" name="12 Rectángulo"/>
          <p:cNvSpPr/>
          <p:nvPr/>
        </p:nvSpPr>
        <p:spPr>
          <a:xfrm>
            <a:off x="6934795" y="1981656"/>
            <a:ext cx="612100" cy="17422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4" name="13 Rectángulo"/>
          <p:cNvSpPr/>
          <p:nvPr/>
        </p:nvSpPr>
        <p:spPr>
          <a:xfrm>
            <a:off x="4600203" y="1981656"/>
            <a:ext cx="612100" cy="1742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pic>
        <p:nvPicPr>
          <p:cNvPr id="15" name="Picture 6" descr="Resultado de imagen para bnp paribas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620" y="2054068"/>
            <a:ext cx="690662" cy="224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 descr="Resultado de imagen para sberbank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261" y="2332336"/>
            <a:ext cx="403005" cy="288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0" descr="Imagen relacionad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24" b="40024"/>
          <a:stretch>
            <a:fillRect/>
          </a:stretch>
        </p:blipFill>
        <p:spPr bwMode="auto">
          <a:xfrm>
            <a:off x="2095780" y="2703591"/>
            <a:ext cx="821978" cy="24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Resultado de imagen para barclays logo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620" y="3122613"/>
            <a:ext cx="779317" cy="242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4" descr="Resultado de imagen para hsbc logo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780" y="3470990"/>
            <a:ext cx="604341" cy="155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 descr="https://cdn.shopify.com/s/files/1/1265/3747/t/2/assets/no-1-icon.png?110005623346711529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969" y="919704"/>
            <a:ext cx="535752" cy="537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20 Pentágono"/>
          <p:cNvSpPr/>
          <p:nvPr/>
        </p:nvSpPr>
        <p:spPr>
          <a:xfrm>
            <a:off x="4558531" y="2034872"/>
            <a:ext cx="792088" cy="307242"/>
          </a:xfrm>
          <a:prstGeom prst="homePlat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2" name="21 Pentágono"/>
          <p:cNvSpPr/>
          <p:nvPr/>
        </p:nvSpPr>
        <p:spPr>
          <a:xfrm>
            <a:off x="4555432" y="2367591"/>
            <a:ext cx="792088" cy="307242"/>
          </a:xfrm>
          <a:prstGeom prst="homePlat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3" name="22 Pentágono"/>
          <p:cNvSpPr/>
          <p:nvPr/>
        </p:nvSpPr>
        <p:spPr>
          <a:xfrm>
            <a:off x="4558531" y="2702154"/>
            <a:ext cx="792088" cy="307242"/>
          </a:xfrm>
          <a:prstGeom prst="homePlat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4" name="23 Pentágono"/>
          <p:cNvSpPr/>
          <p:nvPr/>
        </p:nvSpPr>
        <p:spPr>
          <a:xfrm>
            <a:off x="4558531" y="3025652"/>
            <a:ext cx="792088" cy="307242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5" name="24 Pentágono"/>
          <p:cNvSpPr/>
          <p:nvPr/>
        </p:nvSpPr>
        <p:spPr>
          <a:xfrm>
            <a:off x="4558531" y="3378863"/>
            <a:ext cx="792088" cy="307242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pic>
        <p:nvPicPr>
          <p:cNvPr id="26" name="Picture 4" descr="http://www.seed20.org/wp-content/uploads/2016/04/Top10-Icon-1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2675" y="932830"/>
            <a:ext cx="739775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26 CuadroTexto"/>
          <p:cNvSpPr txBox="1"/>
          <p:nvPr/>
        </p:nvSpPr>
        <p:spPr>
          <a:xfrm>
            <a:off x="5426277" y="1601402"/>
            <a:ext cx="2232248" cy="2502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b="1" dirty="0" smtClean="0">
                <a:solidFill>
                  <a:schemeClr val="bg1"/>
                </a:solidFill>
                <a:latin typeface="BNPPSans" pitchFamily="50" charset="0"/>
              </a:rPr>
              <a:t>Marcas bancarias del mundo</a:t>
            </a:r>
          </a:p>
        </p:txBody>
      </p:sp>
      <p:sp>
        <p:nvSpPr>
          <p:cNvPr id="28" name="27 Elipse"/>
          <p:cNvSpPr/>
          <p:nvPr/>
        </p:nvSpPr>
        <p:spPr>
          <a:xfrm>
            <a:off x="4342507" y="2019142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9" name="28 Elipse"/>
          <p:cNvSpPr/>
          <p:nvPr/>
        </p:nvSpPr>
        <p:spPr>
          <a:xfrm>
            <a:off x="4339408" y="2367196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0" name="29 Elipse"/>
          <p:cNvSpPr/>
          <p:nvPr/>
        </p:nvSpPr>
        <p:spPr>
          <a:xfrm>
            <a:off x="4342507" y="2705632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1" name="30 Elipse"/>
          <p:cNvSpPr/>
          <p:nvPr/>
        </p:nvSpPr>
        <p:spPr>
          <a:xfrm>
            <a:off x="4342507" y="3027261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2" name="31 Elipse"/>
          <p:cNvSpPr/>
          <p:nvPr/>
        </p:nvSpPr>
        <p:spPr>
          <a:xfrm>
            <a:off x="4342507" y="3368487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3" name="32 Pentágono"/>
          <p:cNvSpPr/>
          <p:nvPr/>
        </p:nvSpPr>
        <p:spPr>
          <a:xfrm>
            <a:off x="6934795" y="2034872"/>
            <a:ext cx="792088" cy="307242"/>
          </a:xfrm>
          <a:prstGeom prst="homePlat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4" name="33 Pentágono"/>
          <p:cNvSpPr/>
          <p:nvPr/>
        </p:nvSpPr>
        <p:spPr>
          <a:xfrm>
            <a:off x="6918690" y="2366035"/>
            <a:ext cx="792088" cy="307242"/>
          </a:xfrm>
          <a:prstGeom prst="homePlat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5" name="34 Pentágono"/>
          <p:cNvSpPr/>
          <p:nvPr/>
        </p:nvSpPr>
        <p:spPr>
          <a:xfrm>
            <a:off x="6934795" y="2702154"/>
            <a:ext cx="792088" cy="307242"/>
          </a:xfrm>
          <a:prstGeom prst="homePlat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6" name="35 Pentágono"/>
          <p:cNvSpPr/>
          <p:nvPr/>
        </p:nvSpPr>
        <p:spPr>
          <a:xfrm>
            <a:off x="6934795" y="3019777"/>
            <a:ext cx="792088" cy="307242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7" name="36 Pentágono"/>
          <p:cNvSpPr/>
          <p:nvPr/>
        </p:nvSpPr>
        <p:spPr>
          <a:xfrm>
            <a:off x="6934795" y="3360602"/>
            <a:ext cx="792088" cy="307242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8" name="37 Elipse"/>
          <p:cNvSpPr/>
          <p:nvPr/>
        </p:nvSpPr>
        <p:spPr>
          <a:xfrm>
            <a:off x="6718771" y="2019142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9" name="38 Elipse"/>
          <p:cNvSpPr/>
          <p:nvPr/>
        </p:nvSpPr>
        <p:spPr>
          <a:xfrm>
            <a:off x="6702666" y="2365640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40" name="39 Elipse"/>
          <p:cNvSpPr/>
          <p:nvPr/>
        </p:nvSpPr>
        <p:spPr>
          <a:xfrm>
            <a:off x="6718771" y="2705632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41" name="40 Elipse"/>
          <p:cNvSpPr/>
          <p:nvPr/>
        </p:nvSpPr>
        <p:spPr>
          <a:xfrm>
            <a:off x="6718771" y="3021386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42" name="41 Elipse"/>
          <p:cNvSpPr/>
          <p:nvPr/>
        </p:nvSpPr>
        <p:spPr>
          <a:xfrm>
            <a:off x="6718771" y="3350226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43" name="42 CuadroTexto"/>
          <p:cNvSpPr txBox="1"/>
          <p:nvPr/>
        </p:nvSpPr>
        <p:spPr>
          <a:xfrm>
            <a:off x="4414499" y="2117041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1</a:t>
            </a:r>
          </a:p>
        </p:txBody>
      </p:sp>
      <p:sp>
        <p:nvSpPr>
          <p:cNvPr id="44" name="43 CuadroTexto"/>
          <p:cNvSpPr txBox="1"/>
          <p:nvPr/>
        </p:nvSpPr>
        <p:spPr>
          <a:xfrm>
            <a:off x="4411400" y="2458809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2</a:t>
            </a:r>
          </a:p>
        </p:txBody>
      </p:sp>
      <p:sp>
        <p:nvSpPr>
          <p:cNvPr id="45" name="44 CuadroTexto"/>
          <p:cNvSpPr txBox="1"/>
          <p:nvPr/>
        </p:nvSpPr>
        <p:spPr>
          <a:xfrm>
            <a:off x="4414515" y="2777640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3</a:t>
            </a:r>
          </a:p>
        </p:txBody>
      </p:sp>
      <p:sp>
        <p:nvSpPr>
          <p:cNvPr id="46" name="45 CuadroTexto"/>
          <p:cNvSpPr txBox="1"/>
          <p:nvPr/>
        </p:nvSpPr>
        <p:spPr>
          <a:xfrm>
            <a:off x="4414515" y="3134202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4</a:t>
            </a:r>
          </a:p>
        </p:txBody>
      </p:sp>
      <p:sp>
        <p:nvSpPr>
          <p:cNvPr id="47" name="46 CuadroTexto"/>
          <p:cNvSpPr txBox="1"/>
          <p:nvPr/>
        </p:nvSpPr>
        <p:spPr>
          <a:xfrm>
            <a:off x="4414515" y="3440495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5</a:t>
            </a:r>
          </a:p>
        </p:txBody>
      </p:sp>
      <p:sp>
        <p:nvSpPr>
          <p:cNvPr id="48" name="47 CuadroTexto"/>
          <p:cNvSpPr txBox="1"/>
          <p:nvPr/>
        </p:nvSpPr>
        <p:spPr>
          <a:xfrm>
            <a:off x="6789556" y="2126090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6</a:t>
            </a:r>
          </a:p>
        </p:txBody>
      </p:sp>
      <p:sp>
        <p:nvSpPr>
          <p:cNvPr id="49" name="48 CuadroTexto"/>
          <p:cNvSpPr txBox="1"/>
          <p:nvPr/>
        </p:nvSpPr>
        <p:spPr>
          <a:xfrm>
            <a:off x="6774674" y="2455377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7</a:t>
            </a:r>
          </a:p>
        </p:txBody>
      </p:sp>
      <p:sp>
        <p:nvSpPr>
          <p:cNvPr id="50" name="49 CuadroTexto"/>
          <p:cNvSpPr txBox="1"/>
          <p:nvPr/>
        </p:nvSpPr>
        <p:spPr>
          <a:xfrm>
            <a:off x="6790779" y="2751749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>
                <a:latin typeface="BNPPSans" pitchFamily="50" charset="0"/>
              </a:rPr>
              <a:t>8</a:t>
            </a:r>
            <a:endParaRPr lang="es-PE" sz="1050" b="1" dirty="0" smtClean="0">
              <a:latin typeface="BNPPSans" pitchFamily="50" charset="0"/>
            </a:endParaRPr>
          </a:p>
        </p:txBody>
      </p:sp>
      <p:sp>
        <p:nvSpPr>
          <p:cNvPr id="51" name="50 CuadroTexto"/>
          <p:cNvSpPr txBox="1"/>
          <p:nvPr/>
        </p:nvSpPr>
        <p:spPr>
          <a:xfrm>
            <a:off x="6790779" y="3102436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9</a:t>
            </a:r>
          </a:p>
        </p:txBody>
      </p:sp>
      <p:sp>
        <p:nvSpPr>
          <p:cNvPr id="52" name="51 CuadroTexto"/>
          <p:cNvSpPr txBox="1"/>
          <p:nvPr/>
        </p:nvSpPr>
        <p:spPr>
          <a:xfrm>
            <a:off x="6754775" y="3429428"/>
            <a:ext cx="21599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10</a:t>
            </a:r>
          </a:p>
        </p:txBody>
      </p:sp>
      <p:sp>
        <p:nvSpPr>
          <p:cNvPr id="53" name="52 Pentágono"/>
          <p:cNvSpPr/>
          <p:nvPr/>
        </p:nvSpPr>
        <p:spPr>
          <a:xfrm>
            <a:off x="1115616" y="2048836"/>
            <a:ext cx="792088" cy="307242"/>
          </a:xfrm>
          <a:prstGeom prst="homePlat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4" name="53 Pentágono"/>
          <p:cNvSpPr/>
          <p:nvPr/>
        </p:nvSpPr>
        <p:spPr>
          <a:xfrm>
            <a:off x="1115616" y="2375812"/>
            <a:ext cx="792088" cy="307242"/>
          </a:xfrm>
          <a:prstGeom prst="homePlat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5" name="54 Pentágono"/>
          <p:cNvSpPr/>
          <p:nvPr/>
        </p:nvSpPr>
        <p:spPr>
          <a:xfrm>
            <a:off x="1115616" y="2703591"/>
            <a:ext cx="792088" cy="307242"/>
          </a:xfrm>
          <a:prstGeom prst="homePlat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6" name="55 Pentágono"/>
          <p:cNvSpPr/>
          <p:nvPr/>
        </p:nvSpPr>
        <p:spPr>
          <a:xfrm>
            <a:off x="1115616" y="3030567"/>
            <a:ext cx="792088" cy="307242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7" name="56 Pentágono"/>
          <p:cNvSpPr/>
          <p:nvPr/>
        </p:nvSpPr>
        <p:spPr>
          <a:xfrm>
            <a:off x="1115616" y="3365517"/>
            <a:ext cx="792088" cy="307242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8" name="57 Elipse"/>
          <p:cNvSpPr/>
          <p:nvPr/>
        </p:nvSpPr>
        <p:spPr>
          <a:xfrm>
            <a:off x="899592" y="2033106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9" name="58 Elipse"/>
          <p:cNvSpPr/>
          <p:nvPr/>
        </p:nvSpPr>
        <p:spPr>
          <a:xfrm>
            <a:off x="899592" y="2375417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60" name="59 Elipse"/>
          <p:cNvSpPr/>
          <p:nvPr/>
        </p:nvSpPr>
        <p:spPr>
          <a:xfrm>
            <a:off x="899592" y="2707069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61" name="60 Elipse"/>
          <p:cNvSpPr/>
          <p:nvPr/>
        </p:nvSpPr>
        <p:spPr>
          <a:xfrm>
            <a:off x="899592" y="3032176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62" name="61 Elipse"/>
          <p:cNvSpPr/>
          <p:nvPr/>
        </p:nvSpPr>
        <p:spPr>
          <a:xfrm>
            <a:off x="899592" y="3355141"/>
            <a:ext cx="288000" cy="28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63" name="62 CuadroTexto"/>
          <p:cNvSpPr txBox="1"/>
          <p:nvPr/>
        </p:nvSpPr>
        <p:spPr>
          <a:xfrm>
            <a:off x="971584" y="2131005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1</a:t>
            </a:r>
          </a:p>
        </p:txBody>
      </p:sp>
      <p:sp>
        <p:nvSpPr>
          <p:cNvPr id="64" name="63 CuadroTexto"/>
          <p:cNvSpPr txBox="1"/>
          <p:nvPr/>
        </p:nvSpPr>
        <p:spPr>
          <a:xfrm>
            <a:off x="971584" y="2467030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2</a:t>
            </a:r>
          </a:p>
        </p:txBody>
      </p:sp>
      <p:sp>
        <p:nvSpPr>
          <p:cNvPr id="65" name="64 CuadroTexto"/>
          <p:cNvSpPr txBox="1"/>
          <p:nvPr/>
        </p:nvSpPr>
        <p:spPr>
          <a:xfrm>
            <a:off x="971600" y="2779077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3</a:t>
            </a:r>
          </a:p>
        </p:txBody>
      </p:sp>
      <p:sp>
        <p:nvSpPr>
          <p:cNvPr id="66" name="65 CuadroTexto"/>
          <p:cNvSpPr txBox="1"/>
          <p:nvPr/>
        </p:nvSpPr>
        <p:spPr>
          <a:xfrm>
            <a:off x="971600" y="3139117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4</a:t>
            </a:r>
          </a:p>
        </p:txBody>
      </p:sp>
      <p:sp>
        <p:nvSpPr>
          <p:cNvPr id="67" name="66 CuadroTexto"/>
          <p:cNvSpPr txBox="1"/>
          <p:nvPr/>
        </p:nvSpPr>
        <p:spPr>
          <a:xfrm>
            <a:off x="971600" y="3427149"/>
            <a:ext cx="14401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PE" sz="1050" b="1" dirty="0" smtClean="0">
                <a:latin typeface="BNPPSans" pitchFamily="50" charset="0"/>
              </a:rPr>
              <a:t>5</a:t>
            </a:r>
          </a:p>
        </p:txBody>
      </p:sp>
      <p:pic>
        <p:nvPicPr>
          <p:cNvPr id="68" name="Picture 18" descr="Resultado de imagen para wells fargo logo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635" y="2000335"/>
            <a:ext cx="352017" cy="350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20" descr="Resultado de imagen para chase logo 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6277" y="2528240"/>
            <a:ext cx="582495" cy="108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14" descr="Resultado de imagen para hsbc logo 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913" y="2811588"/>
            <a:ext cx="570958" cy="14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22" descr="Resultado de imagen para bank of america logo 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913" y="3103581"/>
            <a:ext cx="691946" cy="190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24" descr="Resultado de imagen para citi logo 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49" t="33243" r="11223" b="13229"/>
          <a:stretch>
            <a:fillRect/>
          </a:stretch>
        </p:blipFill>
        <p:spPr bwMode="auto">
          <a:xfrm>
            <a:off x="5494635" y="3430140"/>
            <a:ext cx="360938" cy="272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10" descr="Imagen relacionada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24" b="40024"/>
          <a:stretch>
            <a:fillRect/>
          </a:stretch>
        </p:blipFill>
        <p:spPr bwMode="auto">
          <a:xfrm>
            <a:off x="7726883" y="2005741"/>
            <a:ext cx="665807" cy="236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26" descr="Resultado de imagen para icbc logo 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8087" y="2418284"/>
            <a:ext cx="600277" cy="202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28" descr="Resultado de imagen para american express logo 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253" y="2743138"/>
            <a:ext cx="332157" cy="269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6" descr="Resultado de imagen para bnp paribas icon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514" y="3083226"/>
            <a:ext cx="719037" cy="26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30" descr="Resultado de imagen para taiwan cooperative bank logo 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20" b="30557"/>
          <a:stretch>
            <a:fillRect/>
          </a:stretch>
        </p:blipFill>
        <p:spPr bwMode="auto">
          <a:xfrm>
            <a:off x="7776107" y="3437656"/>
            <a:ext cx="769790" cy="174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77 CuadroTexto"/>
          <p:cNvSpPr txBox="1"/>
          <p:nvPr/>
        </p:nvSpPr>
        <p:spPr>
          <a:xfrm>
            <a:off x="1043608" y="1599349"/>
            <a:ext cx="2160240" cy="204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b="1" dirty="0" smtClean="0">
                <a:solidFill>
                  <a:schemeClr val="bg1"/>
                </a:solidFill>
                <a:latin typeface="BNPPSans" pitchFamily="50" charset="0"/>
              </a:rPr>
              <a:t>Marcas bancarias en Europa</a:t>
            </a:r>
          </a:p>
        </p:txBody>
      </p:sp>
      <p:sp>
        <p:nvSpPr>
          <p:cNvPr id="79" name="78 Triángulo isósceles"/>
          <p:cNvSpPr/>
          <p:nvPr/>
        </p:nvSpPr>
        <p:spPr>
          <a:xfrm rot="5400000" flipV="1">
            <a:off x="2952584" y="2124548"/>
            <a:ext cx="390392" cy="112136"/>
          </a:xfrm>
          <a:prstGeom prst="triangl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80" name="79 Triángulo isósceles"/>
          <p:cNvSpPr/>
          <p:nvPr/>
        </p:nvSpPr>
        <p:spPr>
          <a:xfrm rot="5400000" flipV="1">
            <a:off x="8483731" y="3113786"/>
            <a:ext cx="390392" cy="112136"/>
          </a:xfrm>
          <a:prstGeom prst="triangl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81" name="Título 2"/>
          <p:cNvSpPr>
            <a:spLocks noGrp="1"/>
          </p:cNvSpPr>
          <p:nvPr>
            <p:ph type="title"/>
          </p:nvPr>
        </p:nvSpPr>
        <p:spPr>
          <a:xfrm>
            <a:off x="342900" y="140742"/>
            <a:ext cx="8459788" cy="558800"/>
          </a:xfrm>
        </p:spPr>
        <p:txBody>
          <a:bodyPr>
            <a:normAutofit fontScale="90000"/>
          </a:bodyPr>
          <a:lstStyle/>
          <a:p>
            <a:r>
              <a:rPr lang="es-PE" altLang="es-PE" dirty="0" smtClean="0">
                <a:latin typeface="BNPP Sans" pitchFamily="50" charset="0"/>
              </a:rPr>
              <a:t>BNP PARIBAS: Una marca valiosa de renombre mundial</a:t>
            </a:r>
          </a:p>
        </p:txBody>
      </p:sp>
    </p:spTree>
    <p:extLst>
      <p:ext uri="{BB962C8B-B14F-4D97-AF65-F5344CB8AC3E}">
        <p14:creationId xmlns:p14="http://schemas.microsoft.com/office/powerpoint/2010/main" val="3149203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5</a:t>
            </a:fld>
            <a:endParaRPr lang="en-GB" noProof="0" dirty="0"/>
          </a:p>
        </p:txBody>
      </p:sp>
      <p:sp>
        <p:nvSpPr>
          <p:cNvPr id="6" name="Rectangle 19"/>
          <p:cNvSpPr/>
          <p:nvPr/>
        </p:nvSpPr>
        <p:spPr>
          <a:xfrm>
            <a:off x="251139" y="1221306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1. BNP PARIBAS</a:t>
            </a:r>
          </a:p>
        </p:txBody>
      </p:sp>
      <p:sp>
        <p:nvSpPr>
          <p:cNvPr id="7" name="Rectangle 19"/>
          <p:cNvSpPr/>
          <p:nvPr/>
        </p:nvSpPr>
        <p:spPr>
          <a:xfrm>
            <a:off x="250473" y="1851670"/>
            <a:ext cx="4681537" cy="320675"/>
          </a:xfrm>
          <a:prstGeom prst="rect">
            <a:avLst/>
          </a:prstGeom>
          <a:solidFill>
            <a:srgbClr val="00915A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2. BNP PARIBAS CARDIF SEGUROS EN EL MUNDO</a:t>
            </a:r>
            <a:endParaRPr lang="en-US" sz="1400" b="1" kern="0" dirty="0">
              <a:solidFill>
                <a:srgbClr val="000000"/>
              </a:solidFill>
              <a:latin typeface="BNPP Sans" pitchFamily="50" charset="0"/>
              <a:cs typeface="BNPP Sans Light"/>
            </a:endParaRPr>
          </a:p>
        </p:txBody>
      </p:sp>
      <p:sp>
        <p:nvSpPr>
          <p:cNvPr id="8" name="Rectangle 19"/>
          <p:cNvSpPr/>
          <p:nvPr/>
        </p:nvSpPr>
        <p:spPr>
          <a:xfrm>
            <a:off x="251139" y="2427734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/>
          <a:p>
            <a:pPr marL="10284" defTabSz="739196" eaLnBrk="0" hangingPunct="0">
              <a:buClr>
                <a:srgbClr val="008851"/>
              </a:buClr>
              <a:tabLst>
                <a:tab pos="256597" algn="l"/>
              </a:tabLst>
              <a:defRPr/>
            </a:pPr>
            <a:r>
              <a:rPr lang="en-US" sz="1400" b="1" kern="0" spc="36" dirty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3. </a:t>
            </a:r>
            <a:r>
              <a:rPr lang="en-US" sz="1400" b="1" kern="0" spc="36" dirty="0" smtClean="0">
                <a:solidFill>
                  <a:srgbClr val="000000"/>
                </a:solidFill>
                <a:latin typeface="BNPP Sans" pitchFamily="50" charset="0"/>
                <a:cs typeface="BNPP Sans Light"/>
              </a:rPr>
              <a:t>CARDIF EN LATINOAMÉRICA</a:t>
            </a:r>
            <a:endParaRPr lang="en-US" sz="1400" b="1" kern="0" spc="36" dirty="0">
              <a:solidFill>
                <a:srgbClr val="000000"/>
              </a:solidFill>
              <a:latin typeface="BNPP Sans" pitchFamily="50" charset="0"/>
              <a:cs typeface="BNPP Sans Light"/>
            </a:endParaRPr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81" t="19255" r="30984" b="10156"/>
          <a:stretch>
            <a:fillRect/>
          </a:stretch>
        </p:blipFill>
        <p:spPr bwMode="auto">
          <a:xfrm>
            <a:off x="5724525" y="764540"/>
            <a:ext cx="2490788" cy="328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9"/>
          <p:cNvSpPr/>
          <p:nvPr/>
        </p:nvSpPr>
        <p:spPr>
          <a:xfrm>
            <a:off x="251520" y="3003798"/>
            <a:ext cx="4680520" cy="320407"/>
          </a:xfrm>
          <a:prstGeom prst="rect">
            <a:avLst/>
          </a:prstGeom>
          <a:gradFill flip="none" rotWithShape="1">
            <a:gsLst>
              <a:gs pos="100000">
                <a:schemeClr val="bg1">
                  <a:shade val="67500"/>
                  <a:satMod val="115000"/>
                  <a:lumMod val="84000"/>
                </a:schemeClr>
              </a:gs>
              <a:gs pos="16000">
                <a:schemeClr val="bg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48" tIns="72882" rIns="74048" bIns="72882" anchor="ctr"/>
          <a:lstStyle>
            <a:lvl1pPr marL="9525"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eaLnBrk="0" hangingPunct="0"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9351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3923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8495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306763" indent="1588" defTabSz="738188" eaLnBrk="0" fontAlgn="base" hangingPunct="0">
              <a:spcBef>
                <a:spcPct val="0"/>
              </a:spcBef>
              <a:spcAft>
                <a:spcPct val="0"/>
              </a:spcAft>
              <a:tabLst>
                <a:tab pos="255588" algn="l"/>
              </a:tabLst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Clr>
                <a:srgbClr val="008851"/>
              </a:buClr>
              <a:defRPr/>
            </a:pPr>
            <a:r>
              <a:rPr lang="en-US" altLang="es-PE" sz="1400" b="1" dirty="0">
                <a:solidFill>
                  <a:srgbClr val="000000"/>
                </a:solidFill>
                <a:latin typeface="BNPP Sans" pitchFamily="50" charset="0"/>
              </a:rPr>
              <a:t>4</a:t>
            </a:r>
            <a:r>
              <a:rPr lang="en-US" altLang="es-PE" sz="1400" b="1" dirty="0" smtClean="0">
                <a:solidFill>
                  <a:srgbClr val="000000"/>
                </a:solidFill>
                <a:latin typeface="BNPP Sans" pitchFamily="50" charset="0"/>
              </a:rPr>
              <a:t>. NEGOCIO FALABELLA - CARDIF</a:t>
            </a:r>
            <a:endParaRPr lang="en-US" altLang="es-PE" sz="1400" b="1" dirty="0">
              <a:solidFill>
                <a:srgbClr val="000000"/>
              </a:solidFill>
              <a:latin typeface="BNPP Sans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907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6</a:t>
            </a:fld>
            <a:endParaRPr lang="en-GB" noProof="0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9" t="21352" r="1939" b="15405"/>
          <a:stretch>
            <a:fillRect/>
          </a:stretch>
        </p:blipFill>
        <p:spPr bwMode="auto">
          <a:xfrm>
            <a:off x="854075" y="1138238"/>
            <a:ext cx="7497763" cy="322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7 CuadroTexto">
            <a:extLst>
              <a:ext uri="{FF2B5EF4-FFF2-40B4-BE49-F238E27FC236}"/>
            </a:extLst>
          </p:cNvPr>
          <p:cNvSpPr txBox="1"/>
          <p:nvPr/>
        </p:nvSpPr>
        <p:spPr>
          <a:xfrm>
            <a:off x="425450" y="215900"/>
            <a:ext cx="8412163" cy="2428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2400" b="1" dirty="0">
                <a:solidFill>
                  <a:schemeClr val="accent1"/>
                </a:solidFill>
                <a:latin typeface="BNPP Sans" pitchFamily="50" charset="0"/>
                <a:ea typeface="+mj-ea"/>
                <a:cs typeface="+mj-cs"/>
              </a:rPr>
              <a:t>BNP PARIBAS </a:t>
            </a:r>
            <a:r>
              <a:rPr lang="es-PE" sz="2400" b="1" dirty="0" err="1">
                <a:solidFill>
                  <a:schemeClr val="accent1"/>
                </a:solidFill>
                <a:latin typeface="BNPP Sans" pitchFamily="50" charset="0"/>
                <a:ea typeface="+mj-ea"/>
                <a:cs typeface="+mj-cs"/>
              </a:rPr>
              <a:t>Cardif</a:t>
            </a:r>
            <a:r>
              <a:rPr lang="es-PE" sz="2400" b="1" dirty="0">
                <a:solidFill>
                  <a:schemeClr val="accent1"/>
                </a:solidFill>
                <a:latin typeface="BNPP Sans" pitchFamily="50" charset="0"/>
                <a:ea typeface="+mj-ea"/>
                <a:cs typeface="+mj-cs"/>
              </a:rPr>
              <a:t> en el mundo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7381010" y="4639809"/>
            <a:ext cx="1440160" cy="720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800" dirty="0" smtClean="0">
                <a:latin typeface="BNPP Sans" pitchFamily="50" charset="0"/>
              </a:rPr>
              <a:t>*Valores expresados en Euros</a:t>
            </a:r>
          </a:p>
        </p:txBody>
      </p:sp>
    </p:spTree>
    <p:extLst>
      <p:ext uri="{BB962C8B-B14F-4D97-AF65-F5344CB8AC3E}">
        <p14:creationId xmlns:p14="http://schemas.microsoft.com/office/powerpoint/2010/main" val="106106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7</a:t>
            </a:fld>
            <a:endParaRPr lang="en-GB" noProof="0" dirty="0"/>
          </a:p>
        </p:txBody>
      </p:sp>
      <p:grpSp>
        <p:nvGrpSpPr>
          <p:cNvPr id="7" name="Group 10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95354" y="1180645"/>
            <a:ext cx="7905061" cy="3243668"/>
            <a:chOff x="444" y="751"/>
            <a:chExt cx="5703" cy="3269"/>
          </a:xfrm>
          <a:solidFill>
            <a:srgbClr val="339966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8" name="Freeform 1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749" y="2168"/>
              <a:ext cx="1239" cy="1364"/>
            </a:xfrm>
            <a:custGeom>
              <a:avLst/>
              <a:gdLst>
                <a:gd name="T0" fmla="*/ 855 w 20000"/>
                <a:gd name="T1" fmla="*/ 118 h 20000"/>
                <a:gd name="T2" fmla="*/ 896 w 20000"/>
                <a:gd name="T3" fmla="*/ 125 h 20000"/>
                <a:gd name="T4" fmla="*/ 927 w 20000"/>
                <a:gd name="T5" fmla="*/ 159 h 20000"/>
                <a:gd name="T6" fmla="*/ 893 w 20000"/>
                <a:gd name="T7" fmla="*/ 162 h 20000"/>
                <a:gd name="T8" fmla="*/ 913 w 20000"/>
                <a:gd name="T9" fmla="*/ 210 h 20000"/>
                <a:gd name="T10" fmla="*/ 961 w 20000"/>
                <a:gd name="T11" fmla="*/ 297 h 20000"/>
                <a:gd name="T12" fmla="*/ 1001 w 20000"/>
                <a:gd name="T13" fmla="*/ 375 h 20000"/>
                <a:gd name="T14" fmla="*/ 1035 w 20000"/>
                <a:gd name="T15" fmla="*/ 436 h 20000"/>
                <a:gd name="T16" fmla="*/ 1089 w 20000"/>
                <a:gd name="T17" fmla="*/ 477 h 20000"/>
                <a:gd name="T18" fmla="*/ 1116 w 20000"/>
                <a:gd name="T19" fmla="*/ 520 h 20000"/>
                <a:gd name="T20" fmla="*/ 1215 w 20000"/>
                <a:gd name="T21" fmla="*/ 500 h 20000"/>
                <a:gd name="T22" fmla="*/ 1232 w 20000"/>
                <a:gd name="T23" fmla="*/ 520 h 20000"/>
                <a:gd name="T24" fmla="*/ 1178 w 20000"/>
                <a:gd name="T25" fmla="*/ 629 h 20000"/>
                <a:gd name="T26" fmla="*/ 1053 w 20000"/>
                <a:gd name="T27" fmla="*/ 750 h 20000"/>
                <a:gd name="T28" fmla="*/ 1015 w 20000"/>
                <a:gd name="T29" fmla="*/ 822 h 20000"/>
                <a:gd name="T30" fmla="*/ 1022 w 20000"/>
                <a:gd name="T31" fmla="*/ 863 h 20000"/>
                <a:gd name="T32" fmla="*/ 1039 w 20000"/>
                <a:gd name="T33" fmla="*/ 917 h 20000"/>
                <a:gd name="T34" fmla="*/ 1046 w 20000"/>
                <a:gd name="T35" fmla="*/ 974 h 20000"/>
                <a:gd name="T36" fmla="*/ 1022 w 20000"/>
                <a:gd name="T37" fmla="*/ 1011 h 20000"/>
                <a:gd name="T38" fmla="*/ 961 w 20000"/>
                <a:gd name="T39" fmla="*/ 1051 h 20000"/>
                <a:gd name="T40" fmla="*/ 940 w 20000"/>
                <a:gd name="T41" fmla="*/ 1116 h 20000"/>
                <a:gd name="T42" fmla="*/ 933 w 20000"/>
                <a:gd name="T43" fmla="*/ 1163 h 20000"/>
                <a:gd name="T44" fmla="*/ 893 w 20000"/>
                <a:gd name="T45" fmla="*/ 1193 h 20000"/>
                <a:gd name="T46" fmla="*/ 842 w 20000"/>
                <a:gd name="T47" fmla="*/ 1288 h 20000"/>
                <a:gd name="T48" fmla="*/ 743 w 20000"/>
                <a:gd name="T49" fmla="*/ 1349 h 20000"/>
                <a:gd name="T50" fmla="*/ 662 w 20000"/>
                <a:gd name="T51" fmla="*/ 1356 h 20000"/>
                <a:gd name="T52" fmla="*/ 631 w 20000"/>
                <a:gd name="T53" fmla="*/ 1349 h 20000"/>
                <a:gd name="T54" fmla="*/ 628 w 20000"/>
                <a:gd name="T55" fmla="*/ 1299 h 20000"/>
                <a:gd name="T56" fmla="*/ 577 w 20000"/>
                <a:gd name="T57" fmla="*/ 1193 h 20000"/>
                <a:gd name="T58" fmla="*/ 547 w 20000"/>
                <a:gd name="T59" fmla="*/ 1078 h 20000"/>
                <a:gd name="T60" fmla="*/ 526 w 20000"/>
                <a:gd name="T61" fmla="*/ 994 h 20000"/>
                <a:gd name="T62" fmla="*/ 560 w 20000"/>
                <a:gd name="T63" fmla="*/ 913 h 20000"/>
                <a:gd name="T64" fmla="*/ 543 w 20000"/>
                <a:gd name="T65" fmla="*/ 815 h 20000"/>
                <a:gd name="T66" fmla="*/ 526 w 20000"/>
                <a:gd name="T67" fmla="*/ 791 h 20000"/>
                <a:gd name="T68" fmla="*/ 482 w 20000"/>
                <a:gd name="T69" fmla="*/ 741 h 20000"/>
                <a:gd name="T70" fmla="*/ 472 w 20000"/>
                <a:gd name="T71" fmla="*/ 717 h 20000"/>
                <a:gd name="T72" fmla="*/ 486 w 20000"/>
                <a:gd name="T73" fmla="*/ 693 h 20000"/>
                <a:gd name="T74" fmla="*/ 482 w 20000"/>
                <a:gd name="T75" fmla="*/ 632 h 20000"/>
                <a:gd name="T76" fmla="*/ 448 w 20000"/>
                <a:gd name="T77" fmla="*/ 625 h 20000"/>
                <a:gd name="T78" fmla="*/ 410 w 20000"/>
                <a:gd name="T79" fmla="*/ 605 h 20000"/>
                <a:gd name="T80" fmla="*/ 340 w 20000"/>
                <a:gd name="T81" fmla="*/ 592 h 20000"/>
                <a:gd name="T82" fmla="*/ 261 w 20000"/>
                <a:gd name="T83" fmla="*/ 615 h 20000"/>
                <a:gd name="T84" fmla="*/ 196 w 20000"/>
                <a:gd name="T85" fmla="*/ 615 h 20000"/>
                <a:gd name="T86" fmla="*/ 77 w 20000"/>
                <a:gd name="T87" fmla="*/ 561 h 20000"/>
                <a:gd name="T88" fmla="*/ 47 w 20000"/>
                <a:gd name="T89" fmla="*/ 511 h 20000"/>
                <a:gd name="T90" fmla="*/ 23 w 20000"/>
                <a:gd name="T91" fmla="*/ 486 h 20000"/>
                <a:gd name="T92" fmla="*/ 10 w 20000"/>
                <a:gd name="T93" fmla="*/ 459 h 20000"/>
                <a:gd name="T94" fmla="*/ 3 w 20000"/>
                <a:gd name="T95" fmla="*/ 429 h 20000"/>
                <a:gd name="T96" fmla="*/ 20 w 20000"/>
                <a:gd name="T97" fmla="*/ 348 h 20000"/>
                <a:gd name="T98" fmla="*/ 16 w 20000"/>
                <a:gd name="T99" fmla="*/ 294 h 20000"/>
                <a:gd name="T100" fmla="*/ 54 w 20000"/>
                <a:gd name="T101" fmla="*/ 223 h 20000"/>
                <a:gd name="T102" fmla="*/ 139 w 20000"/>
                <a:gd name="T103" fmla="*/ 135 h 20000"/>
                <a:gd name="T104" fmla="*/ 200 w 20000"/>
                <a:gd name="T105" fmla="*/ 50 h 20000"/>
                <a:gd name="T106" fmla="*/ 264 w 20000"/>
                <a:gd name="T107" fmla="*/ 47 h 20000"/>
                <a:gd name="T108" fmla="*/ 322 w 20000"/>
                <a:gd name="T109" fmla="*/ 23 h 20000"/>
                <a:gd name="T110" fmla="*/ 407 w 20000"/>
                <a:gd name="T111" fmla="*/ 16 h 20000"/>
                <a:gd name="T112" fmla="*/ 465 w 20000"/>
                <a:gd name="T113" fmla="*/ 10 h 20000"/>
                <a:gd name="T114" fmla="*/ 499 w 20000"/>
                <a:gd name="T115" fmla="*/ 16 h 20000"/>
                <a:gd name="T116" fmla="*/ 499 w 20000"/>
                <a:gd name="T117" fmla="*/ 74 h 20000"/>
                <a:gd name="T118" fmla="*/ 563 w 20000"/>
                <a:gd name="T119" fmla="*/ 98 h 20000"/>
                <a:gd name="T120" fmla="*/ 662 w 20000"/>
                <a:gd name="T121" fmla="*/ 108 h 20000"/>
                <a:gd name="T122" fmla="*/ 716 w 20000"/>
                <a:gd name="T123" fmla="*/ 102 h 200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0000" h="20000">
                  <a:moveTo>
                    <a:pt x="12354" y="1731"/>
                  </a:moveTo>
                  <a:lnTo>
                    <a:pt x="12574" y="1731"/>
                  </a:lnTo>
                  <a:lnTo>
                    <a:pt x="13292" y="1890"/>
                  </a:lnTo>
                  <a:lnTo>
                    <a:pt x="13681" y="1831"/>
                  </a:lnTo>
                  <a:lnTo>
                    <a:pt x="13681" y="1731"/>
                  </a:lnTo>
                  <a:lnTo>
                    <a:pt x="13791" y="1790"/>
                  </a:lnTo>
                  <a:lnTo>
                    <a:pt x="13836" y="1731"/>
                  </a:lnTo>
                  <a:lnTo>
                    <a:pt x="14056" y="1790"/>
                  </a:lnTo>
                  <a:lnTo>
                    <a:pt x="14166" y="1890"/>
                  </a:lnTo>
                  <a:lnTo>
                    <a:pt x="14166" y="1790"/>
                  </a:lnTo>
                  <a:lnTo>
                    <a:pt x="14231" y="1790"/>
                  </a:lnTo>
                  <a:lnTo>
                    <a:pt x="14276" y="1831"/>
                  </a:lnTo>
                  <a:lnTo>
                    <a:pt x="14497" y="1831"/>
                  </a:lnTo>
                  <a:lnTo>
                    <a:pt x="14775" y="1790"/>
                  </a:lnTo>
                  <a:lnTo>
                    <a:pt x="14827" y="1631"/>
                  </a:lnTo>
                  <a:lnTo>
                    <a:pt x="14885" y="1731"/>
                  </a:lnTo>
                  <a:lnTo>
                    <a:pt x="14827" y="1831"/>
                  </a:lnTo>
                  <a:lnTo>
                    <a:pt x="14937" y="1984"/>
                  </a:lnTo>
                  <a:lnTo>
                    <a:pt x="14995" y="2130"/>
                  </a:lnTo>
                  <a:lnTo>
                    <a:pt x="14995" y="2330"/>
                  </a:lnTo>
                  <a:lnTo>
                    <a:pt x="14937" y="2330"/>
                  </a:lnTo>
                  <a:lnTo>
                    <a:pt x="14937" y="2424"/>
                  </a:lnTo>
                  <a:lnTo>
                    <a:pt x="14885" y="2682"/>
                  </a:lnTo>
                  <a:lnTo>
                    <a:pt x="14827" y="2782"/>
                  </a:lnTo>
                  <a:lnTo>
                    <a:pt x="14561" y="2582"/>
                  </a:lnTo>
                  <a:lnTo>
                    <a:pt x="14497" y="2424"/>
                  </a:lnTo>
                  <a:lnTo>
                    <a:pt x="14451" y="2383"/>
                  </a:lnTo>
                  <a:lnTo>
                    <a:pt x="14341" y="2230"/>
                  </a:lnTo>
                  <a:lnTo>
                    <a:pt x="14276" y="2230"/>
                  </a:lnTo>
                  <a:lnTo>
                    <a:pt x="14276" y="2283"/>
                  </a:lnTo>
                  <a:lnTo>
                    <a:pt x="14341" y="2383"/>
                  </a:lnTo>
                  <a:lnTo>
                    <a:pt x="14607" y="2723"/>
                  </a:lnTo>
                  <a:lnTo>
                    <a:pt x="14607" y="2823"/>
                  </a:lnTo>
                  <a:lnTo>
                    <a:pt x="14775" y="3081"/>
                  </a:lnTo>
                  <a:lnTo>
                    <a:pt x="14937" y="3322"/>
                  </a:lnTo>
                  <a:lnTo>
                    <a:pt x="15261" y="3862"/>
                  </a:lnTo>
                  <a:lnTo>
                    <a:pt x="15325" y="3914"/>
                  </a:lnTo>
                  <a:lnTo>
                    <a:pt x="15261" y="3914"/>
                  </a:lnTo>
                  <a:lnTo>
                    <a:pt x="15371" y="4214"/>
                  </a:lnTo>
                  <a:lnTo>
                    <a:pt x="15481" y="4255"/>
                  </a:lnTo>
                  <a:lnTo>
                    <a:pt x="15545" y="4354"/>
                  </a:lnTo>
                  <a:lnTo>
                    <a:pt x="15656" y="4454"/>
                  </a:lnTo>
                  <a:lnTo>
                    <a:pt x="15701" y="4613"/>
                  </a:lnTo>
                  <a:lnTo>
                    <a:pt x="15824" y="4712"/>
                  </a:lnTo>
                  <a:lnTo>
                    <a:pt x="15766" y="4712"/>
                  </a:lnTo>
                  <a:lnTo>
                    <a:pt x="15934" y="5305"/>
                  </a:lnTo>
                  <a:lnTo>
                    <a:pt x="16044" y="5405"/>
                  </a:lnTo>
                  <a:lnTo>
                    <a:pt x="16199" y="5505"/>
                  </a:lnTo>
                  <a:lnTo>
                    <a:pt x="16264" y="5546"/>
                  </a:lnTo>
                  <a:lnTo>
                    <a:pt x="16374" y="5845"/>
                  </a:lnTo>
                  <a:lnTo>
                    <a:pt x="16484" y="6144"/>
                  </a:lnTo>
                  <a:lnTo>
                    <a:pt x="16594" y="6344"/>
                  </a:lnTo>
                  <a:lnTo>
                    <a:pt x="16640" y="6344"/>
                  </a:lnTo>
                  <a:lnTo>
                    <a:pt x="16640" y="6244"/>
                  </a:lnTo>
                  <a:lnTo>
                    <a:pt x="16750" y="6397"/>
                  </a:lnTo>
                  <a:lnTo>
                    <a:pt x="16815" y="6397"/>
                  </a:lnTo>
                  <a:lnTo>
                    <a:pt x="16970" y="6444"/>
                  </a:lnTo>
                  <a:lnTo>
                    <a:pt x="17190" y="6637"/>
                  </a:lnTo>
                  <a:lnTo>
                    <a:pt x="17358" y="6837"/>
                  </a:lnTo>
                  <a:lnTo>
                    <a:pt x="17520" y="6937"/>
                  </a:lnTo>
                  <a:lnTo>
                    <a:pt x="17579" y="6937"/>
                  </a:lnTo>
                  <a:lnTo>
                    <a:pt x="17624" y="6995"/>
                  </a:lnTo>
                  <a:lnTo>
                    <a:pt x="17689" y="7195"/>
                  </a:lnTo>
                  <a:lnTo>
                    <a:pt x="17468" y="7295"/>
                  </a:lnTo>
                  <a:lnTo>
                    <a:pt x="17468" y="7336"/>
                  </a:lnTo>
                  <a:lnTo>
                    <a:pt x="17624" y="7295"/>
                  </a:lnTo>
                  <a:lnTo>
                    <a:pt x="17689" y="7336"/>
                  </a:lnTo>
                  <a:lnTo>
                    <a:pt x="17909" y="7588"/>
                  </a:lnTo>
                  <a:lnTo>
                    <a:pt x="18064" y="7635"/>
                  </a:lnTo>
                  <a:lnTo>
                    <a:pt x="18394" y="7494"/>
                  </a:lnTo>
                  <a:lnTo>
                    <a:pt x="18627" y="7535"/>
                  </a:lnTo>
                  <a:lnTo>
                    <a:pt x="18893" y="7435"/>
                  </a:lnTo>
                  <a:lnTo>
                    <a:pt x="19003" y="7435"/>
                  </a:lnTo>
                  <a:lnTo>
                    <a:pt x="19288" y="7394"/>
                  </a:lnTo>
                  <a:lnTo>
                    <a:pt x="19443" y="7394"/>
                  </a:lnTo>
                  <a:lnTo>
                    <a:pt x="19663" y="7336"/>
                  </a:lnTo>
                  <a:lnTo>
                    <a:pt x="19773" y="7295"/>
                  </a:lnTo>
                  <a:lnTo>
                    <a:pt x="19832" y="7195"/>
                  </a:lnTo>
                  <a:lnTo>
                    <a:pt x="19994" y="7236"/>
                  </a:lnTo>
                  <a:lnTo>
                    <a:pt x="19942" y="7394"/>
                  </a:lnTo>
                  <a:lnTo>
                    <a:pt x="19942" y="7435"/>
                  </a:lnTo>
                  <a:lnTo>
                    <a:pt x="19942" y="7635"/>
                  </a:lnTo>
                  <a:lnTo>
                    <a:pt x="19883" y="7887"/>
                  </a:lnTo>
                  <a:lnTo>
                    <a:pt x="19663" y="8187"/>
                  </a:lnTo>
                  <a:lnTo>
                    <a:pt x="19618" y="8286"/>
                  </a:lnTo>
                  <a:lnTo>
                    <a:pt x="19618" y="8386"/>
                  </a:lnTo>
                  <a:lnTo>
                    <a:pt x="19398" y="8685"/>
                  </a:lnTo>
                  <a:lnTo>
                    <a:pt x="19398" y="8785"/>
                  </a:lnTo>
                  <a:lnTo>
                    <a:pt x="19068" y="9225"/>
                  </a:lnTo>
                  <a:lnTo>
                    <a:pt x="18569" y="9677"/>
                  </a:lnTo>
                  <a:lnTo>
                    <a:pt x="18239" y="9918"/>
                  </a:lnTo>
                  <a:lnTo>
                    <a:pt x="17689" y="10317"/>
                  </a:lnTo>
                  <a:lnTo>
                    <a:pt x="17248" y="10769"/>
                  </a:lnTo>
                  <a:lnTo>
                    <a:pt x="17190" y="10869"/>
                  </a:lnTo>
                  <a:lnTo>
                    <a:pt x="17035" y="10968"/>
                  </a:lnTo>
                  <a:lnTo>
                    <a:pt x="17035" y="11009"/>
                  </a:lnTo>
                  <a:lnTo>
                    <a:pt x="16925" y="11068"/>
                  </a:lnTo>
                  <a:lnTo>
                    <a:pt x="16815" y="11109"/>
                  </a:lnTo>
                  <a:lnTo>
                    <a:pt x="16750" y="11268"/>
                  </a:lnTo>
                  <a:lnTo>
                    <a:pt x="16640" y="11508"/>
                  </a:lnTo>
                  <a:lnTo>
                    <a:pt x="16530" y="11661"/>
                  </a:lnTo>
                  <a:lnTo>
                    <a:pt x="16420" y="11860"/>
                  </a:lnTo>
                  <a:lnTo>
                    <a:pt x="16420" y="12060"/>
                  </a:lnTo>
                  <a:lnTo>
                    <a:pt x="16484" y="12160"/>
                  </a:lnTo>
                  <a:lnTo>
                    <a:pt x="16530" y="12201"/>
                  </a:lnTo>
                  <a:lnTo>
                    <a:pt x="16594" y="12259"/>
                  </a:lnTo>
                  <a:lnTo>
                    <a:pt x="16594" y="12300"/>
                  </a:lnTo>
                  <a:lnTo>
                    <a:pt x="16530" y="12359"/>
                  </a:lnTo>
                  <a:lnTo>
                    <a:pt x="16594" y="12500"/>
                  </a:lnTo>
                  <a:lnTo>
                    <a:pt x="16530" y="12658"/>
                  </a:lnTo>
                  <a:lnTo>
                    <a:pt x="16594" y="12852"/>
                  </a:lnTo>
                  <a:lnTo>
                    <a:pt x="16640" y="13052"/>
                  </a:lnTo>
                  <a:lnTo>
                    <a:pt x="16750" y="13099"/>
                  </a:lnTo>
                  <a:lnTo>
                    <a:pt x="16815" y="13151"/>
                  </a:lnTo>
                  <a:lnTo>
                    <a:pt x="16815" y="13192"/>
                  </a:lnTo>
                  <a:lnTo>
                    <a:pt x="16860" y="13292"/>
                  </a:lnTo>
                  <a:lnTo>
                    <a:pt x="16815" y="13451"/>
                  </a:lnTo>
                  <a:lnTo>
                    <a:pt x="16815" y="13592"/>
                  </a:lnTo>
                  <a:lnTo>
                    <a:pt x="16815" y="13750"/>
                  </a:lnTo>
                  <a:lnTo>
                    <a:pt x="16860" y="13850"/>
                  </a:lnTo>
                  <a:lnTo>
                    <a:pt x="16815" y="13891"/>
                  </a:lnTo>
                  <a:lnTo>
                    <a:pt x="16860" y="13991"/>
                  </a:lnTo>
                  <a:lnTo>
                    <a:pt x="16860" y="14231"/>
                  </a:lnTo>
                  <a:lnTo>
                    <a:pt x="16925" y="14290"/>
                  </a:lnTo>
                  <a:lnTo>
                    <a:pt x="16860" y="14390"/>
                  </a:lnTo>
                  <a:lnTo>
                    <a:pt x="16815" y="14431"/>
                  </a:lnTo>
                  <a:lnTo>
                    <a:pt x="16860" y="14489"/>
                  </a:lnTo>
                  <a:lnTo>
                    <a:pt x="16750" y="14583"/>
                  </a:lnTo>
                  <a:lnTo>
                    <a:pt x="16640" y="14730"/>
                  </a:lnTo>
                  <a:lnTo>
                    <a:pt x="16594" y="14783"/>
                  </a:lnTo>
                  <a:lnTo>
                    <a:pt x="16530" y="14830"/>
                  </a:lnTo>
                  <a:lnTo>
                    <a:pt x="16374" y="14883"/>
                  </a:lnTo>
                  <a:lnTo>
                    <a:pt x="16309" y="14982"/>
                  </a:lnTo>
                  <a:lnTo>
                    <a:pt x="15986" y="15082"/>
                  </a:lnTo>
                  <a:lnTo>
                    <a:pt x="15766" y="15182"/>
                  </a:lnTo>
                  <a:lnTo>
                    <a:pt x="15701" y="15223"/>
                  </a:lnTo>
                  <a:lnTo>
                    <a:pt x="15701" y="15282"/>
                  </a:lnTo>
                  <a:lnTo>
                    <a:pt x="15545" y="15423"/>
                  </a:lnTo>
                  <a:lnTo>
                    <a:pt x="15371" y="15522"/>
                  </a:lnTo>
                  <a:lnTo>
                    <a:pt x="15105" y="15781"/>
                  </a:lnTo>
                  <a:lnTo>
                    <a:pt x="15047" y="15874"/>
                  </a:lnTo>
                  <a:lnTo>
                    <a:pt x="15105" y="16021"/>
                  </a:lnTo>
                  <a:lnTo>
                    <a:pt x="15151" y="16215"/>
                  </a:lnTo>
                  <a:lnTo>
                    <a:pt x="15215" y="16414"/>
                  </a:lnTo>
                  <a:lnTo>
                    <a:pt x="15215" y="16373"/>
                  </a:lnTo>
                  <a:lnTo>
                    <a:pt x="15261" y="16414"/>
                  </a:lnTo>
                  <a:lnTo>
                    <a:pt x="15261" y="16614"/>
                  </a:lnTo>
                  <a:lnTo>
                    <a:pt x="15215" y="16714"/>
                  </a:lnTo>
                  <a:lnTo>
                    <a:pt x="15151" y="16913"/>
                  </a:lnTo>
                  <a:lnTo>
                    <a:pt x="15215" y="16872"/>
                  </a:lnTo>
                  <a:lnTo>
                    <a:pt x="15261" y="16972"/>
                  </a:lnTo>
                  <a:lnTo>
                    <a:pt x="15105" y="17072"/>
                  </a:lnTo>
                  <a:lnTo>
                    <a:pt x="14671" y="17212"/>
                  </a:lnTo>
                  <a:lnTo>
                    <a:pt x="14561" y="17265"/>
                  </a:lnTo>
                  <a:lnTo>
                    <a:pt x="14451" y="17365"/>
                  </a:lnTo>
                  <a:lnTo>
                    <a:pt x="14341" y="17412"/>
                  </a:lnTo>
                  <a:lnTo>
                    <a:pt x="14387" y="17506"/>
                  </a:lnTo>
                  <a:lnTo>
                    <a:pt x="14451" y="17465"/>
                  </a:lnTo>
                  <a:lnTo>
                    <a:pt x="14451" y="17506"/>
                  </a:lnTo>
                  <a:lnTo>
                    <a:pt x="14451" y="17705"/>
                  </a:lnTo>
                  <a:lnTo>
                    <a:pt x="14341" y="17964"/>
                  </a:lnTo>
                  <a:lnTo>
                    <a:pt x="14231" y="18204"/>
                  </a:lnTo>
                  <a:lnTo>
                    <a:pt x="13836" y="18504"/>
                  </a:lnTo>
                  <a:lnTo>
                    <a:pt x="13836" y="18603"/>
                  </a:lnTo>
                  <a:lnTo>
                    <a:pt x="13623" y="18797"/>
                  </a:lnTo>
                  <a:lnTo>
                    <a:pt x="13623" y="18897"/>
                  </a:lnTo>
                  <a:lnTo>
                    <a:pt x="13351" y="19096"/>
                  </a:lnTo>
                  <a:lnTo>
                    <a:pt x="13072" y="19354"/>
                  </a:lnTo>
                  <a:lnTo>
                    <a:pt x="12522" y="19695"/>
                  </a:lnTo>
                  <a:lnTo>
                    <a:pt x="12302" y="19695"/>
                  </a:lnTo>
                  <a:lnTo>
                    <a:pt x="12243" y="19748"/>
                  </a:lnTo>
                  <a:lnTo>
                    <a:pt x="12088" y="19748"/>
                  </a:lnTo>
                  <a:lnTo>
                    <a:pt x="12023" y="19795"/>
                  </a:lnTo>
                  <a:lnTo>
                    <a:pt x="11693" y="19748"/>
                  </a:lnTo>
                  <a:lnTo>
                    <a:pt x="11538" y="19748"/>
                  </a:lnTo>
                  <a:lnTo>
                    <a:pt x="11253" y="19748"/>
                  </a:lnTo>
                  <a:lnTo>
                    <a:pt x="11253" y="19795"/>
                  </a:lnTo>
                  <a:lnTo>
                    <a:pt x="11039" y="19847"/>
                  </a:lnTo>
                  <a:lnTo>
                    <a:pt x="10767" y="19847"/>
                  </a:lnTo>
                  <a:lnTo>
                    <a:pt x="10709" y="19894"/>
                  </a:lnTo>
                  <a:lnTo>
                    <a:pt x="10664" y="19994"/>
                  </a:lnTo>
                  <a:lnTo>
                    <a:pt x="10489" y="19947"/>
                  </a:lnTo>
                  <a:lnTo>
                    <a:pt x="10379" y="19847"/>
                  </a:lnTo>
                  <a:lnTo>
                    <a:pt x="10333" y="19847"/>
                  </a:lnTo>
                  <a:lnTo>
                    <a:pt x="10333" y="19748"/>
                  </a:lnTo>
                  <a:lnTo>
                    <a:pt x="10204" y="19748"/>
                  </a:lnTo>
                  <a:lnTo>
                    <a:pt x="10204" y="19795"/>
                  </a:lnTo>
                  <a:lnTo>
                    <a:pt x="10159" y="19795"/>
                  </a:lnTo>
                  <a:lnTo>
                    <a:pt x="10204" y="19654"/>
                  </a:lnTo>
                  <a:lnTo>
                    <a:pt x="10049" y="19396"/>
                  </a:lnTo>
                  <a:lnTo>
                    <a:pt x="10049" y="19354"/>
                  </a:lnTo>
                  <a:lnTo>
                    <a:pt x="10159" y="19354"/>
                  </a:lnTo>
                  <a:lnTo>
                    <a:pt x="10204" y="19196"/>
                  </a:lnTo>
                  <a:lnTo>
                    <a:pt x="10159" y="19055"/>
                  </a:lnTo>
                  <a:lnTo>
                    <a:pt x="9938" y="18656"/>
                  </a:lnTo>
                  <a:lnTo>
                    <a:pt x="9770" y="18304"/>
                  </a:lnTo>
                  <a:lnTo>
                    <a:pt x="9718" y="18163"/>
                  </a:lnTo>
                  <a:lnTo>
                    <a:pt x="9505" y="17964"/>
                  </a:lnTo>
                  <a:lnTo>
                    <a:pt x="9395" y="17705"/>
                  </a:lnTo>
                  <a:lnTo>
                    <a:pt x="9395" y="17606"/>
                  </a:lnTo>
                  <a:lnTo>
                    <a:pt x="9330" y="17506"/>
                  </a:lnTo>
                  <a:lnTo>
                    <a:pt x="9285" y="17165"/>
                  </a:lnTo>
                  <a:lnTo>
                    <a:pt x="9220" y="17013"/>
                  </a:lnTo>
                  <a:lnTo>
                    <a:pt x="9174" y="16772"/>
                  </a:lnTo>
                  <a:lnTo>
                    <a:pt x="9174" y="16573"/>
                  </a:lnTo>
                  <a:lnTo>
                    <a:pt x="9174" y="16414"/>
                  </a:lnTo>
                  <a:lnTo>
                    <a:pt x="9064" y="16273"/>
                  </a:lnTo>
                  <a:lnTo>
                    <a:pt x="8844" y="15822"/>
                  </a:lnTo>
                  <a:lnTo>
                    <a:pt x="8624" y="15481"/>
                  </a:lnTo>
                  <a:lnTo>
                    <a:pt x="8566" y="15323"/>
                  </a:lnTo>
                  <a:lnTo>
                    <a:pt x="8456" y="15123"/>
                  </a:lnTo>
                  <a:lnTo>
                    <a:pt x="8456" y="14982"/>
                  </a:lnTo>
                  <a:lnTo>
                    <a:pt x="8456" y="14783"/>
                  </a:lnTo>
                  <a:lnTo>
                    <a:pt x="8404" y="14630"/>
                  </a:lnTo>
                  <a:lnTo>
                    <a:pt x="8514" y="14583"/>
                  </a:lnTo>
                  <a:lnTo>
                    <a:pt x="8624" y="14331"/>
                  </a:lnTo>
                  <a:lnTo>
                    <a:pt x="8624" y="14090"/>
                  </a:lnTo>
                  <a:lnTo>
                    <a:pt x="8734" y="13891"/>
                  </a:lnTo>
                  <a:lnTo>
                    <a:pt x="8780" y="13791"/>
                  </a:lnTo>
                  <a:lnTo>
                    <a:pt x="8890" y="13691"/>
                  </a:lnTo>
                  <a:lnTo>
                    <a:pt x="9000" y="13650"/>
                  </a:lnTo>
                  <a:lnTo>
                    <a:pt x="9064" y="13392"/>
                  </a:lnTo>
                  <a:lnTo>
                    <a:pt x="9000" y="13192"/>
                  </a:lnTo>
                  <a:lnTo>
                    <a:pt x="8890" y="12999"/>
                  </a:lnTo>
                  <a:lnTo>
                    <a:pt x="8844" y="12758"/>
                  </a:lnTo>
                  <a:lnTo>
                    <a:pt x="8954" y="12658"/>
                  </a:lnTo>
                  <a:lnTo>
                    <a:pt x="8780" y="12201"/>
                  </a:lnTo>
                  <a:lnTo>
                    <a:pt x="8624" y="11960"/>
                  </a:lnTo>
                  <a:lnTo>
                    <a:pt x="8780" y="11960"/>
                  </a:lnTo>
                  <a:lnTo>
                    <a:pt x="8844" y="11901"/>
                  </a:lnTo>
                  <a:lnTo>
                    <a:pt x="8669" y="11901"/>
                  </a:lnTo>
                  <a:lnTo>
                    <a:pt x="8624" y="11860"/>
                  </a:lnTo>
                  <a:lnTo>
                    <a:pt x="8624" y="11808"/>
                  </a:lnTo>
                  <a:lnTo>
                    <a:pt x="8566" y="11708"/>
                  </a:lnTo>
                  <a:lnTo>
                    <a:pt x="8514" y="11608"/>
                  </a:lnTo>
                  <a:lnTo>
                    <a:pt x="8294" y="11367"/>
                  </a:lnTo>
                  <a:lnTo>
                    <a:pt x="8016" y="11109"/>
                  </a:lnTo>
                  <a:lnTo>
                    <a:pt x="7905" y="11009"/>
                  </a:lnTo>
                  <a:lnTo>
                    <a:pt x="8016" y="11068"/>
                  </a:lnTo>
                  <a:lnTo>
                    <a:pt x="8016" y="11009"/>
                  </a:lnTo>
                  <a:lnTo>
                    <a:pt x="7860" y="10968"/>
                  </a:lnTo>
                  <a:lnTo>
                    <a:pt x="7795" y="10869"/>
                  </a:lnTo>
                  <a:lnTo>
                    <a:pt x="7860" y="10869"/>
                  </a:lnTo>
                  <a:lnTo>
                    <a:pt x="7795" y="10810"/>
                  </a:lnTo>
                  <a:lnTo>
                    <a:pt x="7860" y="10769"/>
                  </a:lnTo>
                  <a:lnTo>
                    <a:pt x="7795" y="10710"/>
                  </a:lnTo>
                  <a:lnTo>
                    <a:pt x="7750" y="10769"/>
                  </a:lnTo>
                  <a:lnTo>
                    <a:pt x="7685" y="10610"/>
                  </a:lnTo>
                  <a:lnTo>
                    <a:pt x="7640" y="10516"/>
                  </a:lnTo>
                  <a:lnTo>
                    <a:pt x="7750" y="10516"/>
                  </a:lnTo>
                  <a:lnTo>
                    <a:pt x="7795" y="10317"/>
                  </a:lnTo>
                  <a:lnTo>
                    <a:pt x="7860" y="10370"/>
                  </a:lnTo>
                  <a:lnTo>
                    <a:pt x="7970" y="10317"/>
                  </a:lnTo>
                  <a:lnTo>
                    <a:pt x="7795" y="10270"/>
                  </a:lnTo>
                  <a:lnTo>
                    <a:pt x="7795" y="10176"/>
                  </a:lnTo>
                  <a:lnTo>
                    <a:pt x="7860" y="10176"/>
                  </a:lnTo>
                  <a:lnTo>
                    <a:pt x="7860" y="10076"/>
                  </a:lnTo>
                  <a:lnTo>
                    <a:pt x="7795" y="10018"/>
                  </a:lnTo>
                  <a:lnTo>
                    <a:pt x="7905" y="9818"/>
                  </a:lnTo>
                  <a:lnTo>
                    <a:pt x="7905" y="9677"/>
                  </a:lnTo>
                  <a:lnTo>
                    <a:pt x="7905" y="9478"/>
                  </a:lnTo>
                  <a:lnTo>
                    <a:pt x="7905" y="9319"/>
                  </a:lnTo>
                  <a:lnTo>
                    <a:pt x="7795" y="9278"/>
                  </a:lnTo>
                  <a:lnTo>
                    <a:pt x="7750" y="9278"/>
                  </a:lnTo>
                  <a:lnTo>
                    <a:pt x="7685" y="9178"/>
                  </a:lnTo>
                  <a:lnTo>
                    <a:pt x="7575" y="9126"/>
                  </a:lnTo>
                  <a:lnTo>
                    <a:pt x="7530" y="9126"/>
                  </a:lnTo>
                  <a:lnTo>
                    <a:pt x="7465" y="9079"/>
                  </a:lnTo>
                  <a:lnTo>
                    <a:pt x="7465" y="9126"/>
                  </a:lnTo>
                  <a:lnTo>
                    <a:pt x="7245" y="9178"/>
                  </a:lnTo>
                  <a:lnTo>
                    <a:pt x="7077" y="9126"/>
                  </a:lnTo>
                  <a:lnTo>
                    <a:pt x="7077" y="9178"/>
                  </a:lnTo>
                  <a:lnTo>
                    <a:pt x="6857" y="9225"/>
                  </a:lnTo>
                  <a:lnTo>
                    <a:pt x="6747" y="9178"/>
                  </a:lnTo>
                  <a:lnTo>
                    <a:pt x="6591" y="8979"/>
                  </a:lnTo>
                  <a:lnTo>
                    <a:pt x="6636" y="8926"/>
                  </a:lnTo>
                  <a:lnTo>
                    <a:pt x="6636" y="8879"/>
                  </a:lnTo>
                  <a:lnTo>
                    <a:pt x="6526" y="8879"/>
                  </a:lnTo>
                  <a:lnTo>
                    <a:pt x="6481" y="8727"/>
                  </a:lnTo>
                  <a:lnTo>
                    <a:pt x="6261" y="8627"/>
                  </a:lnTo>
                  <a:lnTo>
                    <a:pt x="5931" y="8627"/>
                  </a:lnTo>
                  <a:lnTo>
                    <a:pt x="5762" y="8627"/>
                  </a:lnTo>
                  <a:lnTo>
                    <a:pt x="5542" y="8685"/>
                  </a:lnTo>
                  <a:lnTo>
                    <a:pt x="5497" y="8685"/>
                  </a:lnTo>
                  <a:lnTo>
                    <a:pt x="5387" y="8727"/>
                  </a:lnTo>
                  <a:lnTo>
                    <a:pt x="5322" y="8785"/>
                  </a:lnTo>
                  <a:lnTo>
                    <a:pt x="5102" y="8826"/>
                  </a:lnTo>
                  <a:lnTo>
                    <a:pt x="4947" y="8879"/>
                  </a:lnTo>
                  <a:lnTo>
                    <a:pt x="4603" y="8979"/>
                  </a:lnTo>
                  <a:lnTo>
                    <a:pt x="4448" y="9026"/>
                  </a:lnTo>
                  <a:lnTo>
                    <a:pt x="4228" y="9026"/>
                  </a:lnTo>
                  <a:lnTo>
                    <a:pt x="4118" y="8979"/>
                  </a:lnTo>
                  <a:lnTo>
                    <a:pt x="4118" y="8879"/>
                  </a:lnTo>
                  <a:lnTo>
                    <a:pt x="4053" y="8979"/>
                  </a:lnTo>
                  <a:lnTo>
                    <a:pt x="3898" y="8926"/>
                  </a:lnTo>
                  <a:lnTo>
                    <a:pt x="3788" y="8979"/>
                  </a:lnTo>
                  <a:lnTo>
                    <a:pt x="3457" y="8979"/>
                  </a:lnTo>
                  <a:lnTo>
                    <a:pt x="3179" y="9026"/>
                  </a:lnTo>
                  <a:lnTo>
                    <a:pt x="2849" y="9178"/>
                  </a:lnTo>
                  <a:lnTo>
                    <a:pt x="2583" y="9126"/>
                  </a:lnTo>
                  <a:lnTo>
                    <a:pt x="2085" y="8785"/>
                  </a:lnTo>
                  <a:lnTo>
                    <a:pt x="1755" y="8527"/>
                  </a:lnTo>
                  <a:lnTo>
                    <a:pt x="1534" y="8427"/>
                  </a:lnTo>
                  <a:lnTo>
                    <a:pt x="1250" y="8327"/>
                  </a:lnTo>
                  <a:lnTo>
                    <a:pt x="1250" y="8228"/>
                  </a:lnTo>
                  <a:lnTo>
                    <a:pt x="1146" y="8087"/>
                  </a:lnTo>
                  <a:lnTo>
                    <a:pt x="1146" y="7987"/>
                  </a:lnTo>
                  <a:lnTo>
                    <a:pt x="1146" y="7934"/>
                  </a:lnTo>
                  <a:lnTo>
                    <a:pt x="1094" y="7835"/>
                  </a:lnTo>
                  <a:lnTo>
                    <a:pt x="1036" y="7735"/>
                  </a:lnTo>
                  <a:lnTo>
                    <a:pt x="816" y="7588"/>
                  </a:lnTo>
                  <a:lnTo>
                    <a:pt x="764" y="7494"/>
                  </a:lnTo>
                  <a:lnTo>
                    <a:pt x="660" y="7435"/>
                  </a:lnTo>
                  <a:lnTo>
                    <a:pt x="596" y="7336"/>
                  </a:lnTo>
                  <a:lnTo>
                    <a:pt x="550" y="7394"/>
                  </a:lnTo>
                  <a:lnTo>
                    <a:pt x="550" y="7195"/>
                  </a:lnTo>
                  <a:lnTo>
                    <a:pt x="376" y="7195"/>
                  </a:lnTo>
                  <a:lnTo>
                    <a:pt x="376" y="7136"/>
                  </a:lnTo>
                  <a:lnTo>
                    <a:pt x="265" y="7095"/>
                  </a:lnTo>
                  <a:lnTo>
                    <a:pt x="155" y="7036"/>
                  </a:lnTo>
                  <a:lnTo>
                    <a:pt x="376" y="6937"/>
                  </a:lnTo>
                  <a:lnTo>
                    <a:pt x="155" y="6937"/>
                  </a:lnTo>
                  <a:lnTo>
                    <a:pt x="110" y="6837"/>
                  </a:lnTo>
                  <a:lnTo>
                    <a:pt x="110" y="6796"/>
                  </a:lnTo>
                  <a:lnTo>
                    <a:pt x="155" y="6737"/>
                  </a:lnTo>
                  <a:lnTo>
                    <a:pt x="155" y="6696"/>
                  </a:lnTo>
                  <a:lnTo>
                    <a:pt x="155" y="6637"/>
                  </a:lnTo>
                  <a:lnTo>
                    <a:pt x="220" y="6596"/>
                  </a:lnTo>
                  <a:lnTo>
                    <a:pt x="110" y="6596"/>
                  </a:lnTo>
                  <a:lnTo>
                    <a:pt x="45" y="6543"/>
                  </a:lnTo>
                  <a:lnTo>
                    <a:pt x="0" y="6397"/>
                  </a:lnTo>
                  <a:lnTo>
                    <a:pt x="45" y="6297"/>
                  </a:lnTo>
                  <a:lnTo>
                    <a:pt x="155" y="6144"/>
                  </a:lnTo>
                  <a:lnTo>
                    <a:pt x="220" y="6004"/>
                  </a:lnTo>
                  <a:lnTo>
                    <a:pt x="265" y="5804"/>
                  </a:lnTo>
                  <a:lnTo>
                    <a:pt x="376" y="5546"/>
                  </a:lnTo>
                  <a:lnTo>
                    <a:pt x="330" y="5252"/>
                  </a:lnTo>
                  <a:lnTo>
                    <a:pt x="220" y="5106"/>
                  </a:lnTo>
                  <a:lnTo>
                    <a:pt x="330" y="5106"/>
                  </a:lnTo>
                  <a:lnTo>
                    <a:pt x="330" y="4953"/>
                  </a:lnTo>
                  <a:lnTo>
                    <a:pt x="265" y="4754"/>
                  </a:lnTo>
                  <a:lnTo>
                    <a:pt x="220" y="4812"/>
                  </a:lnTo>
                  <a:lnTo>
                    <a:pt x="155" y="4654"/>
                  </a:lnTo>
                  <a:lnTo>
                    <a:pt x="110" y="4654"/>
                  </a:lnTo>
                  <a:lnTo>
                    <a:pt x="155" y="4413"/>
                  </a:lnTo>
                  <a:lnTo>
                    <a:pt x="265" y="4313"/>
                  </a:lnTo>
                  <a:lnTo>
                    <a:pt x="330" y="4214"/>
                  </a:lnTo>
                  <a:lnTo>
                    <a:pt x="376" y="4114"/>
                  </a:lnTo>
                  <a:lnTo>
                    <a:pt x="440" y="4014"/>
                  </a:lnTo>
                  <a:lnTo>
                    <a:pt x="550" y="3862"/>
                  </a:lnTo>
                  <a:lnTo>
                    <a:pt x="764" y="3662"/>
                  </a:lnTo>
                  <a:lnTo>
                    <a:pt x="764" y="3462"/>
                  </a:lnTo>
                  <a:lnTo>
                    <a:pt x="874" y="3275"/>
                  </a:lnTo>
                  <a:lnTo>
                    <a:pt x="1146" y="3022"/>
                  </a:lnTo>
                  <a:lnTo>
                    <a:pt x="1314" y="2782"/>
                  </a:lnTo>
                  <a:lnTo>
                    <a:pt x="1645" y="2682"/>
                  </a:lnTo>
                  <a:lnTo>
                    <a:pt x="1865" y="2582"/>
                  </a:lnTo>
                  <a:lnTo>
                    <a:pt x="2143" y="2330"/>
                  </a:lnTo>
                  <a:lnTo>
                    <a:pt x="2298" y="2083"/>
                  </a:lnTo>
                  <a:lnTo>
                    <a:pt x="2253" y="1984"/>
                  </a:lnTo>
                  <a:lnTo>
                    <a:pt x="2253" y="1731"/>
                  </a:lnTo>
                  <a:lnTo>
                    <a:pt x="2363" y="1590"/>
                  </a:lnTo>
                  <a:lnTo>
                    <a:pt x="2409" y="1432"/>
                  </a:lnTo>
                  <a:lnTo>
                    <a:pt x="2583" y="1232"/>
                  </a:lnTo>
                  <a:lnTo>
                    <a:pt x="2803" y="1133"/>
                  </a:lnTo>
                  <a:lnTo>
                    <a:pt x="3134" y="992"/>
                  </a:lnTo>
                  <a:lnTo>
                    <a:pt x="3237" y="739"/>
                  </a:lnTo>
                  <a:lnTo>
                    <a:pt x="3347" y="499"/>
                  </a:lnTo>
                  <a:lnTo>
                    <a:pt x="3509" y="499"/>
                  </a:lnTo>
                  <a:lnTo>
                    <a:pt x="3678" y="640"/>
                  </a:lnTo>
                  <a:lnTo>
                    <a:pt x="3943" y="640"/>
                  </a:lnTo>
                  <a:lnTo>
                    <a:pt x="4118" y="640"/>
                  </a:lnTo>
                  <a:lnTo>
                    <a:pt x="4228" y="599"/>
                  </a:lnTo>
                  <a:lnTo>
                    <a:pt x="4273" y="692"/>
                  </a:lnTo>
                  <a:lnTo>
                    <a:pt x="4448" y="692"/>
                  </a:lnTo>
                  <a:lnTo>
                    <a:pt x="4558" y="692"/>
                  </a:lnTo>
                  <a:lnTo>
                    <a:pt x="4668" y="599"/>
                  </a:lnTo>
                  <a:lnTo>
                    <a:pt x="4837" y="540"/>
                  </a:lnTo>
                  <a:lnTo>
                    <a:pt x="4947" y="499"/>
                  </a:lnTo>
                  <a:lnTo>
                    <a:pt x="5057" y="440"/>
                  </a:lnTo>
                  <a:lnTo>
                    <a:pt x="5212" y="340"/>
                  </a:lnTo>
                  <a:lnTo>
                    <a:pt x="5542" y="241"/>
                  </a:lnTo>
                  <a:lnTo>
                    <a:pt x="5821" y="241"/>
                  </a:lnTo>
                  <a:lnTo>
                    <a:pt x="5983" y="200"/>
                  </a:lnTo>
                  <a:lnTo>
                    <a:pt x="6093" y="141"/>
                  </a:lnTo>
                  <a:lnTo>
                    <a:pt x="6306" y="141"/>
                  </a:lnTo>
                  <a:lnTo>
                    <a:pt x="6481" y="241"/>
                  </a:lnTo>
                  <a:lnTo>
                    <a:pt x="6591" y="241"/>
                  </a:lnTo>
                  <a:lnTo>
                    <a:pt x="6701" y="200"/>
                  </a:lnTo>
                  <a:lnTo>
                    <a:pt x="6857" y="100"/>
                  </a:lnTo>
                  <a:lnTo>
                    <a:pt x="6921" y="100"/>
                  </a:lnTo>
                  <a:lnTo>
                    <a:pt x="7031" y="141"/>
                  </a:lnTo>
                  <a:lnTo>
                    <a:pt x="7077" y="100"/>
                  </a:lnTo>
                  <a:lnTo>
                    <a:pt x="7297" y="200"/>
                  </a:lnTo>
                  <a:lnTo>
                    <a:pt x="7530" y="141"/>
                  </a:lnTo>
                  <a:lnTo>
                    <a:pt x="7640" y="41"/>
                  </a:lnTo>
                  <a:lnTo>
                    <a:pt x="7795" y="0"/>
                  </a:lnTo>
                  <a:lnTo>
                    <a:pt x="7905" y="41"/>
                  </a:lnTo>
                  <a:lnTo>
                    <a:pt x="7970" y="200"/>
                  </a:lnTo>
                  <a:lnTo>
                    <a:pt x="8126" y="100"/>
                  </a:lnTo>
                  <a:lnTo>
                    <a:pt x="8190" y="141"/>
                  </a:lnTo>
                  <a:lnTo>
                    <a:pt x="8080" y="241"/>
                  </a:lnTo>
                  <a:lnTo>
                    <a:pt x="8016" y="399"/>
                  </a:lnTo>
                  <a:lnTo>
                    <a:pt x="8126" y="499"/>
                  </a:lnTo>
                  <a:lnTo>
                    <a:pt x="8190" y="640"/>
                  </a:lnTo>
                  <a:lnTo>
                    <a:pt x="8080" y="792"/>
                  </a:lnTo>
                  <a:lnTo>
                    <a:pt x="7905" y="939"/>
                  </a:lnTo>
                  <a:lnTo>
                    <a:pt x="7970" y="1092"/>
                  </a:lnTo>
                  <a:lnTo>
                    <a:pt x="8080" y="1092"/>
                  </a:lnTo>
                  <a:lnTo>
                    <a:pt x="8080" y="1133"/>
                  </a:lnTo>
                  <a:lnTo>
                    <a:pt x="8190" y="1133"/>
                  </a:lnTo>
                  <a:lnTo>
                    <a:pt x="8236" y="1191"/>
                  </a:lnTo>
                  <a:lnTo>
                    <a:pt x="8346" y="1291"/>
                  </a:lnTo>
                  <a:lnTo>
                    <a:pt x="8624" y="1332"/>
                  </a:lnTo>
                  <a:lnTo>
                    <a:pt x="8954" y="1391"/>
                  </a:lnTo>
                  <a:lnTo>
                    <a:pt x="9110" y="1432"/>
                  </a:lnTo>
                  <a:lnTo>
                    <a:pt x="9395" y="1491"/>
                  </a:lnTo>
                  <a:lnTo>
                    <a:pt x="9505" y="1731"/>
                  </a:lnTo>
                  <a:lnTo>
                    <a:pt x="9938" y="1831"/>
                  </a:lnTo>
                  <a:lnTo>
                    <a:pt x="10554" y="2130"/>
                  </a:lnTo>
                  <a:lnTo>
                    <a:pt x="10709" y="1984"/>
                  </a:lnTo>
                  <a:lnTo>
                    <a:pt x="10767" y="1831"/>
                  </a:lnTo>
                  <a:lnTo>
                    <a:pt x="10709" y="1590"/>
                  </a:lnTo>
                  <a:lnTo>
                    <a:pt x="10819" y="1432"/>
                  </a:lnTo>
                  <a:lnTo>
                    <a:pt x="11039" y="1391"/>
                  </a:lnTo>
                  <a:lnTo>
                    <a:pt x="11097" y="1391"/>
                  </a:lnTo>
                  <a:lnTo>
                    <a:pt x="11149" y="1332"/>
                  </a:lnTo>
                  <a:lnTo>
                    <a:pt x="11363" y="1332"/>
                  </a:lnTo>
                  <a:lnTo>
                    <a:pt x="11538" y="1391"/>
                  </a:lnTo>
                  <a:lnTo>
                    <a:pt x="11583" y="1491"/>
                  </a:lnTo>
                  <a:lnTo>
                    <a:pt x="11868" y="1590"/>
                  </a:lnTo>
                  <a:lnTo>
                    <a:pt x="12192" y="1731"/>
                  </a:lnTo>
                  <a:lnTo>
                    <a:pt x="12354" y="173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" name="Freeform 1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838" y="3087"/>
              <a:ext cx="5" cy="13"/>
            </a:xfrm>
            <a:custGeom>
              <a:avLst/>
              <a:gdLst>
                <a:gd name="T0" fmla="*/ 4 w 20000"/>
                <a:gd name="T1" fmla="*/ 10 h 20000"/>
                <a:gd name="T2" fmla="*/ 4 w 20000"/>
                <a:gd name="T3" fmla="*/ 0 h 20000"/>
                <a:gd name="T4" fmla="*/ 0 w 20000"/>
                <a:gd name="T5" fmla="*/ 0 h 20000"/>
                <a:gd name="T6" fmla="*/ 0 w 20000"/>
                <a:gd name="T7" fmla="*/ 3 h 20000"/>
                <a:gd name="T8" fmla="*/ 0 w 20000"/>
                <a:gd name="T9" fmla="*/ 7 h 20000"/>
                <a:gd name="T10" fmla="*/ 4 w 20000"/>
                <a:gd name="T11" fmla="*/ 1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18182" y="19231"/>
                  </a:moveTo>
                  <a:lnTo>
                    <a:pt x="18182" y="0"/>
                  </a:lnTo>
                  <a:lnTo>
                    <a:pt x="0" y="0"/>
                  </a:lnTo>
                  <a:lnTo>
                    <a:pt x="0" y="5385"/>
                  </a:lnTo>
                  <a:lnTo>
                    <a:pt x="0" y="13077"/>
                  </a:lnTo>
                  <a:lnTo>
                    <a:pt x="18182" y="1923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" name="Freeform 1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828" y="3095"/>
              <a:ext cx="140" cy="262"/>
            </a:xfrm>
            <a:custGeom>
              <a:avLst/>
              <a:gdLst>
                <a:gd name="T0" fmla="*/ 44 w 20000"/>
                <a:gd name="T1" fmla="*/ 257 h 20000"/>
                <a:gd name="T2" fmla="*/ 65 w 20000"/>
                <a:gd name="T3" fmla="*/ 247 h 20000"/>
                <a:gd name="T4" fmla="*/ 106 w 20000"/>
                <a:gd name="T5" fmla="*/ 145 h 20000"/>
                <a:gd name="T6" fmla="*/ 119 w 20000"/>
                <a:gd name="T7" fmla="*/ 98 h 20000"/>
                <a:gd name="T8" fmla="*/ 122 w 20000"/>
                <a:gd name="T9" fmla="*/ 74 h 20000"/>
                <a:gd name="T10" fmla="*/ 126 w 20000"/>
                <a:gd name="T11" fmla="*/ 68 h 20000"/>
                <a:gd name="T12" fmla="*/ 140 w 20000"/>
                <a:gd name="T13" fmla="*/ 61 h 20000"/>
                <a:gd name="T14" fmla="*/ 126 w 20000"/>
                <a:gd name="T15" fmla="*/ 18 h 20000"/>
                <a:gd name="T16" fmla="*/ 122 w 20000"/>
                <a:gd name="T17" fmla="*/ 7 h 20000"/>
                <a:gd name="T18" fmla="*/ 119 w 20000"/>
                <a:gd name="T19" fmla="*/ 0 h 20000"/>
                <a:gd name="T20" fmla="*/ 108 w 20000"/>
                <a:gd name="T21" fmla="*/ 11 h 20000"/>
                <a:gd name="T22" fmla="*/ 108 w 20000"/>
                <a:gd name="T23" fmla="*/ 31 h 20000"/>
                <a:gd name="T24" fmla="*/ 99 w 20000"/>
                <a:gd name="T25" fmla="*/ 34 h 20000"/>
                <a:gd name="T26" fmla="*/ 92 w 20000"/>
                <a:gd name="T27" fmla="*/ 31 h 20000"/>
                <a:gd name="T28" fmla="*/ 95 w 20000"/>
                <a:gd name="T29" fmla="*/ 44 h 20000"/>
                <a:gd name="T30" fmla="*/ 88 w 20000"/>
                <a:gd name="T31" fmla="*/ 48 h 20000"/>
                <a:gd name="T32" fmla="*/ 92 w 20000"/>
                <a:gd name="T33" fmla="*/ 50 h 20000"/>
                <a:gd name="T34" fmla="*/ 85 w 20000"/>
                <a:gd name="T35" fmla="*/ 50 h 20000"/>
                <a:gd name="T36" fmla="*/ 81 w 20000"/>
                <a:gd name="T37" fmla="*/ 64 h 20000"/>
                <a:gd name="T38" fmla="*/ 74 w 20000"/>
                <a:gd name="T39" fmla="*/ 61 h 20000"/>
                <a:gd name="T40" fmla="*/ 65 w 20000"/>
                <a:gd name="T41" fmla="*/ 74 h 20000"/>
                <a:gd name="T42" fmla="*/ 50 w 20000"/>
                <a:gd name="T43" fmla="*/ 74 h 20000"/>
                <a:gd name="T44" fmla="*/ 44 w 20000"/>
                <a:gd name="T45" fmla="*/ 74 h 20000"/>
                <a:gd name="T46" fmla="*/ 30 w 20000"/>
                <a:gd name="T47" fmla="*/ 81 h 20000"/>
                <a:gd name="T48" fmla="*/ 20 w 20000"/>
                <a:gd name="T49" fmla="*/ 111 h 20000"/>
                <a:gd name="T50" fmla="*/ 23 w 20000"/>
                <a:gd name="T51" fmla="*/ 136 h 20000"/>
                <a:gd name="T52" fmla="*/ 27 w 20000"/>
                <a:gd name="T53" fmla="*/ 149 h 20000"/>
                <a:gd name="T54" fmla="*/ 10 w 20000"/>
                <a:gd name="T55" fmla="*/ 176 h 20000"/>
                <a:gd name="T56" fmla="*/ 0 w 20000"/>
                <a:gd name="T57" fmla="*/ 190 h 20000"/>
                <a:gd name="T58" fmla="*/ 7 w 20000"/>
                <a:gd name="T59" fmla="*/ 217 h 20000"/>
                <a:gd name="T60" fmla="*/ 14 w 20000"/>
                <a:gd name="T61" fmla="*/ 251 h 20000"/>
                <a:gd name="T62" fmla="*/ 34 w 20000"/>
                <a:gd name="T63" fmla="*/ 261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0000" h="20000">
                  <a:moveTo>
                    <a:pt x="4857" y="19969"/>
                  </a:moveTo>
                  <a:lnTo>
                    <a:pt x="6229" y="19724"/>
                  </a:lnTo>
                  <a:lnTo>
                    <a:pt x="7771" y="19448"/>
                  </a:lnTo>
                  <a:lnTo>
                    <a:pt x="9257" y="18926"/>
                  </a:lnTo>
                  <a:lnTo>
                    <a:pt x="12171" y="14755"/>
                  </a:lnTo>
                  <a:lnTo>
                    <a:pt x="15086" y="11135"/>
                  </a:lnTo>
                  <a:lnTo>
                    <a:pt x="17029" y="8006"/>
                  </a:lnTo>
                  <a:lnTo>
                    <a:pt x="17029" y="7485"/>
                  </a:lnTo>
                  <a:lnTo>
                    <a:pt x="18000" y="6442"/>
                  </a:lnTo>
                  <a:lnTo>
                    <a:pt x="17429" y="5706"/>
                  </a:lnTo>
                  <a:lnTo>
                    <a:pt x="17429" y="5184"/>
                  </a:lnTo>
                  <a:lnTo>
                    <a:pt x="18000" y="5184"/>
                  </a:lnTo>
                  <a:lnTo>
                    <a:pt x="18971" y="5706"/>
                  </a:lnTo>
                  <a:lnTo>
                    <a:pt x="19943" y="4663"/>
                  </a:lnTo>
                  <a:lnTo>
                    <a:pt x="19371" y="3344"/>
                  </a:lnTo>
                  <a:lnTo>
                    <a:pt x="18000" y="1350"/>
                  </a:lnTo>
                  <a:lnTo>
                    <a:pt x="17429" y="1043"/>
                  </a:lnTo>
                  <a:lnTo>
                    <a:pt x="17429" y="521"/>
                  </a:lnTo>
                  <a:lnTo>
                    <a:pt x="17029" y="521"/>
                  </a:lnTo>
                  <a:lnTo>
                    <a:pt x="17029" y="0"/>
                  </a:lnTo>
                  <a:lnTo>
                    <a:pt x="16457" y="521"/>
                  </a:lnTo>
                  <a:lnTo>
                    <a:pt x="15486" y="828"/>
                  </a:lnTo>
                  <a:lnTo>
                    <a:pt x="16057" y="1564"/>
                  </a:lnTo>
                  <a:lnTo>
                    <a:pt x="15486" y="2362"/>
                  </a:lnTo>
                  <a:lnTo>
                    <a:pt x="15086" y="2086"/>
                  </a:lnTo>
                  <a:lnTo>
                    <a:pt x="14114" y="2607"/>
                  </a:lnTo>
                  <a:lnTo>
                    <a:pt x="14114" y="2362"/>
                  </a:lnTo>
                  <a:lnTo>
                    <a:pt x="13143" y="2362"/>
                  </a:lnTo>
                  <a:lnTo>
                    <a:pt x="13543" y="3129"/>
                  </a:lnTo>
                  <a:lnTo>
                    <a:pt x="13543" y="3344"/>
                  </a:lnTo>
                  <a:lnTo>
                    <a:pt x="13143" y="3129"/>
                  </a:lnTo>
                  <a:lnTo>
                    <a:pt x="12571" y="3650"/>
                  </a:lnTo>
                  <a:lnTo>
                    <a:pt x="13543" y="3865"/>
                  </a:lnTo>
                  <a:lnTo>
                    <a:pt x="13143" y="3865"/>
                  </a:lnTo>
                  <a:lnTo>
                    <a:pt x="12171" y="4387"/>
                  </a:lnTo>
                  <a:lnTo>
                    <a:pt x="12171" y="3865"/>
                  </a:lnTo>
                  <a:lnTo>
                    <a:pt x="11200" y="4663"/>
                  </a:lnTo>
                  <a:lnTo>
                    <a:pt x="11600" y="4908"/>
                  </a:lnTo>
                  <a:lnTo>
                    <a:pt x="10629" y="5184"/>
                  </a:lnTo>
                  <a:lnTo>
                    <a:pt x="10629" y="4663"/>
                  </a:lnTo>
                  <a:lnTo>
                    <a:pt x="8743" y="5184"/>
                  </a:lnTo>
                  <a:lnTo>
                    <a:pt x="9257" y="5706"/>
                  </a:lnTo>
                  <a:lnTo>
                    <a:pt x="8171" y="5429"/>
                  </a:lnTo>
                  <a:lnTo>
                    <a:pt x="7200" y="5706"/>
                  </a:lnTo>
                  <a:lnTo>
                    <a:pt x="7200" y="5920"/>
                  </a:lnTo>
                  <a:lnTo>
                    <a:pt x="6229" y="5706"/>
                  </a:lnTo>
                  <a:lnTo>
                    <a:pt x="5257" y="5920"/>
                  </a:lnTo>
                  <a:lnTo>
                    <a:pt x="4286" y="6227"/>
                  </a:lnTo>
                  <a:lnTo>
                    <a:pt x="3886" y="6748"/>
                  </a:lnTo>
                  <a:lnTo>
                    <a:pt x="2914" y="8528"/>
                  </a:lnTo>
                  <a:lnTo>
                    <a:pt x="2914" y="9877"/>
                  </a:lnTo>
                  <a:lnTo>
                    <a:pt x="3314" y="10399"/>
                  </a:lnTo>
                  <a:lnTo>
                    <a:pt x="3886" y="10920"/>
                  </a:lnTo>
                  <a:lnTo>
                    <a:pt x="3886" y="11411"/>
                  </a:lnTo>
                  <a:lnTo>
                    <a:pt x="3886" y="11656"/>
                  </a:lnTo>
                  <a:lnTo>
                    <a:pt x="1371" y="13497"/>
                  </a:lnTo>
                  <a:lnTo>
                    <a:pt x="971" y="13712"/>
                  </a:lnTo>
                  <a:lnTo>
                    <a:pt x="0" y="14540"/>
                  </a:lnTo>
                  <a:lnTo>
                    <a:pt x="400" y="16104"/>
                  </a:lnTo>
                  <a:lnTo>
                    <a:pt x="971" y="16626"/>
                  </a:lnTo>
                  <a:lnTo>
                    <a:pt x="971" y="18190"/>
                  </a:lnTo>
                  <a:lnTo>
                    <a:pt x="1943" y="19202"/>
                  </a:lnTo>
                  <a:lnTo>
                    <a:pt x="3886" y="19448"/>
                  </a:lnTo>
                  <a:lnTo>
                    <a:pt x="4857" y="1996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" name="Freeform 1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086" y="3247"/>
              <a:ext cx="8" cy="14"/>
            </a:xfrm>
            <a:custGeom>
              <a:avLst/>
              <a:gdLst>
                <a:gd name="T0" fmla="*/ 3 w 20000"/>
                <a:gd name="T1" fmla="*/ 14 h 20000"/>
                <a:gd name="T2" fmla="*/ 8 w 20000"/>
                <a:gd name="T3" fmla="*/ 7 h 20000"/>
                <a:gd name="T4" fmla="*/ 3 w 20000"/>
                <a:gd name="T5" fmla="*/ 0 h 20000"/>
                <a:gd name="T6" fmla="*/ 0 w 20000"/>
                <a:gd name="T7" fmla="*/ 7 h 20000"/>
                <a:gd name="T8" fmla="*/ 0 w 20000"/>
                <a:gd name="T9" fmla="*/ 10 h 20000"/>
                <a:gd name="T10" fmla="*/ 3 w 20000"/>
                <a:gd name="T11" fmla="*/ 14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7778" y="19429"/>
                  </a:moveTo>
                  <a:lnTo>
                    <a:pt x="18889" y="9714"/>
                  </a:lnTo>
                  <a:lnTo>
                    <a:pt x="7778" y="0"/>
                  </a:lnTo>
                  <a:lnTo>
                    <a:pt x="0" y="9714"/>
                  </a:lnTo>
                  <a:lnTo>
                    <a:pt x="0" y="14857"/>
                  </a:lnTo>
                  <a:lnTo>
                    <a:pt x="7778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" name="Freeform 1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36" y="3408"/>
              <a:ext cx="43" cy="40"/>
            </a:xfrm>
            <a:custGeom>
              <a:avLst/>
              <a:gdLst>
                <a:gd name="T0" fmla="*/ 38 w 20000"/>
                <a:gd name="T1" fmla="*/ 20 h 20000"/>
                <a:gd name="T2" fmla="*/ 42 w 20000"/>
                <a:gd name="T3" fmla="*/ 14 h 20000"/>
                <a:gd name="T4" fmla="*/ 35 w 20000"/>
                <a:gd name="T5" fmla="*/ 3 h 20000"/>
                <a:gd name="T6" fmla="*/ 28 w 20000"/>
                <a:gd name="T7" fmla="*/ 0 h 20000"/>
                <a:gd name="T8" fmla="*/ 10 w 20000"/>
                <a:gd name="T9" fmla="*/ 7 h 20000"/>
                <a:gd name="T10" fmla="*/ 3 w 20000"/>
                <a:gd name="T11" fmla="*/ 16 h 20000"/>
                <a:gd name="T12" fmla="*/ 0 w 20000"/>
                <a:gd name="T13" fmla="*/ 20 h 20000"/>
                <a:gd name="T14" fmla="*/ 3 w 20000"/>
                <a:gd name="T15" fmla="*/ 23 h 20000"/>
                <a:gd name="T16" fmla="*/ 7 w 20000"/>
                <a:gd name="T17" fmla="*/ 37 h 20000"/>
                <a:gd name="T18" fmla="*/ 18 w 20000"/>
                <a:gd name="T19" fmla="*/ 41 h 20000"/>
                <a:gd name="T20" fmla="*/ 21 w 20000"/>
                <a:gd name="T21" fmla="*/ 30 h 20000"/>
                <a:gd name="T22" fmla="*/ 38 w 20000"/>
                <a:gd name="T23" fmla="*/ 27 h 20000"/>
                <a:gd name="T24" fmla="*/ 38 w 20000"/>
                <a:gd name="T25" fmla="*/ 2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000" h="20000">
                  <a:moveTo>
                    <a:pt x="18252" y="9903"/>
                  </a:moveTo>
                  <a:lnTo>
                    <a:pt x="19806" y="6602"/>
                  </a:lnTo>
                  <a:lnTo>
                    <a:pt x="16505" y="1359"/>
                  </a:lnTo>
                  <a:lnTo>
                    <a:pt x="13204" y="0"/>
                  </a:lnTo>
                  <a:lnTo>
                    <a:pt x="4660" y="3301"/>
                  </a:lnTo>
                  <a:lnTo>
                    <a:pt x="1359" y="7961"/>
                  </a:lnTo>
                  <a:lnTo>
                    <a:pt x="0" y="9903"/>
                  </a:lnTo>
                  <a:lnTo>
                    <a:pt x="1359" y="11262"/>
                  </a:lnTo>
                  <a:lnTo>
                    <a:pt x="3301" y="17864"/>
                  </a:lnTo>
                  <a:lnTo>
                    <a:pt x="8544" y="19806"/>
                  </a:lnTo>
                  <a:lnTo>
                    <a:pt x="9903" y="14563"/>
                  </a:lnTo>
                  <a:lnTo>
                    <a:pt x="18252" y="13204"/>
                  </a:lnTo>
                  <a:lnTo>
                    <a:pt x="18252" y="990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" name="Freeform 1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045" y="3264"/>
              <a:ext cx="12" cy="12"/>
            </a:xfrm>
            <a:custGeom>
              <a:avLst/>
              <a:gdLst>
                <a:gd name="T0" fmla="*/ 7 w 20000"/>
                <a:gd name="T1" fmla="*/ 11 h 20000"/>
                <a:gd name="T2" fmla="*/ 11 w 20000"/>
                <a:gd name="T3" fmla="*/ 7 h 20000"/>
                <a:gd name="T4" fmla="*/ 4 w 20000"/>
                <a:gd name="T5" fmla="*/ 0 h 20000"/>
                <a:gd name="T6" fmla="*/ 0 w 20000"/>
                <a:gd name="T7" fmla="*/ 7 h 20000"/>
                <a:gd name="T8" fmla="*/ 7 w 20000"/>
                <a:gd name="T9" fmla="*/ 11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2143" y="19231"/>
                  </a:moveTo>
                  <a:lnTo>
                    <a:pt x="19286" y="13077"/>
                  </a:lnTo>
                  <a:lnTo>
                    <a:pt x="7143" y="0"/>
                  </a:lnTo>
                  <a:lnTo>
                    <a:pt x="0" y="13077"/>
                  </a:lnTo>
                  <a:lnTo>
                    <a:pt x="12143" y="1923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" name="Freeform 1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759" y="2260"/>
              <a:ext cx="11" cy="4"/>
            </a:xfrm>
            <a:custGeom>
              <a:avLst/>
              <a:gdLst>
                <a:gd name="T0" fmla="*/ 7 w 20000"/>
                <a:gd name="T1" fmla="*/ 4 h 20000"/>
                <a:gd name="T2" fmla="*/ 11 w 20000"/>
                <a:gd name="T3" fmla="*/ 4 h 20000"/>
                <a:gd name="T4" fmla="*/ 4 w 20000"/>
                <a:gd name="T5" fmla="*/ 0 h 20000"/>
                <a:gd name="T6" fmla="*/ 0 w 20000"/>
                <a:gd name="T7" fmla="*/ 0 h 20000"/>
                <a:gd name="T8" fmla="*/ 7 w 20000"/>
                <a:gd name="T9" fmla="*/ 4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2143" y="18182"/>
                  </a:moveTo>
                  <a:lnTo>
                    <a:pt x="19286" y="18182"/>
                  </a:lnTo>
                  <a:lnTo>
                    <a:pt x="7143" y="0"/>
                  </a:lnTo>
                  <a:lnTo>
                    <a:pt x="0" y="0"/>
                  </a:lnTo>
                  <a:lnTo>
                    <a:pt x="12143" y="1818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5" name="Freeform 1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783" y="2348"/>
              <a:ext cx="7" cy="11"/>
            </a:xfrm>
            <a:custGeom>
              <a:avLst/>
              <a:gdLst>
                <a:gd name="T0" fmla="*/ 3 w 20000"/>
                <a:gd name="T1" fmla="*/ 11 h 20000"/>
                <a:gd name="T2" fmla="*/ 7 w 20000"/>
                <a:gd name="T3" fmla="*/ 0 h 20000"/>
                <a:gd name="T4" fmla="*/ 0 w 20000"/>
                <a:gd name="T5" fmla="*/ 7 h 20000"/>
                <a:gd name="T6" fmla="*/ 3 w 20000"/>
                <a:gd name="T7" fmla="*/ 11 h 200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000" h="20000">
                  <a:moveTo>
                    <a:pt x="7778" y="19286"/>
                  </a:moveTo>
                  <a:lnTo>
                    <a:pt x="18889" y="0"/>
                  </a:lnTo>
                  <a:lnTo>
                    <a:pt x="0" y="12143"/>
                  </a:lnTo>
                  <a:lnTo>
                    <a:pt x="7778" y="1928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6" name="Freeform 1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763" y="2344"/>
              <a:ext cx="11" cy="11"/>
            </a:xfrm>
            <a:custGeom>
              <a:avLst/>
              <a:gdLst>
                <a:gd name="T0" fmla="*/ 3 w 20000"/>
                <a:gd name="T1" fmla="*/ 10 h 20000"/>
                <a:gd name="T2" fmla="*/ 7 w 20000"/>
                <a:gd name="T3" fmla="*/ 7 h 20000"/>
                <a:gd name="T4" fmla="*/ 10 w 20000"/>
                <a:gd name="T5" fmla="*/ 0 h 20000"/>
                <a:gd name="T6" fmla="*/ 0 w 20000"/>
                <a:gd name="T7" fmla="*/ 3 h 20000"/>
                <a:gd name="T8" fmla="*/ 3 w 20000"/>
                <a:gd name="T9" fmla="*/ 1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5385" y="19231"/>
                  </a:moveTo>
                  <a:lnTo>
                    <a:pt x="13077" y="13077"/>
                  </a:lnTo>
                  <a:lnTo>
                    <a:pt x="19231" y="0"/>
                  </a:lnTo>
                  <a:lnTo>
                    <a:pt x="0" y="5385"/>
                  </a:lnTo>
                  <a:lnTo>
                    <a:pt x="5385" y="1923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7" name="Freeform 2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82" y="2412"/>
              <a:ext cx="5" cy="7"/>
            </a:xfrm>
            <a:custGeom>
              <a:avLst/>
              <a:gdLst>
                <a:gd name="T0" fmla="*/ 0 w 20000"/>
                <a:gd name="T1" fmla="*/ 7 h 20000"/>
                <a:gd name="T2" fmla="*/ 5 w 20000"/>
                <a:gd name="T3" fmla="*/ 7 h 20000"/>
                <a:gd name="T4" fmla="*/ 5 w 20000"/>
                <a:gd name="T5" fmla="*/ 0 h 20000"/>
                <a:gd name="T6" fmla="*/ 0 w 20000"/>
                <a:gd name="T7" fmla="*/ 4 h 20000"/>
                <a:gd name="T8" fmla="*/ 0 w 20000"/>
                <a:gd name="T9" fmla="*/ 7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0" y="18889"/>
                  </a:moveTo>
                  <a:lnTo>
                    <a:pt x="18182" y="18889"/>
                  </a:lnTo>
                  <a:lnTo>
                    <a:pt x="18182" y="0"/>
                  </a:lnTo>
                  <a:lnTo>
                    <a:pt x="0" y="11111"/>
                  </a:lnTo>
                  <a:lnTo>
                    <a:pt x="0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8" name="Freeform 2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62" y="2446"/>
              <a:ext cx="6" cy="6"/>
            </a:xfrm>
            <a:custGeom>
              <a:avLst/>
              <a:gdLst>
                <a:gd name="T0" fmla="*/ 7 w 20000"/>
                <a:gd name="T1" fmla="*/ 4 h 20000"/>
                <a:gd name="T2" fmla="*/ 7 w 20000"/>
                <a:gd name="T3" fmla="*/ 4 h 20000"/>
                <a:gd name="T4" fmla="*/ 0 w 20000"/>
                <a:gd name="T5" fmla="*/ 0 h 20000"/>
                <a:gd name="T6" fmla="*/ 0 w 20000"/>
                <a:gd name="T7" fmla="*/ 4 h 20000"/>
                <a:gd name="T8" fmla="*/ 7 w 20000"/>
                <a:gd name="T9" fmla="*/ 4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8889" y="18182"/>
                  </a:moveTo>
                  <a:lnTo>
                    <a:pt x="18889" y="18182"/>
                  </a:lnTo>
                  <a:lnTo>
                    <a:pt x="0" y="0"/>
                  </a:lnTo>
                  <a:lnTo>
                    <a:pt x="0" y="18182"/>
                  </a:lnTo>
                  <a:lnTo>
                    <a:pt x="18889" y="1818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9" name="Freeform 2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23" y="2422"/>
              <a:ext cx="6" cy="18"/>
            </a:xfrm>
            <a:custGeom>
              <a:avLst/>
              <a:gdLst>
                <a:gd name="T0" fmla="*/ 7 w 20000"/>
                <a:gd name="T1" fmla="*/ 18 h 20000"/>
                <a:gd name="T2" fmla="*/ 7 w 20000"/>
                <a:gd name="T3" fmla="*/ 14 h 20000"/>
                <a:gd name="T4" fmla="*/ 0 w 20000"/>
                <a:gd name="T5" fmla="*/ 0 h 20000"/>
                <a:gd name="T6" fmla="*/ 0 w 20000"/>
                <a:gd name="T7" fmla="*/ 0 h 20000"/>
                <a:gd name="T8" fmla="*/ 7 w 20000"/>
                <a:gd name="T9" fmla="*/ 18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8889" y="19535"/>
                  </a:moveTo>
                  <a:lnTo>
                    <a:pt x="18889" y="15814"/>
                  </a:lnTo>
                  <a:lnTo>
                    <a:pt x="0" y="0"/>
                  </a:lnTo>
                  <a:lnTo>
                    <a:pt x="18889" y="1953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0" name="Freeform 2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47" y="2471"/>
              <a:ext cx="14" cy="6"/>
            </a:xfrm>
            <a:custGeom>
              <a:avLst/>
              <a:gdLst>
                <a:gd name="T0" fmla="*/ 4 w 20000"/>
                <a:gd name="T1" fmla="*/ 7 h 20000"/>
                <a:gd name="T2" fmla="*/ 10 w 20000"/>
                <a:gd name="T3" fmla="*/ 7 h 20000"/>
                <a:gd name="T4" fmla="*/ 14 w 20000"/>
                <a:gd name="T5" fmla="*/ 0 h 20000"/>
                <a:gd name="T6" fmla="*/ 7 w 20000"/>
                <a:gd name="T7" fmla="*/ 0 h 20000"/>
                <a:gd name="T8" fmla="*/ 0 w 20000"/>
                <a:gd name="T9" fmla="*/ 3 h 20000"/>
                <a:gd name="T10" fmla="*/ 4 w 20000"/>
                <a:gd name="T11" fmla="*/ 7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5714" y="18889"/>
                  </a:moveTo>
                  <a:lnTo>
                    <a:pt x="14857" y="18889"/>
                  </a:lnTo>
                  <a:lnTo>
                    <a:pt x="19429" y="0"/>
                  </a:lnTo>
                  <a:lnTo>
                    <a:pt x="9714" y="0"/>
                  </a:lnTo>
                  <a:lnTo>
                    <a:pt x="0" y="7778"/>
                  </a:lnTo>
                  <a:lnTo>
                    <a:pt x="5714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1" name="Freeform 2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18" y="2398"/>
              <a:ext cx="12" cy="14"/>
            </a:xfrm>
            <a:custGeom>
              <a:avLst/>
              <a:gdLst>
                <a:gd name="T0" fmla="*/ 3 w 20000"/>
                <a:gd name="T1" fmla="*/ 10 h 20000"/>
                <a:gd name="T2" fmla="*/ 0 w 20000"/>
                <a:gd name="T3" fmla="*/ 4 h 20000"/>
                <a:gd name="T4" fmla="*/ 3 w 20000"/>
                <a:gd name="T5" fmla="*/ 0 h 20000"/>
                <a:gd name="T6" fmla="*/ 11 w 20000"/>
                <a:gd name="T7" fmla="*/ 14 h 20000"/>
                <a:gd name="T8" fmla="*/ 3 w 20000"/>
                <a:gd name="T9" fmla="*/ 14 h 20000"/>
                <a:gd name="T10" fmla="*/ 3 w 20000"/>
                <a:gd name="T11" fmla="*/ 1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5385" y="14857"/>
                  </a:moveTo>
                  <a:lnTo>
                    <a:pt x="0" y="5714"/>
                  </a:lnTo>
                  <a:lnTo>
                    <a:pt x="5385" y="0"/>
                  </a:lnTo>
                  <a:lnTo>
                    <a:pt x="19231" y="19429"/>
                  </a:lnTo>
                  <a:lnTo>
                    <a:pt x="5385" y="19429"/>
                  </a:lnTo>
                  <a:lnTo>
                    <a:pt x="5385" y="1485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2" name="Freeform 2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74" y="2392"/>
              <a:ext cx="12" cy="14"/>
            </a:xfrm>
            <a:custGeom>
              <a:avLst/>
              <a:gdLst>
                <a:gd name="T0" fmla="*/ 3 w 20000"/>
                <a:gd name="T1" fmla="*/ 14 h 20000"/>
                <a:gd name="T2" fmla="*/ 10 w 20000"/>
                <a:gd name="T3" fmla="*/ 10 h 20000"/>
                <a:gd name="T4" fmla="*/ 10 w 20000"/>
                <a:gd name="T5" fmla="*/ 0 h 20000"/>
                <a:gd name="T6" fmla="*/ 3 w 20000"/>
                <a:gd name="T7" fmla="*/ 0 h 20000"/>
                <a:gd name="T8" fmla="*/ 3 w 20000"/>
                <a:gd name="T9" fmla="*/ 6 h 20000"/>
                <a:gd name="T10" fmla="*/ 0 w 20000"/>
                <a:gd name="T11" fmla="*/ 10 h 20000"/>
                <a:gd name="T12" fmla="*/ 3 w 20000"/>
                <a:gd name="T13" fmla="*/ 14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5385" y="19394"/>
                  </a:moveTo>
                  <a:lnTo>
                    <a:pt x="19231" y="14545"/>
                  </a:lnTo>
                  <a:lnTo>
                    <a:pt x="19231" y="0"/>
                  </a:lnTo>
                  <a:lnTo>
                    <a:pt x="5385" y="0"/>
                  </a:lnTo>
                  <a:lnTo>
                    <a:pt x="5385" y="9091"/>
                  </a:lnTo>
                  <a:lnTo>
                    <a:pt x="0" y="14545"/>
                  </a:lnTo>
                  <a:lnTo>
                    <a:pt x="5385" y="19394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3" name="Freeform 2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00" y="2383"/>
              <a:ext cx="14" cy="19"/>
            </a:xfrm>
            <a:custGeom>
              <a:avLst/>
              <a:gdLst>
                <a:gd name="T0" fmla="*/ 14 w 20000"/>
                <a:gd name="T1" fmla="*/ 20 h 20000"/>
                <a:gd name="T2" fmla="*/ 14 w 20000"/>
                <a:gd name="T3" fmla="*/ 10 h 20000"/>
                <a:gd name="T4" fmla="*/ 4 w 20000"/>
                <a:gd name="T5" fmla="*/ 0 h 20000"/>
                <a:gd name="T6" fmla="*/ 0 w 20000"/>
                <a:gd name="T7" fmla="*/ 4 h 20000"/>
                <a:gd name="T8" fmla="*/ 10 w 20000"/>
                <a:gd name="T9" fmla="*/ 10 h 20000"/>
                <a:gd name="T10" fmla="*/ 7 w 20000"/>
                <a:gd name="T11" fmla="*/ 16 h 20000"/>
                <a:gd name="T12" fmla="*/ 14 w 20000"/>
                <a:gd name="T13" fmla="*/ 2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19429" y="19615"/>
                  </a:moveTo>
                  <a:lnTo>
                    <a:pt x="19429" y="10385"/>
                  </a:lnTo>
                  <a:lnTo>
                    <a:pt x="5714" y="0"/>
                  </a:lnTo>
                  <a:lnTo>
                    <a:pt x="0" y="3846"/>
                  </a:lnTo>
                  <a:lnTo>
                    <a:pt x="14857" y="10385"/>
                  </a:lnTo>
                  <a:lnTo>
                    <a:pt x="9714" y="15769"/>
                  </a:lnTo>
                  <a:lnTo>
                    <a:pt x="19429" y="1961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4" name="Freeform 2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66" y="2358"/>
              <a:ext cx="19" cy="8"/>
            </a:xfrm>
            <a:custGeom>
              <a:avLst/>
              <a:gdLst>
                <a:gd name="T0" fmla="*/ 3 w 20000"/>
                <a:gd name="T1" fmla="*/ 8 h 20000"/>
                <a:gd name="T2" fmla="*/ 21 w 20000"/>
                <a:gd name="T3" fmla="*/ 0 h 20000"/>
                <a:gd name="T4" fmla="*/ 17 w 20000"/>
                <a:gd name="T5" fmla="*/ 0 h 20000"/>
                <a:gd name="T6" fmla="*/ 7 w 20000"/>
                <a:gd name="T7" fmla="*/ 0 h 20000"/>
                <a:gd name="T8" fmla="*/ 0 w 20000"/>
                <a:gd name="T9" fmla="*/ 0 h 20000"/>
                <a:gd name="T10" fmla="*/ 3 w 20000"/>
                <a:gd name="T11" fmla="*/ 8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2692" y="18889"/>
                  </a:moveTo>
                  <a:lnTo>
                    <a:pt x="19615" y="0"/>
                  </a:lnTo>
                  <a:lnTo>
                    <a:pt x="15769" y="0"/>
                  </a:lnTo>
                  <a:lnTo>
                    <a:pt x="6538" y="0"/>
                  </a:lnTo>
                  <a:lnTo>
                    <a:pt x="0" y="0"/>
                  </a:lnTo>
                  <a:lnTo>
                    <a:pt x="2692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5" name="Freeform 2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85" y="2352"/>
              <a:ext cx="13" cy="27"/>
            </a:xfrm>
            <a:custGeom>
              <a:avLst/>
              <a:gdLst>
                <a:gd name="T0" fmla="*/ 10 w 20000"/>
                <a:gd name="T1" fmla="*/ 27 h 20000"/>
                <a:gd name="T2" fmla="*/ 14 w 20000"/>
                <a:gd name="T3" fmla="*/ 16 h 20000"/>
                <a:gd name="T4" fmla="*/ 7 w 20000"/>
                <a:gd name="T5" fmla="*/ 3 h 20000"/>
                <a:gd name="T6" fmla="*/ 0 w 20000"/>
                <a:gd name="T7" fmla="*/ 0 h 20000"/>
                <a:gd name="T8" fmla="*/ 0 w 20000"/>
                <a:gd name="T9" fmla="*/ 3 h 20000"/>
                <a:gd name="T10" fmla="*/ 7 w 20000"/>
                <a:gd name="T11" fmla="*/ 7 h 20000"/>
                <a:gd name="T12" fmla="*/ 7 w 20000"/>
                <a:gd name="T13" fmla="*/ 16 h 20000"/>
                <a:gd name="T14" fmla="*/ 7 w 20000"/>
                <a:gd name="T15" fmla="*/ 20 h 20000"/>
                <a:gd name="T16" fmla="*/ 10 w 20000"/>
                <a:gd name="T17" fmla="*/ 27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000" h="20000">
                  <a:moveTo>
                    <a:pt x="14857" y="19710"/>
                  </a:moveTo>
                  <a:lnTo>
                    <a:pt x="19429" y="11884"/>
                  </a:lnTo>
                  <a:lnTo>
                    <a:pt x="9714" y="2029"/>
                  </a:lnTo>
                  <a:lnTo>
                    <a:pt x="0" y="0"/>
                  </a:lnTo>
                  <a:lnTo>
                    <a:pt x="0" y="2029"/>
                  </a:lnTo>
                  <a:lnTo>
                    <a:pt x="9714" y="4928"/>
                  </a:lnTo>
                  <a:lnTo>
                    <a:pt x="9714" y="11884"/>
                  </a:lnTo>
                  <a:lnTo>
                    <a:pt x="9714" y="14783"/>
                  </a:lnTo>
                  <a:lnTo>
                    <a:pt x="14857" y="1971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6" name="Freeform 2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884" y="1448"/>
              <a:ext cx="10" cy="14"/>
            </a:xfrm>
            <a:custGeom>
              <a:avLst/>
              <a:gdLst>
                <a:gd name="T0" fmla="*/ 3 w 20000"/>
                <a:gd name="T1" fmla="*/ 14 h 20000"/>
                <a:gd name="T2" fmla="*/ 10 w 20000"/>
                <a:gd name="T3" fmla="*/ 10 h 20000"/>
                <a:gd name="T4" fmla="*/ 10 w 20000"/>
                <a:gd name="T5" fmla="*/ 3 h 20000"/>
                <a:gd name="T6" fmla="*/ 0 w 20000"/>
                <a:gd name="T7" fmla="*/ 0 h 20000"/>
                <a:gd name="T8" fmla="*/ 3 w 20000"/>
                <a:gd name="T9" fmla="*/ 14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5385" y="19429"/>
                  </a:moveTo>
                  <a:lnTo>
                    <a:pt x="19231" y="13714"/>
                  </a:lnTo>
                  <a:lnTo>
                    <a:pt x="19231" y="4000"/>
                  </a:lnTo>
                  <a:lnTo>
                    <a:pt x="0" y="0"/>
                  </a:lnTo>
                  <a:lnTo>
                    <a:pt x="5385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7" name="Freeform 3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899" y="1444"/>
              <a:ext cx="12" cy="12"/>
            </a:xfrm>
            <a:custGeom>
              <a:avLst/>
              <a:gdLst>
                <a:gd name="T0" fmla="*/ 4 w 20000"/>
                <a:gd name="T1" fmla="*/ 12 h 20000"/>
                <a:gd name="T2" fmla="*/ 11 w 20000"/>
                <a:gd name="T3" fmla="*/ 7 h 20000"/>
                <a:gd name="T4" fmla="*/ 7 w 20000"/>
                <a:gd name="T5" fmla="*/ 0 h 20000"/>
                <a:gd name="T6" fmla="*/ 0 w 20000"/>
                <a:gd name="T7" fmla="*/ 0 h 20000"/>
                <a:gd name="T8" fmla="*/ 4 w 20000"/>
                <a:gd name="T9" fmla="*/ 12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7143" y="19286"/>
                  </a:moveTo>
                  <a:lnTo>
                    <a:pt x="19286" y="12143"/>
                  </a:lnTo>
                  <a:lnTo>
                    <a:pt x="12143" y="0"/>
                  </a:lnTo>
                  <a:lnTo>
                    <a:pt x="0" y="0"/>
                  </a:lnTo>
                  <a:lnTo>
                    <a:pt x="7143" y="1928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8" name="Freeform 3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835" y="1478"/>
              <a:ext cx="20" cy="31"/>
            </a:xfrm>
            <a:custGeom>
              <a:avLst/>
              <a:gdLst>
                <a:gd name="T0" fmla="*/ 7 w 20000"/>
                <a:gd name="T1" fmla="*/ 28 h 20000"/>
                <a:gd name="T2" fmla="*/ 21 w 20000"/>
                <a:gd name="T3" fmla="*/ 11 h 20000"/>
                <a:gd name="T4" fmla="*/ 21 w 20000"/>
                <a:gd name="T5" fmla="*/ 0 h 20000"/>
                <a:gd name="T6" fmla="*/ 11 w 20000"/>
                <a:gd name="T7" fmla="*/ 4 h 20000"/>
                <a:gd name="T8" fmla="*/ 0 w 20000"/>
                <a:gd name="T9" fmla="*/ 21 h 20000"/>
                <a:gd name="T10" fmla="*/ 7 w 20000"/>
                <a:gd name="T11" fmla="*/ 28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6538" y="19710"/>
                  </a:moveTo>
                  <a:lnTo>
                    <a:pt x="19615" y="7826"/>
                  </a:lnTo>
                  <a:lnTo>
                    <a:pt x="19615" y="0"/>
                  </a:lnTo>
                  <a:lnTo>
                    <a:pt x="10385" y="2899"/>
                  </a:lnTo>
                  <a:lnTo>
                    <a:pt x="0" y="14783"/>
                  </a:lnTo>
                  <a:lnTo>
                    <a:pt x="6538" y="1971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29" name="Freeform 3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27" y="843"/>
              <a:ext cx="52" cy="21"/>
            </a:xfrm>
            <a:custGeom>
              <a:avLst/>
              <a:gdLst>
                <a:gd name="T0" fmla="*/ 38 w 20000"/>
                <a:gd name="T1" fmla="*/ 21 h 20000"/>
                <a:gd name="T2" fmla="*/ 52 w 20000"/>
                <a:gd name="T3" fmla="*/ 14 h 20000"/>
                <a:gd name="T4" fmla="*/ 52 w 20000"/>
                <a:gd name="T5" fmla="*/ 0 h 20000"/>
                <a:gd name="T6" fmla="*/ 20 w 20000"/>
                <a:gd name="T7" fmla="*/ 0 h 20000"/>
                <a:gd name="T8" fmla="*/ 0 w 20000"/>
                <a:gd name="T9" fmla="*/ 7 h 20000"/>
                <a:gd name="T10" fmla="*/ 18 w 20000"/>
                <a:gd name="T11" fmla="*/ 14 h 20000"/>
                <a:gd name="T12" fmla="*/ 38 w 20000"/>
                <a:gd name="T13" fmla="*/ 21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14615" y="19615"/>
                  </a:moveTo>
                  <a:lnTo>
                    <a:pt x="19846" y="13077"/>
                  </a:lnTo>
                  <a:lnTo>
                    <a:pt x="19846" y="0"/>
                  </a:lnTo>
                  <a:lnTo>
                    <a:pt x="7846" y="0"/>
                  </a:lnTo>
                  <a:lnTo>
                    <a:pt x="0" y="6538"/>
                  </a:lnTo>
                  <a:lnTo>
                    <a:pt x="6769" y="13077"/>
                  </a:lnTo>
                  <a:lnTo>
                    <a:pt x="14615" y="1961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0" name="Freeform 3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88" y="1455"/>
              <a:ext cx="38" cy="24"/>
            </a:xfrm>
            <a:custGeom>
              <a:avLst/>
              <a:gdLst>
                <a:gd name="T0" fmla="*/ 11 w 20000"/>
                <a:gd name="T1" fmla="*/ 24 h 20000"/>
                <a:gd name="T2" fmla="*/ 31 w 20000"/>
                <a:gd name="T3" fmla="*/ 14 h 20000"/>
                <a:gd name="T4" fmla="*/ 38 w 20000"/>
                <a:gd name="T5" fmla="*/ 7 h 20000"/>
                <a:gd name="T6" fmla="*/ 13 w 20000"/>
                <a:gd name="T7" fmla="*/ 0 h 20000"/>
                <a:gd name="T8" fmla="*/ 0 w 20000"/>
                <a:gd name="T9" fmla="*/ 14 h 20000"/>
                <a:gd name="T10" fmla="*/ 0 w 20000"/>
                <a:gd name="T11" fmla="*/ 20 h 20000"/>
                <a:gd name="T12" fmla="*/ 11 w 20000"/>
                <a:gd name="T13" fmla="*/ 24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5625" y="19661"/>
                  </a:moveTo>
                  <a:lnTo>
                    <a:pt x="16250" y="11525"/>
                  </a:lnTo>
                  <a:lnTo>
                    <a:pt x="19792" y="5763"/>
                  </a:lnTo>
                  <a:lnTo>
                    <a:pt x="7083" y="0"/>
                  </a:lnTo>
                  <a:lnTo>
                    <a:pt x="0" y="11525"/>
                  </a:lnTo>
                  <a:lnTo>
                    <a:pt x="0" y="16949"/>
                  </a:lnTo>
                  <a:lnTo>
                    <a:pt x="5625" y="1966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1" name="Freeform 3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006" y="1855"/>
              <a:ext cx="38" cy="25"/>
            </a:xfrm>
            <a:custGeom>
              <a:avLst/>
              <a:gdLst>
                <a:gd name="T0" fmla="*/ 41 w 20000"/>
                <a:gd name="T1" fmla="*/ 24 h 20000"/>
                <a:gd name="T2" fmla="*/ 37 w 20000"/>
                <a:gd name="T3" fmla="*/ 17 h 20000"/>
                <a:gd name="T4" fmla="*/ 27 w 20000"/>
                <a:gd name="T5" fmla="*/ 10 h 20000"/>
                <a:gd name="T6" fmla="*/ 7 w 20000"/>
                <a:gd name="T7" fmla="*/ 0 h 20000"/>
                <a:gd name="T8" fmla="*/ 0 w 20000"/>
                <a:gd name="T9" fmla="*/ 0 h 20000"/>
                <a:gd name="T10" fmla="*/ 10 w 20000"/>
                <a:gd name="T11" fmla="*/ 13 h 20000"/>
                <a:gd name="T12" fmla="*/ 24 w 20000"/>
                <a:gd name="T13" fmla="*/ 24 h 20000"/>
                <a:gd name="T14" fmla="*/ 41 w 20000"/>
                <a:gd name="T15" fmla="*/ 24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000" h="20000">
                  <a:moveTo>
                    <a:pt x="19806" y="19677"/>
                  </a:moveTo>
                  <a:lnTo>
                    <a:pt x="18252" y="14194"/>
                  </a:lnTo>
                  <a:lnTo>
                    <a:pt x="13204" y="8710"/>
                  </a:lnTo>
                  <a:lnTo>
                    <a:pt x="3301" y="0"/>
                  </a:lnTo>
                  <a:lnTo>
                    <a:pt x="0" y="0"/>
                  </a:lnTo>
                  <a:lnTo>
                    <a:pt x="4660" y="10968"/>
                  </a:lnTo>
                  <a:lnTo>
                    <a:pt x="11650" y="19677"/>
                  </a:lnTo>
                  <a:lnTo>
                    <a:pt x="19806" y="1967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2" name="Freeform 3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48" y="1306"/>
              <a:ext cx="39" cy="26"/>
            </a:xfrm>
            <a:custGeom>
              <a:avLst/>
              <a:gdLst>
                <a:gd name="T0" fmla="*/ 18 w 20000"/>
                <a:gd name="T1" fmla="*/ 28 h 20000"/>
                <a:gd name="T2" fmla="*/ 34 w 20000"/>
                <a:gd name="T3" fmla="*/ 24 h 20000"/>
                <a:gd name="T4" fmla="*/ 41 w 20000"/>
                <a:gd name="T5" fmla="*/ 7 h 20000"/>
                <a:gd name="T6" fmla="*/ 31 w 20000"/>
                <a:gd name="T7" fmla="*/ 0 h 20000"/>
                <a:gd name="T8" fmla="*/ 14 w 20000"/>
                <a:gd name="T9" fmla="*/ 3 h 20000"/>
                <a:gd name="T10" fmla="*/ 4 w 20000"/>
                <a:gd name="T11" fmla="*/ 14 h 20000"/>
                <a:gd name="T12" fmla="*/ 0 w 20000"/>
                <a:gd name="T13" fmla="*/ 24 h 20000"/>
                <a:gd name="T14" fmla="*/ 18 w 20000"/>
                <a:gd name="T15" fmla="*/ 28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000" h="20000">
                  <a:moveTo>
                    <a:pt x="8544" y="19710"/>
                  </a:moveTo>
                  <a:lnTo>
                    <a:pt x="16505" y="16812"/>
                  </a:lnTo>
                  <a:lnTo>
                    <a:pt x="19806" y="4928"/>
                  </a:lnTo>
                  <a:lnTo>
                    <a:pt x="14951" y="0"/>
                  </a:lnTo>
                  <a:lnTo>
                    <a:pt x="6602" y="2029"/>
                  </a:lnTo>
                  <a:lnTo>
                    <a:pt x="1942" y="9855"/>
                  </a:lnTo>
                  <a:lnTo>
                    <a:pt x="0" y="16812"/>
                  </a:lnTo>
                  <a:lnTo>
                    <a:pt x="8544" y="1971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3" name="Freeform 3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822" y="1019"/>
              <a:ext cx="48" cy="37"/>
            </a:xfrm>
            <a:custGeom>
              <a:avLst/>
              <a:gdLst>
                <a:gd name="T0" fmla="*/ 30 w 20000"/>
                <a:gd name="T1" fmla="*/ 38 h 20000"/>
                <a:gd name="T2" fmla="*/ 48 w 20000"/>
                <a:gd name="T3" fmla="*/ 17 h 20000"/>
                <a:gd name="T4" fmla="*/ 48 w 20000"/>
                <a:gd name="T5" fmla="*/ 7 h 20000"/>
                <a:gd name="T6" fmla="*/ 44 w 20000"/>
                <a:gd name="T7" fmla="*/ 0 h 20000"/>
                <a:gd name="T8" fmla="*/ 20 w 20000"/>
                <a:gd name="T9" fmla="*/ 7 h 20000"/>
                <a:gd name="T10" fmla="*/ 0 w 20000"/>
                <a:gd name="T11" fmla="*/ 17 h 20000"/>
                <a:gd name="T12" fmla="*/ 11 w 20000"/>
                <a:gd name="T13" fmla="*/ 31 h 20000"/>
                <a:gd name="T14" fmla="*/ 30 w 20000"/>
                <a:gd name="T15" fmla="*/ 38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000" h="20000">
                  <a:moveTo>
                    <a:pt x="12623" y="19792"/>
                  </a:moveTo>
                  <a:lnTo>
                    <a:pt x="19836" y="9167"/>
                  </a:lnTo>
                  <a:lnTo>
                    <a:pt x="19836" y="3542"/>
                  </a:lnTo>
                  <a:lnTo>
                    <a:pt x="18197" y="0"/>
                  </a:lnTo>
                  <a:lnTo>
                    <a:pt x="8361" y="3542"/>
                  </a:lnTo>
                  <a:lnTo>
                    <a:pt x="0" y="9167"/>
                  </a:lnTo>
                  <a:lnTo>
                    <a:pt x="4426" y="16250"/>
                  </a:lnTo>
                  <a:lnTo>
                    <a:pt x="12623" y="1979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4" name="Freeform 3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49" y="1045"/>
              <a:ext cx="34" cy="37"/>
            </a:xfrm>
            <a:custGeom>
              <a:avLst/>
              <a:gdLst>
                <a:gd name="T0" fmla="*/ 11 w 20000"/>
                <a:gd name="T1" fmla="*/ 35 h 20000"/>
                <a:gd name="T2" fmla="*/ 21 w 20000"/>
                <a:gd name="T3" fmla="*/ 31 h 20000"/>
                <a:gd name="T4" fmla="*/ 31 w 20000"/>
                <a:gd name="T5" fmla="*/ 24 h 20000"/>
                <a:gd name="T6" fmla="*/ 35 w 20000"/>
                <a:gd name="T7" fmla="*/ 14 h 20000"/>
                <a:gd name="T8" fmla="*/ 28 w 20000"/>
                <a:gd name="T9" fmla="*/ 4 h 20000"/>
                <a:gd name="T10" fmla="*/ 14 w 20000"/>
                <a:gd name="T11" fmla="*/ 0 h 20000"/>
                <a:gd name="T12" fmla="*/ 0 w 20000"/>
                <a:gd name="T13" fmla="*/ 7 h 20000"/>
                <a:gd name="T14" fmla="*/ 7 w 20000"/>
                <a:gd name="T15" fmla="*/ 14 h 20000"/>
                <a:gd name="T16" fmla="*/ 11 w 20000"/>
                <a:gd name="T17" fmla="*/ 35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000" h="20000">
                  <a:moveTo>
                    <a:pt x="6279" y="19767"/>
                  </a:moveTo>
                  <a:lnTo>
                    <a:pt x="11860" y="17907"/>
                  </a:lnTo>
                  <a:lnTo>
                    <a:pt x="17907" y="13953"/>
                  </a:lnTo>
                  <a:lnTo>
                    <a:pt x="19767" y="7907"/>
                  </a:lnTo>
                  <a:lnTo>
                    <a:pt x="15814" y="2326"/>
                  </a:lnTo>
                  <a:lnTo>
                    <a:pt x="7907" y="0"/>
                  </a:lnTo>
                  <a:lnTo>
                    <a:pt x="0" y="3953"/>
                  </a:lnTo>
                  <a:lnTo>
                    <a:pt x="3953" y="7907"/>
                  </a:lnTo>
                  <a:lnTo>
                    <a:pt x="6279" y="1976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5" name="Freeform 3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52" y="1198"/>
              <a:ext cx="55" cy="44"/>
            </a:xfrm>
            <a:custGeom>
              <a:avLst/>
              <a:gdLst>
                <a:gd name="T0" fmla="*/ 48 w 20000"/>
                <a:gd name="T1" fmla="*/ 44 h 20000"/>
                <a:gd name="T2" fmla="*/ 55 w 20000"/>
                <a:gd name="T3" fmla="*/ 37 h 20000"/>
                <a:gd name="T4" fmla="*/ 51 w 20000"/>
                <a:gd name="T5" fmla="*/ 20 h 20000"/>
                <a:gd name="T6" fmla="*/ 41 w 20000"/>
                <a:gd name="T7" fmla="*/ 0 h 20000"/>
                <a:gd name="T8" fmla="*/ 23 w 20000"/>
                <a:gd name="T9" fmla="*/ 10 h 20000"/>
                <a:gd name="T10" fmla="*/ 14 w 20000"/>
                <a:gd name="T11" fmla="*/ 20 h 20000"/>
                <a:gd name="T12" fmla="*/ 0 w 20000"/>
                <a:gd name="T13" fmla="*/ 23 h 20000"/>
                <a:gd name="T14" fmla="*/ 16 w 20000"/>
                <a:gd name="T15" fmla="*/ 37 h 20000"/>
                <a:gd name="T16" fmla="*/ 30 w 20000"/>
                <a:gd name="T17" fmla="*/ 44 h 20000"/>
                <a:gd name="T18" fmla="*/ 48 w 20000"/>
                <a:gd name="T19" fmla="*/ 44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000" h="20000">
                  <a:moveTo>
                    <a:pt x="17372" y="19818"/>
                  </a:moveTo>
                  <a:lnTo>
                    <a:pt x="19854" y="16727"/>
                  </a:lnTo>
                  <a:lnTo>
                    <a:pt x="18686" y="9273"/>
                  </a:lnTo>
                  <a:lnTo>
                    <a:pt x="14891" y="0"/>
                  </a:lnTo>
                  <a:lnTo>
                    <a:pt x="8467" y="4364"/>
                  </a:lnTo>
                  <a:lnTo>
                    <a:pt x="4964" y="9273"/>
                  </a:lnTo>
                  <a:lnTo>
                    <a:pt x="0" y="10545"/>
                  </a:lnTo>
                  <a:lnTo>
                    <a:pt x="5985" y="16727"/>
                  </a:lnTo>
                  <a:lnTo>
                    <a:pt x="10949" y="19818"/>
                  </a:lnTo>
                  <a:lnTo>
                    <a:pt x="17372" y="19818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6" name="Freeform 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940" y="1718"/>
              <a:ext cx="61" cy="80"/>
            </a:xfrm>
            <a:custGeom>
              <a:avLst/>
              <a:gdLst>
                <a:gd name="T0" fmla="*/ 61 w 20000"/>
                <a:gd name="T1" fmla="*/ 79 h 20000"/>
                <a:gd name="T2" fmla="*/ 50 w 20000"/>
                <a:gd name="T3" fmla="*/ 54 h 20000"/>
                <a:gd name="T4" fmla="*/ 43 w 20000"/>
                <a:gd name="T5" fmla="*/ 41 h 20000"/>
                <a:gd name="T6" fmla="*/ 40 w 20000"/>
                <a:gd name="T7" fmla="*/ 20 h 20000"/>
                <a:gd name="T8" fmla="*/ 7 w 20000"/>
                <a:gd name="T9" fmla="*/ 0 h 20000"/>
                <a:gd name="T10" fmla="*/ 0 w 20000"/>
                <a:gd name="T11" fmla="*/ 4 h 20000"/>
                <a:gd name="T12" fmla="*/ 0 w 20000"/>
                <a:gd name="T13" fmla="*/ 24 h 20000"/>
                <a:gd name="T14" fmla="*/ 16 w 20000"/>
                <a:gd name="T15" fmla="*/ 47 h 20000"/>
                <a:gd name="T16" fmla="*/ 30 w 20000"/>
                <a:gd name="T17" fmla="*/ 58 h 20000"/>
                <a:gd name="T18" fmla="*/ 40 w 20000"/>
                <a:gd name="T19" fmla="*/ 72 h 20000"/>
                <a:gd name="T20" fmla="*/ 61 w 20000"/>
                <a:gd name="T21" fmla="*/ 79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000" h="20000">
                  <a:moveTo>
                    <a:pt x="19870" y="19898"/>
                  </a:moveTo>
                  <a:lnTo>
                    <a:pt x="16364" y="13706"/>
                  </a:lnTo>
                  <a:lnTo>
                    <a:pt x="14156" y="10254"/>
                  </a:lnTo>
                  <a:lnTo>
                    <a:pt x="13247" y="5178"/>
                  </a:lnTo>
                  <a:lnTo>
                    <a:pt x="2208" y="0"/>
                  </a:lnTo>
                  <a:lnTo>
                    <a:pt x="0" y="1015"/>
                  </a:lnTo>
                  <a:lnTo>
                    <a:pt x="0" y="6091"/>
                  </a:lnTo>
                  <a:lnTo>
                    <a:pt x="5325" y="11980"/>
                  </a:lnTo>
                  <a:lnTo>
                    <a:pt x="9740" y="14721"/>
                  </a:lnTo>
                  <a:lnTo>
                    <a:pt x="13247" y="18173"/>
                  </a:lnTo>
                  <a:lnTo>
                    <a:pt x="19870" y="19898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7" name="Freeform 4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99" y="1126"/>
              <a:ext cx="55" cy="44"/>
            </a:xfrm>
            <a:custGeom>
              <a:avLst/>
              <a:gdLst>
                <a:gd name="T0" fmla="*/ 55 w 20000"/>
                <a:gd name="T1" fmla="*/ 42 h 20000"/>
                <a:gd name="T2" fmla="*/ 48 w 20000"/>
                <a:gd name="T3" fmla="*/ 14 h 20000"/>
                <a:gd name="T4" fmla="*/ 20 w 20000"/>
                <a:gd name="T5" fmla="*/ 7 h 20000"/>
                <a:gd name="T6" fmla="*/ 10 w 20000"/>
                <a:gd name="T7" fmla="*/ 0 h 20000"/>
                <a:gd name="T8" fmla="*/ 3 w 20000"/>
                <a:gd name="T9" fmla="*/ 11 h 20000"/>
                <a:gd name="T10" fmla="*/ 7 w 20000"/>
                <a:gd name="T11" fmla="*/ 18 h 20000"/>
                <a:gd name="T12" fmla="*/ 0 w 20000"/>
                <a:gd name="T13" fmla="*/ 28 h 20000"/>
                <a:gd name="T14" fmla="*/ 7 w 20000"/>
                <a:gd name="T15" fmla="*/ 35 h 20000"/>
                <a:gd name="T16" fmla="*/ 23 w 20000"/>
                <a:gd name="T17" fmla="*/ 35 h 20000"/>
                <a:gd name="T18" fmla="*/ 38 w 20000"/>
                <a:gd name="T19" fmla="*/ 35 h 20000"/>
                <a:gd name="T20" fmla="*/ 55 w 20000"/>
                <a:gd name="T21" fmla="*/ 42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000" h="20000">
                  <a:moveTo>
                    <a:pt x="19854" y="19806"/>
                  </a:moveTo>
                  <a:lnTo>
                    <a:pt x="17372" y="6602"/>
                  </a:lnTo>
                  <a:lnTo>
                    <a:pt x="7445" y="3301"/>
                  </a:lnTo>
                  <a:lnTo>
                    <a:pt x="3504" y="0"/>
                  </a:lnTo>
                  <a:lnTo>
                    <a:pt x="1022" y="5243"/>
                  </a:lnTo>
                  <a:lnTo>
                    <a:pt x="2482" y="8544"/>
                  </a:lnTo>
                  <a:lnTo>
                    <a:pt x="0" y="13204"/>
                  </a:lnTo>
                  <a:lnTo>
                    <a:pt x="2482" y="16505"/>
                  </a:lnTo>
                  <a:lnTo>
                    <a:pt x="8467" y="16505"/>
                  </a:lnTo>
                  <a:lnTo>
                    <a:pt x="13723" y="16505"/>
                  </a:lnTo>
                  <a:lnTo>
                    <a:pt x="19854" y="1980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8" name="Freeform 4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73" y="1079"/>
              <a:ext cx="107" cy="64"/>
            </a:xfrm>
            <a:custGeom>
              <a:avLst/>
              <a:gdLst>
                <a:gd name="T0" fmla="*/ 14 w 20000"/>
                <a:gd name="T1" fmla="*/ 65 h 20000"/>
                <a:gd name="T2" fmla="*/ 34 w 20000"/>
                <a:gd name="T3" fmla="*/ 47 h 20000"/>
                <a:gd name="T4" fmla="*/ 18 w 20000"/>
                <a:gd name="T5" fmla="*/ 44 h 20000"/>
                <a:gd name="T6" fmla="*/ 20 w 20000"/>
                <a:gd name="T7" fmla="*/ 33 h 20000"/>
                <a:gd name="T8" fmla="*/ 54 w 20000"/>
                <a:gd name="T9" fmla="*/ 51 h 20000"/>
                <a:gd name="T10" fmla="*/ 78 w 20000"/>
                <a:gd name="T11" fmla="*/ 31 h 20000"/>
                <a:gd name="T12" fmla="*/ 106 w 20000"/>
                <a:gd name="T13" fmla="*/ 17 h 20000"/>
                <a:gd name="T14" fmla="*/ 72 w 20000"/>
                <a:gd name="T15" fmla="*/ 0 h 20000"/>
                <a:gd name="T16" fmla="*/ 41 w 20000"/>
                <a:gd name="T17" fmla="*/ 0 h 20000"/>
                <a:gd name="T18" fmla="*/ 20 w 20000"/>
                <a:gd name="T19" fmla="*/ 17 h 20000"/>
                <a:gd name="T20" fmla="*/ 7 w 20000"/>
                <a:gd name="T21" fmla="*/ 40 h 20000"/>
                <a:gd name="T22" fmla="*/ 0 w 20000"/>
                <a:gd name="T23" fmla="*/ 58 h 20000"/>
                <a:gd name="T24" fmla="*/ 14 w 20000"/>
                <a:gd name="T25" fmla="*/ 65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000" h="20000">
                  <a:moveTo>
                    <a:pt x="2566" y="19877"/>
                  </a:moveTo>
                  <a:lnTo>
                    <a:pt x="6415" y="14479"/>
                  </a:lnTo>
                  <a:lnTo>
                    <a:pt x="3321" y="13620"/>
                  </a:lnTo>
                  <a:lnTo>
                    <a:pt x="3849" y="10307"/>
                  </a:lnTo>
                  <a:lnTo>
                    <a:pt x="10189" y="15706"/>
                  </a:lnTo>
                  <a:lnTo>
                    <a:pt x="14792" y="9448"/>
                  </a:lnTo>
                  <a:lnTo>
                    <a:pt x="19925" y="5276"/>
                  </a:lnTo>
                  <a:lnTo>
                    <a:pt x="13509" y="0"/>
                  </a:lnTo>
                  <a:lnTo>
                    <a:pt x="7698" y="0"/>
                  </a:lnTo>
                  <a:lnTo>
                    <a:pt x="3849" y="5276"/>
                  </a:lnTo>
                  <a:lnTo>
                    <a:pt x="1283" y="12393"/>
                  </a:lnTo>
                  <a:lnTo>
                    <a:pt x="0" y="17791"/>
                  </a:lnTo>
                  <a:lnTo>
                    <a:pt x="2566" y="1987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39" name="Freeform 4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97" y="863"/>
              <a:ext cx="61" cy="36"/>
            </a:xfrm>
            <a:custGeom>
              <a:avLst/>
              <a:gdLst>
                <a:gd name="T0" fmla="*/ 23 w 20000"/>
                <a:gd name="T1" fmla="*/ 35 h 20000"/>
                <a:gd name="T2" fmla="*/ 40 w 20000"/>
                <a:gd name="T3" fmla="*/ 31 h 20000"/>
                <a:gd name="T4" fmla="*/ 43 w 20000"/>
                <a:gd name="T5" fmla="*/ 24 h 20000"/>
                <a:gd name="T6" fmla="*/ 40 w 20000"/>
                <a:gd name="T7" fmla="*/ 21 h 20000"/>
                <a:gd name="T8" fmla="*/ 40 w 20000"/>
                <a:gd name="T9" fmla="*/ 14 h 20000"/>
                <a:gd name="T10" fmla="*/ 54 w 20000"/>
                <a:gd name="T11" fmla="*/ 17 h 20000"/>
                <a:gd name="T12" fmla="*/ 61 w 20000"/>
                <a:gd name="T13" fmla="*/ 10 h 20000"/>
                <a:gd name="T14" fmla="*/ 36 w 20000"/>
                <a:gd name="T15" fmla="*/ 0 h 20000"/>
                <a:gd name="T16" fmla="*/ 16 w 20000"/>
                <a:gd name="T17" fmla="*/ 0 h 20000"/>
                <a:gd name="T18" fmla="*/ 3 w 20000"/>
                <a:gd name="T19" fmla="*/ 14 h 20000"/>
                <a:gd name="T20" fmla="*/ 0 w 20000"/>
                <a:gd name="T21" fmla="*/ 24 h 20000"/>
                <a:gd name="T22" fmla="*/ 0 w 20000"/>
                <a:gd name="T23" fmla="*/ 35 h 20000"/>
                <a:gd name="T24" fmla="*/ 23 w 20000"/>
                <a:gd name="T25" fmla="*/ 35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000" h="20000">
                  <a:moveTo>
                    <a:pt x="7532" y="19767"/>
                  </a:moveTo>
                  <a:lnTo>
                    <a:pt x="13247" y="17442"/>
                  </a:lnTo>
                  <a:lnTo>
                    <a:pt x="14156" y="13488"/>
                  </a:lnTo>
                  <a:lnTo>
                    <a:pt x="13247" y="11860"/>
                  </a:lnTo>
                  <a:lnTo>
                    <a:pt x="13247" y="7907"/>
                  </a:lnTo>
                  <a:lnTo>
                    <a:pt x="17662" y="9535"/>
                  </a:lnTo>
                  <a:lnTo>
                    <a:pt x="19870" y="5581"/>
                  </a:lnTo>
                  <a:lnTo>
                    <a:pt x="11948" y="0"/>
                  </a:lnTo>
                  <a:lnTo>
                    <a:pt x="5325" y="0"/>
                  </a:lnTo>
                  <a:lnTo>
                    <a:pt x="909" y="7907"/>
                  </a:lnTo>
                  <a:lnTo>
                    <a:pt x="0" y="13488"/>
                  </a:lnTo>
                  <a:lnTo>
                    <a:pt x="0" y="19767"/>
                  </a:lnTo>
                  <a:lnTo>
                    <a:pt x="7532" y="1976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0" name="Freeform 4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62" y="948"/>
              <a:ext cx="82" cy="81"/>
            </a:xfrm>
            <a:custGeom>
              <a:avLst/>
              <a:gdLst>
                <a:gd name="T0" fmla="*/ 44 w 20000"/>
                <a:gd name="T1" fmla="*/ 81 h 20000"/>
                <a:gd name="T2" fmla="*/ 65 w 20000"/>
                <a:gd name="T3" fmla="*/ 67 h 20000"/>
                <a:gd name="T4" fmla="*/ 78 w 20000"/>
                <a:gd name="T5" fmla="*/ 47 h 20000"/>
                <a:gd name="T6" fmla="*/ 82 w 20000"/>
                <a:gd name="T7" fmla="*/ 27 h 20000"/>
                <a:gd name="T8" fmla="*/ 61 w 20000"/>
                <a:gd name="T9" fmla="*/ 20 h 20000"/>
                <a:gd name="T10" fmla="*/ 48 w 20000"/>
                <a:gd name="T11" fmla="*/ 20 h 20000"/>
                <a:gd name="T12" fmla="*/ 44 w 20000"/>
                <a:gd name="T13" fmla="*/ 43 h 20000"/>
                <a:gd name="T14" fmla="*/ 38 w 20000"/>
                <a:gd name="T15" fmla="*/ 20 h 20000"/>
                <a:gd name="T16" fmla="*/ 27 w 20000"/>
                <a:gd name="T17" fmla="*/ 43 h 20000"/>
                <a:gd name="T18" fmla="*/ 20 w 20000"/>
                <a:gd name="T19" fmla="*/ 20 h 20000"/>
                <a:gd name="T20" fmla="*/ 18 w 20000"/>
                <a:gd name="T21" fmla="*/ 7 h 20000"/>
                <a:gd name="T22" fmla="*/ 11 w 20000"/>
                <a:gd name="T23" fmla="*/ 0 h 20000"/>
                <a:gd name="T24" fmla="*/ 4 w 20000"/>
                <a:gd name="T25" fmla="*/ 20 h 20000"/>
                <a:gd name="T26" fmla="*/ 0 w 20000"/>
                <a:gd name="T27" fmla="*/ 40 h 20000"/>
                <a:gd name="T28" fmla="*/ 4 w 20000"/>
                <a:gd name="T29" fmla="*/ 50 h 20000"/>
                <a:gd name="T30" fmla="*/ 38 w 20000"/>
                <a:gd name="T31" fmla="*/ 54 h 20000"/>
                <a:gd name="T32" fmla="*/ 18 w 20000"/>
                <a:gd name="T33" fmla="*/ 77 h 20000"/>
                <a:gd name="T34" fmla="*/ 44 w 20000"/>
                <a:gd name="T35" fmla="*/ 81 h 200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0000" h="20000">
                  <a:moveTo>
                    <a:pt x="10829" y="19902"/>
                  </a:moveTo>
                  <a:lnTo>
                    <a:pt x="15805" y="16569"/>
                  </a:lnTo>
                  <a:lnTo>
                    <a:pt x="19122" y="11569"/>
                  </a:lnTo>
                  <a:lnTo>
                    <a:pt x="19902" y="6667"/>
                  </a:lnTo>
                  <a:lnTo>
                    <a:pt x="14927" y="5000"/>
                  </a:lnTo>
                  <a:lnTo>
                    <a:pt x="11610" y="5000"/>
                  </a:lnTo>
                  <a:lnTo>
                    <a:pt x="10829" y="10686"/>
                  </a:lnTo>
                  <a:lnTo>
                    <a:pt x="9268" y="5000"/>
                  </a:lnTo>
                  <a:lnTo>
                    <a:pt x="6634" y="10686"/>
                  </a:lnTo>
                  <a:lnTo>
                    <a:pt x="4976" y="5000"/>
                  </a:lnTo>
                  <a:lnTo>
                    <a:pt x="4293" y="1667"/>
                  </a:lnTo>
                  <a:lnTo>
                    <a:pt x="2634" y="0"/>
                  </a:lnTo>
                  <a:lnTo>
                    <a:pt x="976" y="5000"/>
                  </a:lnTo>
                  <a:lnTo>
                    <a:pt x="0" y="9902"/>
                  </a:lnTo>
                  <a:lnTo>
                    <a:pt x="976" y="12255"/>
                  </a:lnTo>
                  <a:lnTo>
                    <a:pt x="9268" y="13235"/>
                  </a:lnTo>
                  <a:lnTo>
                    <a:pt x="4293" y="18922"/>
                  </a:lnTo>
                  <a:lnTo>
                    <a:pt x="10829" y="1990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1" name="Freeform 4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47" y="1354"/>
              <a:ext cx="113" cy="88"/>
            </a:xfrm>
            <a:custGeom>
              <a:avLst/>
              <a:gdLst>
                <a:gd name="T0" fmla="*/ 99 w 20000"/>
                <a:gd name="T1" fmla="*/ 88 h 20000"/>
                <a:gd name="T2" fmla="*/ 113 w 20000"/>
                <a:gd name="T3" fmla="*/ 81 h 20000"/>
                <a:gd name="T4" fmla="*/ 109 w 20000"/>
                <a:gd name="T5" fmla="*/ 70 h 20000"/>
                <a:gd name="T6" fmla="*/ 95 w 20000"/>
                <a:gd name="T7" fmla="*/ 63 h 20000"/>
                <a:gd name="T8" fmla="*/ 92 w 20000"/>
                <a:gd name="T9" fmla="*/ 43 h 20000"/>
                <a:gd name="T10" fmla="*/ 72 w 20000"/>
                <a:gd name="T11" fmla="*/ 16 h 20000"/>
                <a:gd name="T12" fmla="*/ 61 w 20000"/>
                <a:gd name="T13" fmla="*/ 20 h 20000"/>
                <a:gd name="T14" fmla="*/ 61 w 20000"/>
                <a:gd name="T15" fmla="*/ 0 h 20000"/>
                <a:gd name="T16" fmla="*/ 48 w 20000"/>
                <a:gd name="T17" fmla="*/ 14 h 20000"/>
                <a:gd name="T18" fmla="*/ 34 w 20000"/>
                <a:gd name="T19" fmla="*/ 30 h 20000"/>
                <a:gd name="T20" fmla="*/ 20 w 20000"/>
                <a:gd name="T21" fmla="*/ 63 h 20000"/>
                <a:gd name="T22" fmla="*/ 4 w 20000"/>
                <a:gd name="T23" fmla="*/ 74 h 20000"/>
                <a:gd name="T24" fmla="*/ 0 w 20000"/>
                <a:gd name="T25" fmla="*/ 81 h 20000"/>
                <a:gd name="T26" fmla="*/ 18 w 20000"/>
                <a:gd name="T27" fmla="*/ 81 h 20000"/>
                <a:gd name="T28" fmla="*/ 20 w 20000"/>
                <a:gd name="T29" fmla="*/ 88 h 20000"/>
                <a:gd name="T30" fmla="*/ 34 w 20000"/>
                <a:gd name="T31" fmla="*/ 88 h 20000"/>
                <a:gd name="T32" fmla="*/ 48 w 20000"/>
                <a:gd name="T33" fmla="*/ 77 h 20000"/>
                <a:gd name="T34" fmla="*/ 65 w 20000"/>
                <a:gd name="T35" fmla="*/ 63 h 20000"/>
                <a:gd name="T36" fmla="*/ 75 w 20000"/>
                <a:gd name="T37" fmla="*/ 61 h 20000"/>
                <a:gd name="T38" fmla="*/ 75 w 20000"/>
                <a:gd name="T39" fmla="*/ 77 h 20000"/>
                <a:gd name="T40" fmla="*/ 99 w 20000"/>
                <a:gd name="T41" fmla="*/ 88 h 2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0000" h="20000">
                  <a:moveTo>
                    <a:pt x="17518" y="19910"/>
                  </a:moveTo>
                  <a:lnTo>
                    <a:pt x="19929" y="18371"/>
                  </a:lnTo>
                  <a:lnTo>
                    <a:pt x="19220" y="15928"/>
                  </a:lnTo>
                  <a:lnTo>
                    <a:pt x="16809" y="14389"/>
                  </a:lnTo>
                  <a:lnTo>
                    <a:pt x="16312" y="9864"/>
                  </a:lnTo>
                  <a:lnTo>
                    <a:pt x="12695" y="3710"/>
                  </a:lnTo>
                  <a:lnTo>
                    <a:pt x="10780" y="4615"/>
                  </a:lnTo>
                  <a:lnTo>
                    <a:pt x="10780" y="0"/>
                  </a:lnTo>
                  <a:lnTo>
                    <a:pt x="8440" y="3077"/>
                  </a:lnTo>
                  <a:lnTo>
                    <a:pt x="6028" y="6787"/>
                  </a:lnTo>
                  <a:lnTo>
                    <a:pt x="3617" y="14389"/>
                  </a:lnTo>
                  <a:lnTo>
                    <a:pt x="709" y="16833"/>
                  </a:lnTo>
                  <a:lnTo>
                    <a:pt x="0" y="18371"/>
                  </a:lnTo>
                  <a:lnTo>
                    <a:pt x="3121" y="18371"/>
                  </a:lnTo>
                  <a:lnTo>
                    <a:pt x="3617" y="19910"/>
                  </a:lnTo>
                  <a:lnTo>
                    <a:pt x="6028" y="19910"/>
                  </a:lnTo>
                  <a:lnTo>
                    <a:pt x="8440" y="17466"/>
                  </a:lnTo>
                  <a:lnTo>
                    <a:pt x="11489" y="14389"/>
                  </a:lnTo>
                  <a:lnTo>
                    <a:pt x="13191" y="13756"/>
                  </a:lnTo>
                  <a:lnTo>
                    <a:pt x="13191" y="17466"/>
                  </a:lnTo>
                  <a:lnTo>
                    <a:pt x="17518" y="1991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2" name="Freeform 4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30" y="866"/>
              <a:ext cx="132" cy="55"/>
            </a:xfrm>
            <a:custGeom>
              <a:avLst/>
              <a:gdLst>
                <a:gd name="T0" fmla="*/ 30 w 20000"/>
                <a:gd name="T1" fmla="*/ 34 h 20000"/>
                <a:gd name="T2" fmla="*/ 14 w 20000"/>
                <a:gd name="T3" fmla="*/ 45 h 20000"/>
                <a:gd name="T4" fmla="*/ 0 w 20000"/>
                <a:gd name="T5" fmla="*/ 41 h 20000"/>
                <a:gd name="T6" fmla="*/ 3 w 20000"/>
                <a:gd name="T7" fmla="*/ 27 h 20000"/>
                <a:gd name="T8" fmla="*/ 27 w 20000"/>
                <a:gd name="T9" fmla="*/ 24 h 20000"/>
                <a:gd name="T10" fmla="*/ 44 w 20000"/>
                <a:gd name="T11" fmla="*/ 18 h 20000"/>
                <a:gd name="T12" fmla="*/ 70 w 20000"/>
                <a:gd name="T13" fmla="*/ 7 h 20000"/>
                <a:gd name="T14" fmla="*/ 95 w 20000"/>
                <a:gd name="T15" fmla="*/ 0 h 20000"/>
                <a:gd name="T16" fmla="*/ 115 w 20000"/>
                <a:gd name="T17" fmla="*/ 7 h 20000"/>
                <a:gd name="T18" fmla="*/ 115 w 20000"/>
                <a:gd name="T19" fmla="*/ 0 h 20000"/>
                <a:gd name="T20" fmla="*/ 125 w 20000"/>
                <a:gd name="T21" fmla="*/ 4 h 20000"/>
                <a:gd name="T22" fmla="*/ 132 w 20000"/>
                <a:gd name="T23" fmla="*/ 14 h 20000"/>
                <a:gd name="T24" fmla="*/ 115 w 20000"/>
                <a:gd name="T25" fmla="*/ 20 h 20000"/>
                <a:gd name="T26" fmla="*/ 111 w 20000"/>
                <a:gd name="T27" fmla="*/ 31 h 20000"/>
                <a:gd name="T28" fmla="*/ 104 w 20000"/>
                <a:gd name="T29" fmla="*/ 31 h 20000"/>
                <a:gd name="T30" fmla="*/ 104 w 20000"/>
                <a:gd name="T31" fmla="*/ 38 h 20000"/>
                <a:gd name="T32" fmla="*/ 84 w 20000"/>
                <a:gd name="T33" fmla="*/ 41 h 20000"/>
                <a:gd name="T34" fmla="*/ 77 w 20000"/>
                <a:gd name="T35" fmla="*/ 48 h 20000"/>
                <a:gd name="T36" fmla="*/ 68 w 20000"/>
                <a:gd name="T37" fmla="*/ 41 h 20000"/>
                <a:gd name="T38" fmla="*/ 84 w 20000"/>
                <a:gd name="T39" fmla="*/ 20 h 20000"/>
                <a:gd name="T40" fmla="*/ 61 w 20000"/>
                <a:gd name="T41" fmla="*/ 31 h 20000"/>
                <a:gd name="T42" fmla="*/ 57 w 20000"/>
                <a:gd name="T43" fmla="*/ 38 h 20000"/>
                <a:gd name="T44" fmla="*/ 47 w 20000"/>
                <a:gd name="T45" fmla="*/ 45 h 20000"/>
                <a:gd name="T46" fmla="*/ 50 w 20000"/>
                <a:gd name="T47" fmla="*/ 38 h 20000"/>
                <a:gd name="T48" fmla="*/ 34 w 20000"/>
                <a:gd name="T49" fmla="*/ 48 h 20000"/>
                <a:gd name="T50" fmla="*/ 20 w 20000"/>
                <a:gd name="T51" fmla="*/ 55 h 20000"/>
                <a:gd name="T52" fmla="*/ 30 w 20000"/>
                <a:gd name="T53" fmla="*/ 34 h 200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0000" h="20000">
                  <a:moveTo>
                    <a:pt x="4545" y="12409"/>
                  </a:moveTo>
                  <a:lnTo>
                    <a:pt x="2061" y="16204"/>
                  </a:lnTo>
                  <a:lnTo>
                    <a:pt x="0" y="14891"/>
                  </a:lnTo>
                  <a:lnTo>
                    <a:pt x="424" y="9927"/>
                  </a:lnTo>
                  <a:lnTo>
                    <a:pt x="4121" y="8905"/>
                  </a:lnTo>
                  <a:lnTo>
                    <a:pt x="6606" y="6423"/>
                  </a:lnTo>
                  <a:lnTo>
                    <a:pt x="10667" y="2482"/>
                  </a:lnTo>
                  <a:lnTo>
                    <a:pt x="14364" y="0"/>
                  </a:lnTo>
                  <a:lnTo>
                    <a:pt x="17455" y="2482"/>
                  </a:lnTo>
                  <a:lnTo>
                    <a:pt x="17455" y="0"/>
                  </a:lnTo>
                  <a:lnTo>
                    <a:pt x="18909" y="1460"/>
                  </a:lnTo>
                  <a:lnTo>
                    <a:pt x="19939" y="4964"/>
                  </a:lnTo>
                  <a:lnTo>
                    <a:pt x="17455" y="7445"/>
                  </a:lnTo>
                  <a:lnTo>
                    <a:pt x="16848" y="11241"/>
                  </a:lnTo>
                  <a:lnTo>
                    <a:pt x="15818" y="11241"/>
                  </a:lnTo>
                  <a:lnTo>
                    <a:pt x="15818" y="13723"/>
                  </a:lnTo>
                  <a:lnTo>
                    <a:pt x="12727" y="14891"/>
                  </a:lnTo>
                  <a:lnTo>
                    <a:pt x="11697" y="17372"/>
                  </a:lnTo>
                  <a:lnTo>
                    <a:pt x="10242" y="14891"/>
                  </a:lnTo>
                  <a:lnTo>
                    <a:pt x="12727" y="7445"/>
                  </a:lnTo>
                  <a:lnTo>
                    <a:pt x="9212" y="11241"/>
                  </a:lnTo>
                  <a:lnTo>
                    <a:pt x="8667" y="13723"/>
                  </a:lnTo>
                  <a:lnTo>
                    <a:pt x="7152" y="16204"/>
                  </a:lnTo>
                  <a:lnTo>
                    <a:pt x="7636" y="13723"/>
                  </a:lnTo>
                  <a:lnTo>
                    <a:pt x="5152" y="17372"/>
                  </a:lnTo>
                  <a:lnTo>
                    <a:pt x="3091" y="19854"/>
                  </a:lnTo>
                  <a:lnTo>
                    <a:pt x="4545" y="1240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3" name="Freeform 4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870" y="967"/>
              <a:ext cx="187" cy="126"/>
            </a:xfrm>
            <a:custGeom>
              <a:avLst/>
              <a:gdLst>
                <a:gd name="T0" fmla="*/ 155 w 20000"/>
                <a:gd name="T1" fmla="*/ 125 h 20000"/>
                <a:gd name="T2" fmla="*/ 166 w 20000"/>
                <a:gd name="T3" fmla="*/ 121 h 20000"/>
                <a:gd name="T4" fmla="*/ 173 w 20000"/>
                <a:gd name="T5" fmla="*/ 111 h 20000"/>
                <a:gd name="T6" fmla="*/ 187 w 20000"/>
                <a:gd name="T7" fmla="*/ 104 h 20000"/>
                <a:gd name="T8" fmla="*/ 187 w 20000"/>
                <a:gd name="T9" fmla="*/ 97 h 20000"/>
                <a:gd name="T10" fmla="*/ 173 w 20000"/>
                <a:gd name="T11" fmla="*/ 88 h 20000"/>
                <a:gd name="T12" fmla="*/ 149 w 20000"/>
                <a:gd name="T13" fmla="*/ 81 h 20000"/>
                <a:gd name="T14" fmla="*/ 129 w 20000"/>
                <a:gd name="T15" fmla="*/ 84 h 20000"/>
                <a:gd name="T16" fmla="*/ 101 w 20000"/>
                <a:gd name="T17" fmla="*/ 84 h 20000"/>
                <a:gd name="T18" fmla="*/ 84 w 20000"/>
                <a:gd name="T19" fmla="*/ 77 h 20000"/>
                <a:gd name="T20" fmla="*/ 68 w 20000"/>
                <a:gd name="T21" fmla="*/ 74 h 20000"/>
                <a:gd name="T22" fmla="*/ 61 w 20000"/>
                <a:gd name="T23" fmla="*/ 61 h 20000"/>
                <a:gd name="T24" fmla="*/ 61 w 20000"/>
                <a:gd name="T25" fmla="*/ 54 h 20000"/>
                <a:gd name="T26" fmla="*/ 64 w 20000"/>
                <a:gd name="T27" fmla="*/ 47 h 20000"/>
                <a:gd name="T28" fmla="*/ 74 w 20000"/>
                <a:gd name="T29" fmla="*/ 47 h 20000"/>
                <a:gd name="T30" fmla="*/ 68 w 20000"/>
                <a:gd name="T31" fmla="*/ 34 h 20000"/>
                <a:gd name="T32" fmla="*/ 50 w 20000"/>
                <a:gd name="T33" fmla="*/ 20 h 20000"/>
                <a:gd name="T34" fmla="*/ 41 w 20000"/>
                <a:gd name="T35" fmla="*/ 14 h 20000"/>
                <a:gd name="T36" fmla="*/ 20 w 20000"/>
                <a:gd name="T37" fmla="*/ 0 h 20000"/>
                <a:gd name="T38" fmla="*/ 3 w 20000"/>
                <a:gd name="T39" fmla="*/ 0 h 20000"/>
                <a:gd name="T40" fmla="*/ 0 w 20000"/>
                <a:gd name="T41" fmla="*/ 14 h 20000"/>
                <a:gd name="T42" fmla="*/ 7 w 20000"/>
                <a:gd name="T43" fmla="*/ 27 h 20000"/>
                <a:gd name="T44" fmla="*/ 23 w 20000"/>
                <a:gd name="T45" fmla="*/ 34 h 20000"/>
                <a:gd name="T46" fmla="*/ 27 w 20000"/>
                <a:gd name="T47" fmla="*/ 44 h 20000"/>
                <a:gd name="T48" fmla="*/ 23 w 20000"/>
                <a:gd name="T49" fmla="*/ 61 h 20000"/>
                <a:gd name="T50" fmla="*/ 16 w 20000"/>
                <a:gd name="T51" fmla="*/ 74 h 20000"/>
                <a:gd name="T52" fmla="*/ 10 w 20000"/>
                <a:gd name="T53" fmla="*/ 88 h 20000"/>
                <a:gd name="T54" fmla="*/ 27 w 20000"/>
                <a:gd name="T55" fmla="*/ 101 h 20000"/>
                <a:gd name="T56" fmla="*/ 54 w 20000"/>
                <a:gd name="T57" fmla="*/ 108 h 20000"/>
                <a:gd name="T58" fmla="*/ 84 w 20000"/>
                <a:gd name="T59" fmla="*/ 115 h 20000"/>
                <a:gd name="T60" fmla="*/ 111 w 20000"/>
                <a:gd name="T61" fmla="*/ 118 h 20000"/>
                <a:gd name="T62" fmla="*/ 131 w 20000"/>
                <a:gd name="T63" fmla="*/ 125 h 20000"/>
                <a:gd name="T64" fmla="*/ 155 w 20000"/>
                <a:gd name="T65" fmla="*/ 125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0000" h="20000">
                  <a:moveTo>
                    <a:pt x="16624" y="19936"/>
                  </a:moveTo>
                  <a:lnTo>
                    <a:pt x="17778" y="19425"/>
                  </a:lnTo>
                  <a:lnTo>
                    <a:pt x="18504" y="17764"/>
                  </a:lnTo>
                  <a:lnTo>
                    <a:pt x="19957" y="16677"/>
                  </a:lnTo>
                  <a:lnTo>
                    <a:pt x="19957" y="15591"/>
                  </a:lnTo>
                  <a:lnTo>
                    <a:pt x="18504" y="14058"/>
                  </a:lnTo>
                  <a:lnTo>
                    <a:pt x="15897" y="12971"/>
                  </a:lnTo>
                  <a:lnTo>
                    <a:pt x="13761" y="13419"/>
                  </a:lnTo>
                  <a:lnTo>
                    <a:pt x="10855" y="13419"/>
                  </a:lnTo>
                  <a:lnTo>
                    <a:pt x="8974" y="12332"/>
                  </a:lnTo>
                  <a:lnTo>
                    <a:pt x="7222" y="11885"/>
                  </a:lnTo>
                  <a:lnTo>
                    <a:pt x="6496" y="9712"/>
                  </a:lnTo>
                  <a:lnTo>
                    <a:pt x="6496" y="8626"/>
                  </a:lnTo>
                  <a:lnTo>
                    <a:pt x="6838" y="7540"/>
                  </a:lnTo>
                  <a:lnTo>
                    <a:pt x="7949" y="7540"/>
                  </a:lnTo>
                  <a:lnTo>
                    <a:pt x="7222" y="5431"/>
                  </a:lnTo>
                  <a:lnTo>
                    <a:pt x="5385" y="3259"/>
                  </a:lnTo>
                  <a:lnTo>
                    <a:pt x="4359" y="2173"/>
                  </a:lnTo>
                  <a:lnTo>
                    <a:pt x="2179" y="0"/>
                  </a:lnTo>
                  <a:lnTo>
                    <a:pt x="299" y="0"/>
                  </a:lnTo>
                  <a:lnTo>
                    <a:pt x="0" y="2173"/>
                  </a:lnTo>
                  <a:lnTo>
                    <a:pt x="726" y="4345"/>
                  </a:lnTo>
                  <a:lnTo>
                    <a:pt x="2479" y="5431"/>
                  </a:lnTo>
                  <a:lnTo>
                    <a:pt x="2906" y="6965"/>
                  </a:lnTo>
                  <a:lnTo>
                    <a:pt x="2479" y="9712"/>
                  </a:lnTo>
                  <a:lnTo>
                    <a:pt x="1752" y="11885"/>
                  </a:lnTo>
                  <a:lnTo>
                    <a:pt x="1026" y="14058"/>
                  </a:lnTo>
                  <a:lnTo>
                    <a:pt x="2906" y="16230"/>
                  </a:lnTo>
                  <a:lnTo>
                    <a:pt x="5769" y="17316"/>
                  </a:lnTo>
                  <a:lnTo>
                    <a:pt x="8974" y="18339"/>
                  </a:lnTo>
                  <a:lnTo>
                    <a:pt x="11880" y="18850"/>
                  </a:lnTo>
                  <a:lnTo>
                    <a:pt x="14060" y="19936"/>
                  </a:lnTo>
                  <a:lnTo>
                    <a:pt x="16624" y="1993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4" name="Freeform 4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080" y="1820"/>
              <a:ext cx="108" cy="126"/>
            </a:xfrm>
            <a:custGeom>
              <a:avLst/>
              <a:gdLst>
                <a:gd name="T0" fmla="*/ 95 w 20000"/>
                <a:gd name="T1" fmla="*/ 126 h 20000"/>
                <a:gd name="T2" fmla="*/ 105 w 20000"/>
                <a:gd name="T3" fmla="*/ 108 h 20000"/>
                <a:gd name="T4" fmla="*/ 109 w 20000"/>
                <a:gd name="T5" fmla="*/ 98 h 20000"/>
                <a:gd name="T6" fmla="*/ 109 w 20000"/>
                <a:gd name="T7" fmla="*/ 88 h 20000"/>
                <a:gd name="T8" fmla="*/ 105 w 20000"/>
                <a:gd name="T9" fmla="*/ 78 h 20000"/>
                <a:gd name="T10" fmla="*/ 95 w 20000"/>
                <a:gd name="T11" fmla="*/ 81 h 20000"/>
                <a:gd name="T12" fmla="*/ 95 w 20000"/>
                <a:gd name="T13" fmla="*/ 71 h 20000"/>
                <a:gd name="T14" fmla="*/ 102 w 20000"/>
                <a:gd name="T15" fmla="*/ 61 h 20000"/>
                <a:gd name="T16" fmla="*/ 81 w 20000"/>
                <a:gd name="T17" fmla="*/ 54 h 20000"/>
                <a:gd name="T18" fmla="*/ 61 w 20000"/>
                <a:gd name="T19" fmla="*/ 54 h 20000"/>
                <a:gd name="T20" fmla="*/ 68 w 20000"/>
                <a:gd name="T21" fmla="*/ 44 h 20000"/>
                <a:gd name="T22" fmla="*/ 61 w 20000"/>
                <a:gd name="T23" fmla="*/ 41 h 20000"/>
                <a:gd name="T24" fmla="*/ 47 w 20000"/>
                <a:gd name="T25" fmla="*/ 47 h 20000"/>
                <a:gd name="T26" fmla="*/ 75 w 20000"/>
                <a:gd name="T27" fmla="*/ 18 h 20000"/>
                <a:gd name="T28" fmla="*/ 85 w 20000"/>
                <a:gd name="T29" fmla="*/ 0 h 20000"/>
                <a:gd name="T30" fmla="*/ 75 w 20000"/>
                <a:gd name="T31" fmla="*/ 4 h 20000"/>
                <a:gd name="T32" fmla="*/ 54 w 20000"/>
                <a:gd name="T33" fmla="*/ 11 h 20000"/>
                <a:gd name="T34" fmla="*/ 40 w 20000"/>
                <a:gd name="T35" fmla="*/ 34 h 20000"/>
                <a:gd name="T36" fmla="*/ 24 w 20000"/>
                <a:gd name="T37" fmla="*/ 54 h 20000"/>
                <a:gd name="T38" fmla="*/ 24 w 20000"/>
                <a:gd name="T39" fmla="*/ 61 h 20000"/>
                <a:gd name="T40" fmla="*/ 4 w 20000"/>
                <a:gd name="T41" fmla="*/ 74 h 20000"/>
                <a:gd name="T42" fmla="*/ 14 w 20000"/>
                <a:gd name="T43" fmla="*/ 78 h 20000"/>
                <a:gd name="T44" fmla="*/ 0 w 20000"/>
                <a:gd name="T45" fmla="*/ 88 h 20000"/>
                <a:gd name="T46" fmla="*/ 0 w 20000"/>
                <a:gd name="T47" fmla="*/ 98 h 20000"/>
                <a:gd name="T48" fmla="*/ 51 w 20000"/>
                <a:gd name="T49" fmla="*/ 101 h 20000"/>
                <a:gd name="T50" fmla="*/ 68 w 20000"/>
                <a:gd name="T51" fmla="*/ 101 h 20000"/>
                <a:gd name="T52" fmla="*/ 51 w 20000"/>
                <a:gd name="T53" fmla="*/ 115 h 20000"/>
                <a:gd name="T54" fmla="*/ 75 w 20000"/>
                <a:gd name="T55" fmla="*/ 108 h 20000"/>
                <a:gd name="T56" fmla="*/ 85 w 20000"/>
                <a:gd name="T57" fmla="*/ 98 h 20000"/>
                <a:gd name="T58" fmla="*/ 88 w 20000"/>
                <a:gd name="T59" fmla="*/ 101 h 20000"/>
                <a:gd name="T60" fmla="*/ 81 w 20000"/>
                <a:gd name="T61" fmla="*/ 119 h 20000"/>
                <a:gd name="T62" fmla="*/ 95 w 20000"/>
                <a:gd name="T63" fmla="*/ 126 h 2000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0000" h="20000">
                  <a:moveTo>
                    <a:pt x="17426" y="19937"/>
                  </a:moveTo>
                  <a:lnTo>
                    <a:pt x="19338" y="17152"/>
                  </a:lnTo>
                  <a:lnTo>
                    <a:pt x="19926" y="15633"/>
                  </a:lnTo>
                  <a:lnTo>
                    <a:pt x="19926" y="13924"/>
                  </a:lnTo>
                  <a:lnTo>
                    <a:pt x="19338" y="12405"/>
                  </a:lnTo>
                  <a:lnTo>
                    <a:pt x="17426" y="12848"/>
                  </a:lnTo>
                  <a:lnTo>
                    <a:pt x="17426" y="11329"/>
                  </a:lnTo>
                  <a:lnTo>
                    <a:pt x="18676" y="9620"/>
                  </a:lnTo>
                  <a:lnTo>
                    <a:pt x="14926" y="8608"/>
                  </a:lnTo>
                  <a:lnTo>
                    <a:pt x="11176" y="8608"/>
                  </a:lnTo>
                  <a:lnTo>
                    <a:pt x="12426" y="7025"/>
                  </a:lnTo>
                  <a:lnTo>
                    <a:pt x="11176" y="6456"/>
                  </a:lnTo>
                  <a:lnTo>
                    <a:pt x="8676" y="7532"/>
                  </a:lnTo>
                  <a:lnTo>
                    <a:pt x="13676" y="2785"/>
                  </a:lnTo>
                  <a:lnTo>
                    <a:pt x="15662" y="0"/>
                  </a:lnTo>
                  <a:lnTo>
                    <a:pt x="13676" y="633"/>
                  </a:lnTo>
                  <a:lnTo>
                    <a:pt x="9926" y="1709"/>
                  </a:lnTo>
                  <a:lnTo>
                    <a:pt x="7426" y="5380"/>
                  </a:lnTo>
                  <a:lnTo>
                    <a:pt x="4412" y="8608"/>
                  </a:lnTo>
                  <a:lnTo>
                    <a:pt x="4412" y="9620"/>
                  </a:lnTo>
                  <a:lnTo>
                    <a:pt x="735" y="11772"/>
                  </a:lnTo>
                  <a:lnTo>
                    <a:pt x="2500" y="12405"/>
                  </a:lnTo>
                  <a:lnTo>
                    <a:pt x="0" y="13924"/>
                  </a:lnTo>
                  <a:lnTo>
                    <a:pt x="0" y="15633"/>
                  </a:lnTo>
                  <a:lnTo>
                    <a:pt x="9412" y="16076"/>
                  </a:lnTo>
                  <a:lnTo>
                    <a:pt x="12426" y="16076"/>
                  </a:lnTo>
                  <a:lnTo>
                    <a:pt x="9412" y="18228"/>
                  </a:lnTo>
                  <a:lnTo>
                    <a:pt x="13676" y="17152"/>
                  </a:lnTo>
                  <a:lnTo>
                    <a:pt x="15662" y="15633"/>
                  </a:lnTo>
                  <a:lnTo>
                    <a:pt x="16176" y="16076"/>
                  </a:lnTo>
                  <a:lnTo>
                    <a:pt x="14926" y="18861"/>
                  </a:lnTo>
                  <a:lnTo>
                    <a:pt x="17426" y="1993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5" name="Freeform 4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64" y="914"/>
              <a:ext cx="165" cy="92"/>
            </a:xfrm>
            <a:custGeom>
              <a:avLst/>
              <a:gdLst>
                <a:gd name="T0" fmla="*/ 135 w 20000"/>
                <a:gd name="T1" fmla="*/ 91 h 20000"/>
                <a:gd name="T2" fmla="*/ 153 w 20000"/>
                <a:gd name="T3" fmla="*/ 81 h 20000"/>
                <a:gd name="T4" fmla="*/ 167 w 20000"/>
                <a:gd name="T5" fmla="*/ 61 h 20000"/>
                <a:gd name="T6" fmla="*/ 163 w 20000"/>
                <a:gd name="T7" fmla="*/ 50 h 20000"/>
                <a:gd name="T8" fmla="*/ 149 w 20000"/>
                <a:gd name="T9" fmla="*/ 57 h 20000"/>
                <a:gd name="T10" fmla="*/ 146 w 20000"/>
                <a:gd name="T11" fmla="*/ 47 h 20000"/>
                <a:gd name="T12" fmla="*/ 153 w 20000"/>
                <a:gd name="T13" fmla="*/ 27 h 20000"/>
                <a:gd name="T14" fmla="*/ 160 w 20000"/>
                <a:gd name="T15" fmla="*/ 10 h 20000"/>
                <a:gd name="T16" fmla="*/ 139 w 20000"/>
                <a:gd name="T17" fmla="*/ 20 h 20000"/>
                <a:gd name="T18" fmla="*/ 129 w 20000"/>
                <a:gd name="T19" fmla="*/ 37 h 20000"/>
                <a:gd name="T20" fmla="*/ 122 w 20000"/>
                <a:gd name="T21" fmla="*/ 50 h 20000"/>
                <a:gd name="T22" fmla="*/ 111 w 20000"/>
                <a:gd name="T23" fmla="*/ 61 h 20000"/>
                <a:gd name="T24" fmla="*/ 98 w 20000"/>
                <a:gd name="T25" fmla="*/ 54 h 20000"/>
                <a:gd name="T26" fmla="*/ 88 w 20000"/>
                <a:gd name="T27" fmla="*/ 50 h 20000"/>
                <a:gd name="T28" fmla="*/ 91 w 20000"/>
                <a:gd name="T29" fmla="*/ 37 h 20000"/>
                <a:gd name="T30" fmla="*/ 95 w 20000"/>
                <a:gd name="T31" fmla="*/ 23 h 20000"/>
                <a:gd name="T32" fmla="*/ 88 w 20000"/>
                <a:gd name="T33" fmla="*/ 16 h 20000"/>
                <a:gd name="T34" fmla="*/ 77 w 20000"/>
                <a:gd name="T35" fmla="*/ 16 h 20000"/>
                <a:gd name="T36" fmla="*/ 77 w 20000"/>
                <a:gd name="T37" fmla="*/ 0 h 20000"/>
                <a:gd name="T38" fmla="*/ 57 w 20000"/>
                <a:gd name="T39" fmla="*/ 4 h 20000"/>
                <a:gd name="T40" fmla="*/ 37 w 20000"/>
                <a:gd name="T41" fmla="*/ 14 h 20000"/>
                <a:gd name="T42" fmla="*/ 23 w 20000"/>
                <a:gd name="T43" fmla="*/ 27 h 20000"/>
                <a:gd name="T44" fmla="*/ 0 w 20000"/>
                <a:gd name="T45" fmla="*/ 37 h 20000"/>
                <a:gd name="T46" fmla="*/ 10 w 20000"/>
                <a:gd name="T47" fmla="*/ 54 h 20000"/>
                <a:gd name="T48" fmla="*/ 27 w 20000"/>
                <a:gd name="T49" fmla="*/ 57 h 20000"/>
                <a:gd name="T50" fmla="*/ 54 w 20000"/>
                <a:gd name="T51" fmla="*/ 43 h 20000"/>
                <a:gd name="T52" fmla="*/ 57 w 20000"/>
                <a:gd name="T53" fmla="*/ 47 h 20000"/>
                <a:gd name="T54" fmla="*/ 44 w 20000"/>
                <a:gd name="T55" fmla="*/ 57 h 20000"/>
                <a:gd name="T56" fmla="*/ 81 w 20000"/>
                <a:gd name="T57" fmla="*/ 61 h 20000"/>
                <a:gd name="T58" fmla="*/ 68 w 20000"/>
                <a:gd name="T59" fmla="*/ 70 h 20000"/>
                <a:gd name="T60" fmla="*/ 40 w 20000"/>
                <a:gd name="T61" fmla="*/ 70 h 20000"/>
                <a:gd name="T62" fmla="*/ 20 w 20000"/>
                <a:gd name="T63" fmla="*/ 74 h 20000"/>
                <a:gd name="T64" fmla="*/ 30 w 20000"/>
                <a:gd name="T65" fmla="*/ 87 h 20000"/>
                <a:gd name="T66" fmla="*/ 105 w 20000"/>
                <a:gd name="T67" fmla="*/ 77 h 20000"/>
                <a:gd name="T68" fmla="*/ 102 w 20000"/>
                <a:gd name="T69" fmla="*/ 84 h 20000"/>
                <a:gd name="T70" fmla="*/ 135 w 20000"/>
                <a:gd name="T71" fmla="*/ 91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0000" h="20000">
                  <a:moveTo>
                    <a:pt x="16211" y="19913"/>
                  </a:moveTo>
                  <a:lnTo>
                    <a:pt x="18321" y="17729"/>
                  </a:lnTo>
                  <a:lnTo>
                    <a:pt x="19952" y="13362"/>
                  </a:lnTo>
                  <a:lnTo>
                    <a:pt x="19472" y="11004"/>
                  </a:lnTo>
                  <a:lnTo>
                    <a:pt x="17842" y="12489"/>
                  </a:lnTo>
                  <a:lnTo>
                    <a:pt x="17506" y="10393"/>
                  </a:lnTo>
                  <a:lnTo>
                    <a:pt x="18321" y="5939"/>
                  </a:lnTo>
                  <a:lnTo>
                    <a:pt x="19137" y="2096"/>
                  </a:lnTo>
                  <a:lnTo>
                    <a:pt x="16691" y="4454"/>
                  </a:lnTo>
                  <a:lnTo>
                    <a:pt x="15396" y="8035"/>
                  </a:lnTo>
                  <a:lnTo>
                    <a:pt x="14580" y="11004"/>
                  </a:lnTo>
                  <a:lnTo>
                    <a:pt x="13333" y="13362"/>
                  </a:lnTo>
                  <a:lnTo>
                    <a:pt x="11703" y="11878"/>
                  </a:lnTo>
                  <a:lnTo>
                    <a:pt x="10552" y="11004"/>
                  </a:lnTo>
                  <a:lnTo>
                    <a:pt x="10887" y="8035"/>
                  </a:lnTo>
                  <a:lnTo>
                    <a:pt x="11367" y="5066"/>
                  </a:lnTo>
                  <a:lnTo>
                    <a:pt x="10552" y="3581"/>
                  </a:lnTo>
                  <a:lnTo>
                    <a:pt x="9257" y="3581"/>
                  </a:lnTo>
                  <a:lnTo>
                    <a:pt x="9257" y="0"/>
                  </a:lnTo>
                  <a:lnTo>
                    <a:pt x="6859" y="873"/>
                  </a:lnTo>
                  <a:lnTo>
                    <a:pt x="4412" y="2969"/>
                  </a:lnTo>
                  <a:lnTo>
                    <a:pt x="2782" y="5939"/>
                  </a:lnTo>
                  <a:lnTo>
                    <a:pt x="0" y="8035"/>
                  </a:lnTo>
                  <a:lnTo>
                    <a:pt x="1151" y="11878"/>
                  </a:lnTo>
                  <a:lnTo>
                    <a:pt x="3261" y="12489"/>
                  </a:lnTo>
                  <a:lnTo>
                    <a:pt x="6475" y="9520"/>
                  </a:lnTo>
                  <a:lnTo>
                    <a:pt x="6859" y="10393"/>
                  </a:lnTo>
                  <a:lnTo>
                    <a:pt x="5228" y="12489"/>
                  </a:lnTo>
                  <a:lnTo>
                    <a:pt x="9736" y="13362"/>
                  </a:lnTo>
                  <a:lnTo>
                    <a:pt x="8106" y="15459"/>
                  </a:lnTo>
                  <a:lnTo>
                    <a:pt x="4844" y="15459"/>
                  </a:lnTo>
                  <a:lnTo>
                    <a:pt x="2446" y="16245"/>
                  </a:lnTo>
                  <a:lnTo>
                    <a:pt x="3597" y="19214"/>
                  </a:lnTo>
                  <a:lnTo>
                    <a:pt x="12518" y="16943"/>
                  </a:lnTo>
                  <a:lnTo>
                    <a:pt x="12182" y="18428"/>
                  </a:lnTo>
                  <a:lnTo>
                    <a:pt x="16211" y="1991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6" name="Freeform 4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89" y="1066"/>
              <a:ext cx="99" cy="92"/>
            </a:xfrm>
            <a:custGeom>
              <a:avLst/>
              <a:gdLst>
                <a:gd name="T0" fmla="*/ 21 w 20000"/>
                <a:gd name="T1" fmla="*/ 92 h 20000"/>
                <a:gd name="T2" fmla="*/ 31 w 20000"/>
                <a:gd name="T3" fmla="*/ 85 h 20000"/>
                <a:gd name="T4" fmla="*/ 31 w 20000"/>
                <a:gd name="T5" fmla="*/ 78 h 20000"/>
                <a:gd name="T6" fmla="*/ 42 w 20000"/>
                <a:gd name="T7" fmla="*/ 71 h 20000"/>
                <a:gd name="T8" fmla="*/ 38 w 20000"/>
                <a:gd name="T9" fmla="*/ 78 h 20000"/>
                <a:gd name="T10" fmla="*/ 51 w 20000"/>
                <a:gd name="T11" fmla="*/ 81 h 20000"/>
                <a:gd name="T12" fmla="*/ 65 w 20000"/>
                <a:gd name="T13" fmla="*/ 71 h 20000"/>
                <a:gd name="T14" fmla="*/ 78 w 20000"/>
                <a:gd name="T15" fmla="*/ 54 h 20000"/>
                <a:gd name="T16" fmla="*/ 75 w 20000"/>
                <a:gd name="T17" fmla="*/ 34 h 20000"/>
                <a:gd name="T18" fmla="*/ 69 w 20000"/>
                <a:gd name="T19" fmla="*/ 34 h 20000"/>
                <a:gd name="T20" fmla="*/ 62 w 20000"/>
                <a:gd name="T21" fmla="*/ 34 h 20000"/>
                <a:gd name="T22" fmla="*/ 62 w 20000"/>
                <a:gd name="T23" fmla="*/ 27 h 20000"/>
                <a:gd name="T24" fmla="*/ 78 w 20000"/>
                <a:gd name="T25" fmla="*/ 20 h 20000"/>
                <a:gd name="T26" fmla="*/ 85 w 20000"/>
                <a:gd name="T27" fmla="*/ 20 h 20000"/>
                <a:gd name="T28" fmla="*/ 82 w 20000"/>
                <a:gd name="T29" fmla="*/ 18 h 20000"/>
                <a:gd name="T30" fmla="*/ 92 w 20000"/>
                <a:gd name="T31" fmla="*/ 18 h 20000"/>
                <a:gd name="T32" fmla="*/ 99 w 20000"/>
                <a:gd name="T33" fmla="*/ 14 h 20000"/>
                <a:gd name="T34" fmla="*/ 89 w 20000"/>
                <a:gd name="T35" fmla="*/ 7 h 20000"/>
                <a:gd name="T36" fmla="*/ 69 w 20000"/>
                <a:gd name="T37" fmla="*/ 11 h 20000"/>
                <a:gd name="T38" fmla="*/ 58 w 20000"/>
                <a:gd name="T39" fmla="*/ 0 h 20000"/>
                <a:gd name="T40" fmla="*/ 48 w 20000"/>
                <a:gd name="T41" fmla="*/ 0 h 20000"/>
                <a:gd name="T42" fmla="*/ 38 w 20000"/>
                <a:gd name="T43" fmla="*/ 7 h 20000"/>
                <a:gd name="T44" fmla="*/ 48 w 20000"/>
                <a:gd name="T45" fmla="*/ 14 h 20000"/>
                <a:gd name="T46" fmla="*/ 48 w 20000"/>
                <a:gd name="T47" fmla="*/ 20 h 20000"/>
                <a:gd name="T48" fmla="*/ 38 w 20000"/>
                <a:gd name="T49" fmla="*/ 20 h 20000"/>
                <a:gd name="T50" fmla="*/ 31 w 20000"/>
                <a:gd name="T51" fmla="*/ 31 h 20000"/>
                <a:gd name="T52" fmla="*/ 21 w 20000"/>
                <a:gd name="T53" fmla="*/ 41 h 20000"/>
                <a:gd name="T54" fmla="*/ 14 w 20000"/>
                <a:gd name="T55" fmla="*/ 34 h 20000"/>
                <a:gd name="T56" fmla="*/ 14 w 20000"/>
                <a:gd name="T57" fmla="*/ 18 h 20000"/>
                <a:gd name="T58" fmla="*/ 0 w 20000"/>
                <a:gd name="T59" fmla="*/ 24 h 20000"/>
                <a:gd name="T60" fmla="*/ 0 w 20000"/>
                <a:gd name="T61" fmla="*/ 41 h 20000"/>
                <a:gd name="T62" fmla="*/ 11 w 20000"/>
                <a:gd name="T63" fmla="*/ 51 h 20000"/>
                <a:gd name="T64" fmla="*/ 14 w 20000"/>
                <a:gd name="T65" fmla="*/ 61 h 20000"/>
                <a:gd name="T66" fmla="*/ 18 w 20000"/>
                <a:gd name="T67" fmla="*/ 74 h 20000"/>
                <a:gd name="T68" fmla="*/ 14 w 20000"/>
                <a:gd name="T69" fmla="*/ 88 h 20000"/>
                <a:gd name="T70" fmla="*/ 21 w 20000"/>
                <a:gd name="T71" fmla="*/ 92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0000" h="20000">
                  <a:moveTo>
                    <a:pt x="4274" y="19913"/>
                  </a:moveTo>
                  <a:lnTo>
                    <a:pt x="6210" y="18442"/>
                  </a:lnTo>
                  <a:lnTo>
                    <a:pt x="6210" y="16970"/>
                  </a:lnTo>
                  <a:lnTo>
                    <a:pt x="8387" y="15498"/>
                  </a:lnTo>
                  <a:lnTo>
                    <a:pt x="7581" y="16970"/>
                  </a:lnTo>
                  <a:lnTo>
                    <a:pt x="10323" y="17576"/>
                  </a:lnTo>
                  <a:lnTo>
                    <a:pt x="13065" y="15498"/>
                  </a:lnTo>
                  <a:lnTo>
                    <a:pt x="15806" y="11688"/>
                  </a:lnTo>
                  <a:lnTo>
                    <a:pt x="15242" y="7359"/>
                  </a:lnTo>
                  <a:lnTo>
                    <a:pt x="13871" y="7359"/>
                  </a:lnTo>
                  <a:lnTo>
                    <a:pt x="12500" y="7359"/>
                  </a:lnTo>
                  <a:lnTo>
                    <a:pt x="12500" y="5887"/>
                  </a:lnTo>
                  <a:lnTo>
                    <a:pt x="15806" y="4416"/>
                  </a:lnTo>
                  <a:lnTo>
                    <a:pt x="17177" y="4416"/>
                  </a:lnTo>
                  <a:lnTo>
                    <a:pt x="16532" y="3810"/>
                  </a:lnTo>
                  <a:lnTo>
                    <a:pt x="18548" y="3810"/>
                  </a:lnTo>
                  <a:lnTo>
                    <a:pt x="19919" y="2944"/>
                  </a:lnTo>
                  <a:lnTo>
                    <a:pt x="17903" y="1472"/>
                  </a:lnTo>
                  <a:lnTo>
                    <a:pt x="13871" y="2338"/>
                  </a:lnTo>
                  <a:lnTo>
                    <a:pt x="11694" y="0"/>
                  </a:lnTo>
                  <a:lnTo>
                    <a:pt x="9758" y="0"/>
                  </a:lnTo>
                  <a:lnTo>
                    <a:pt x="7581" y="1472"/>
                  </a:lnTo>
                  <a:lnTo>
                    <a:pt x="9758" y="2944"/>
                  </a:lnTo>
                  <a:lnTo>
                    <a:pt x="9758" y="4416"/>
                  </a:lnTo>
                  <a:lnTo>
                    <a:pt x="7581" y="4416"/>
                  </a:lnTo>
                  <a:lnTo>
                    <a:pt x="6210" y="6667"/>
                  </a:lnTo>
                  <a:lnTo>
                    <a:pt x="4274" y="8831"/>
                  </a:lnTo>
                  <a:lnTo>
                    <a:pt x="2903" y="7359"/>
                  </a:lnTo>
                  <a:lnTo>
                    <a:pt x="2903" y="3810"/>
                  </a:lnTo>
                  <a:lnTo>
                    <a:pt x="0" y="5195"/>
                  </a:lnTo>
                  <a:lnTo>
                    <a:pt x="0" y="8831"/>
                  </a:lnTo>
                  <a:lnTo>
                    <a:pt x="2177" y="11082"/>
                  </a:lnTo>
                  <a:lnTo>
                    <a:pt x="2903" y="13160"/>
                  </a:lnTo>
                  <a:lnTo>
                    <a:pt x="3548" y="16104"/>
                  </a:lnTo>
                  <a:lnTo>
                    <a:pt x="2903" y="19048"/>
                  </a:lnTo>
                  <a:lnTo>
                    <a:pt x="4274" y="1991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7" name="Freeform 5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65" y="785"/>
              <a:ext cx="126" cy="157"/>
            </a:xfrm>
            <a:custGeom>
              <a:avLst/>
              <a:gdLst>
                <a:gd name="T0" fmla="*/ 43 w 20000"/>
                <a:gd name="T1" fmla="*/ 157 h 20000"/>
                <a:gd name="T2" fmla="*/ 57 w 20000"/>
                <a:gd name="T3" fmla="*/ 146 h 20000"/>
                <a:gd name="T4" fmla="*/ 67 w 20000"/>
                <a:gd name="T5" fmla="*/ 143 h 20000"/>
                <a:gd name="T6" fmla="*/ 71 w 20000"/>
                <a:gd name="T7" fmla="*/ 129 h 20000"/>
                <a:gd name="T8" fmla="*/ 85 w 20000"/>
                <a:gd name="T9" fmla="*/ 120 h 20000"/>
                <a:gd name="T10" fmla="*/ 78 w 20000"/>
                <a:gd name="T11" fmla="*/ 136 h 20000"/>
                <a:gd name="T12" fmla="*/ 98 w 20000"/>
                <a:gd name="T13" fmla="*/ 129 h 20000"/>
                <a:gd name="T14" fmla="*/ 115 w 20000"/>
                <a:gd name="T15" fmla="*/ 122 h 20000"/>
                <a:gd name="T16" fmla="*/ 126 w 20000"/>
                <a:gd name="T17" fmla="*/ 122 h 20000"/>
                <a:gd name="T18" fmla="*/ 119 w 20000"/>
                <a:gd name="T19" fmla="*/ 102 h 20000"/>
                <a:gd name="T20" fmla="*/ 105 w 20000"/>
                <a:gd name="T21" fmla="*/ 106 h 20000"/>
                <a:gd name="T22" fmla="*/ 119 w 20000"/>
                <a:gd name="T23" fmla="*/ 82 h 20000"/>
                <a:gd name="T24" fmla="*/ 108 w 20000"/>
                <a:gd name="T25" fmla="*/ 72 h 20000"/>
                <a:gd name="T26" fmla="*/ 112 w 20000"/>
                <a:gd name="T27" fmla="*/ 55 h 20000"/>
                <a:gd name="T28" fmla="*/ 105 w 20000"/>
                <a:gd name="T29" fmla="*/ 48 h 20000"/>
                <a:gd name="T30" fmla="*/ 105 w 20000"/>
                <a:gd name="T31" fmla="*/ 27 h 20000"/>
                <a:gd name="T32" fmla="*/ 112 w 20000"/>
                <a:gd name="T33" fmla="*/ 14 h 20000"/>
                <a:gd name="T34" fmla="*/ 98 w 20000"/>
                <a:gd name="T35" fmla="*/ 0 h 20000"/>
                <a:gd name="T36" fmla="*/ 74 w 20000"/>
                <a:gd name="T37" fmla="*/ 18 h 20000"/>
                <a:gd name="T38" fmla="*/ 61 w 20000"/>
                <a:gd name="T39" fmla="*/ 24 h 20000"/>
                <a:gd name="T40" fmla="*/ 67 w 20000"/>
                <a:gd name="T41" fmla="*/ 31 h 20000"/>
                <a:gd name="T42" fmla="*/ 61 w 20000"/>
                <a:gd name="T43" fmla="*/ 38 h 20000"/>
                <a:gd name="T44" fmla="*/ 41 w 20000"/>
                <a:gd name="T45" fmla="*/ 31 h 20000"/>
                <a:gd name="T46" fmla="*/ 27 w 20000"/>
                <a:gd name="T47" fmla="*/ 41 h 20000"/>
                <a:gd name="T48" fmla="*/ 34 w 20000"/>
                <a:gd name="T49" fmla="*/ 51 h 20000"/>
                <a:gd name="T50" fmla="*/ 50 w 20000"/>
                <a:gd name="T51" fmla="*/ 51 h 20000"/>
                <a:gd name="T52" fmla="*/ 34 w 20000"/>
                <a:gd name="T53" fmla="*/ 61 h 20000"/>
                <a:gd name="T54" fmla="*/ 16 w 20000"/>
                <a:gd name="T55" fmla="*/ 51 h 20000"/>
                <a:gd name="T56" fmla="*/ 3 w 20000"/>
                <a:gd name="T57" fmla="*/ 75 h 20000"/>
                <a:gd name="T58" fmla="*/ 27 w 20000"/>
                <a:gd name="T59" fmla="*/ 75 h 20000"/>
                <a:gd name="T60" fmla="*/ 3 w 20000"/>
                <a:gd name="T61" fmla="*/ 88 h 20000"/>
                <a:gd name="T62" fmla="*/ 20 w 20000"/>
                <a:gd name="T63" fmla="*/ 92 h 20000"/>
                <a:gd name="T64" fmla="*/ 50 w 20000"/>
                <a:gd name="T65" fmla="*/ 95 h 20000"/>
                <a:gd name="T66" fmla="*/ 54 w 20000"/>
                <a:gd name="T67" fmla="*/ 113 h 20000"/>
                <a:gd name="T68" fmla="*/ 16 w 20000"/>
                <a:gd name="T69" fmla="*/ 106 h 20000"/>
                <a:gd name="T70" fmla="*/ 0 w 20000"/>
                <a:gd name="T71" fmla="*/ 120 h 20000"/>
                <a:gd name="T72" fmla="*/ 0 w 20000"/>
                <a:gd name="T73" fmla="*/ 139 h 20000"/>
                <a:gd name="T74" fmla="*/ 16 w 20000"/>
                <a:gd name="T75" fmla="*/ 150 h 20000"/>
                <a:gd name="T76" fmla="*/ 27 w 20000"/>
                <a:gd name="T77" fmla="*/ 153 h 20000"/>
                <a:gd name="T78" fmla="*/ 43 w 20000"/>
                <a:gd name="T79" fmla="*/ 157 h 200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0000" h="20000">
                  <a:moveTo>
                    <a:pt x="6899" y="19949"/>
                  </a:moveTo>
                  <a:lnTo>
                    <a:pt x="9051" y="18568"/>
                  </a:lnTo>
                  <a:lnTo>
                    <a:pt x="10696" y="18210"/>
                  </a:lnTo>
                  <a:lnTo>
                    <a:pt x="11329" y="16471"/>
                  </a:lnTo>
                  <a:lnTo>
                    <a:pt x="13481" y="15243"/>
                  </a:lnTo>
                  <a:lnTo>
                    <a:pt x="12405" y="17340"/>
                  </a:lnTo>
                  <a:lnTo>
                    <a:pt x="15633" y="16471"/>
                  </a:lnTo>
                  <a:lnTo>
                    <a:pt x="18228" y="15601"/>
                  </a:lnTo>
                  <a:lnTo>
                    <a:pt x="19937" y="15601"/>
                  </a:lnTo>
                  <a:lnTo>
                    <a:pt x="18861" y="12992"/>
                  </a:lnTo>
                  <a:lnTo>
                    <a:pt x="16709" y="13504"/>
                  </a:lnTo>
                  <a:lnTo>
                    <a:pt x="18861" y="10384"/>
                  </a:lnTo>
                  <a:lnTo>
                    <a:pt x="17152" y="9156"/>
                  </a:lnTo>
                  <a:lnTo>
                    <a:pt x="17785" y="6957"/>
                  </a:lnTo>
                  <a:lnTo>
                    <a:pt x="16709" y="6087"/>
                  </a:lnTo>
                  <a:lnTo>
                    <a:pt x="16709" y="3478"/>
                  </a:lnTo>
                  <a:lnTo>
                    <a:pt x="17785" y="1739"/>
                  </a:lnTo>
                  <a:lnTo>
                    <a:pt x="15633" y="0"/>
                  </a:lnTo>
                  <a:lnTo>
                    <a:pt x="11772" y="2251"/>
                  </a:lnTo>
                  <a:lnTo>
                    <a:pt x="9620" y="3069"/>
                  </a:lnTo>
                  <a:lnTo>
                    <a:pt x="10696" y="3939"/>
                  </a:lnTo>
                  <a:lnTo>
                    <a:pt x="9620" y="4808"/>
                  </a:lnTo>
                  <a:lnTo>
                    <a:pt x="6456" y="3939"/>
                  </a:lnTo>
                  <a:lnTo>
                    <a:pt x="4304" y="5217"/>
                  </a:lnTo>
                  <a:lnTo>
                    <a:pt x="5380" y="6547"/>
                  </a:lnTo>
                  <a:lnTo>
                    <a:pt x="7975" y="6547"/>
                  </a:lnTo>
                  <a:lnTo>
                    <a:pt x="5380" y="7775"/>
                  </a:lnTo>
                  <a:lnTo>
                    <a:pt x="2595" y="6547"/>
                  </a:lnTo>
                  <a:lnTo>
                    <a:pt x="443" y="9514"/>
                  </a:lnTo>
                  <a:lnTo>
                    <a:pt x="4304" y="9514"/>
                  </a:lnTo>
                  <a:lnTo>
                    <a:pt x="443" y="11253"/>
                  </a:lnTo>
                  <a:lnTo>
                    <a:pt x="3228" y="11765"/>
                  </a:lnTo>
                  <a:lnTo>
                    <a:pt x="7975" y="12123"/>
                  </a:lnTo>
                  <a:lnTo>
                    <a:pt x="8608" y="14373"/>
                  </a:lnTo>
                  <a:lnTo>
                    <a:pt x="2595" y="13504"/>
                  </a:lnTo>
                  <a:lnTo>
                    <a:pt x="0" y="15243"/>
                  </a:lnTo>
                  <a:lnTo>
                    <a:pt x="0" y="17698"/>
                  </a:lnTo>
                  <a:lnTo>
                    <a:pt x="2595" y="19079"/>
                  </a:lnTo>
                  <a:lnTo>
                    <a:pt x="4304" y="19437"/>
                  </a:lnTo>
                  <a:lnTo>
                    <a:pt x="6899" y="1994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8" name="Freeform 5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54" y="954"/>
              <a:ext cx="188" cy="119"/>
            </a:xfrm>
            <a:custGeom>
              <a:avLst/>
              <a:gdLst>
                <a:gd name="T0" fmla="*/ 24 w 20000"/>
                <a:gd name="T1" fmla="*/ 119 h 20000"/>
                <a:gd name="T2" fmla="*/ 44 w 20000"/>
                <a:gd name="T3" fmla="*/ 112 h 20000"/>
                <a:gd name="T4" fmla="*/ 58 w 20000"/>
                <a:gd name="T5" fmla="*/ 115 h 20000"/>
                <a:gd name="T6" fmla="*/ 68 w 20000"/>
                <a:gd name="T7" fmla="*/ 102 h 20000"/>
                <a:gd name="T8" fmla="*/ 81 w 20000"/>
                <a:gd name="T9" fmla="*/ 88 h 20000"/>
                <a:gd name="T10" fmla="*/ 85 w 20000"/>
                <a:gd name="T11" fmla="*/ 91 h 20000"/>
                <a:gd name="T12" fmla="*/ 99 w 20000"/>
                <a:gd name="T13" fmla="*/ 91 h 20000"/>
                <a:gd name="T14" fmla="*/ 112 w 20000"/>
                <a:gd name="T15" fmla="*/ 82 h 20000"/>
                <a:gd name="T16" fmla="*/ 125 w 20000"/>
                <a:gd name="T17" fmla="*/ 78 h 20000"/>
                <a:gd name="T18" fmla="*/ 149 w 20000"/>
                <a:gd name="T19" fmla="*/ 75 h 20000"/>
                <a:gd name="T20" fmla="*/ 170 w 20000"/>
                <a:gd name="T21" fmla="*/ 71 h 20000"/>
                <a:gd name="T22" fmla="*/ 187 w 20000"/>
                <a:gd name="T23" fmla="*/ 68 h 20000"/>
                <a:gd name="T24" fmla="*/ 180 w 20000"/>
                <a:gd name="T25" fmla="*/ 54 h 20000"/>
                <a:gd name="T26" fmla="*/ 180 w 20000"/>
                <a:gd name="T27" fmla="*/ 34 h 20000"/>
                <a:gd name="T28" fmla="*/ 173 w 20000"/>
                <a:gd name="T29" fmla="*/ 30 h 20000"/>
                <a:gd name="T30" fmla="*/ 159 w 20000"/>
                <a:gd name="T31" fmla="*/ 27 h 20000"/>
                <a:gd name="T32" fmla="*/ 159 w 20000"/>
                <a:gd name="T33" fmla="*/ 30 h 20000"/>
                <a:gd name="T34" fmla="*/ 149 w 20000"/>
                <a:gd name="T35" fmla="*/ 37 h 20000"/>
                <a:gd name="T36" fmla="*/ 153 w 20000"/>
                <a:gd name="T37" fmla="*/ 27 h 20000"/>
                <a:gd name="T38" fmla="*/ 149 w 20000"/>
                <a:gd name="T39" fmla="*/ 27 h 20000"/>
                <a:gd name="T40" fmla="*/ 135 w 20000"/>
                <a:gd name="T41" fmla="*/ 30 h 20000"/>
                <a:gd name="T42" fmla="*/ 146 w 20000"/>
                <a:gd name="T43" fmla="*/ 23 h 20000"/>
                <a:gd name="T44" fmla="*/ 139 w 20000"/>
                <a:gd name="T45" fmla="*/ 16 h 20000"/>
                <a:gd name="T46" fmla="*/ 139 w 20000"/>
                <a:gd name="T47" fmla="*/ 10 h 20000"/>
                <a:gd name="T48" fmla="*/ 112 w 20000"/>
                <a:gd name="T49" fmla="*/ 7 h 20000"/>
                <a:gd name="T50" fmla="*/ 108 w 20000"/>
                <a:gd name="T51" fmla="*/ 3 h 20000"/>
                <a:gd name="T52" fmla="*/ 85 w 20000"/>
                <a:gd name="T53" fmla="*/ 0 h 20000"/>
                <a:gd name="T54" fmla="*/ 74 w 20000"/>
                <a:gd name="T55" fmla="*/ 21 h 20000"/>
                <a:gd name="T56" fmla="*/ 78 w 20000"/>
                <a:gd name="T57" fmla="*/ 27 h 20000"/>
                <a:gd name="T58" fmla="*/ 51 w 20000"/>
                <a:gd name="T59" fmla="*/ 44 h 20000"/>
                <a:gd name="T60" fmla="*/ 47 w 20000"/>
                <a:gd name="T61" fmla="*/ 44 h 20000"/>
                <a:gd name="T62" fmla="*/ 44 w 20000"/>
                <a:gd name="T63" fmla="*/ 44 h 20000"/>
                <a:gd name="T64" fmla="*/ 47 w 20000"/>
                <a:gd name="T65" fmla="*/ 51 h 20000"/>
                <a:gd name="T66" fmla="*/ 44 w 20000"/>
                <a:gd name="T67" fmla="*/ 54 h 20000"/>
                <a:gd name="T68" fmla="*/ 31 w 20000"/>
                <a:gd name="T69" fmla="*/ 54 h 20000"/>
                <a:gd name="T70" fmla="*/ 20 w 20000"/>
                <a:gd name="T71" fmla="*/ 68 h 20000"/>
                <a:gd name="T72" fmla="*/ 0 w 20000"/>
                <a:gd name="T73" fmla="*/ 78 h 20000"/>
                <a:gd name="T74" fmla="*/ 11 w 20000"/>
                <a:gd name="T75" fmla="*/ 88 h 20000"/>
                <a:gd name="T76" fmla="*/ 18 w 20000"/>
                <a:gd name="T77" fmla="*/ 95 h 20000"/>
                <a:gd name="T78" fmla="*/ 18 w 20000"/>
                <a:gd name="T79" fmla="*/ 105 h 20000"/>
                <a:gd name="T80" fmla="*/ 14 w 20000"/>
                <a:gd name="T81" fmla="*/ 119 h 20000"/>
                <a:gd name="T82" fmla="*/ 24 w 20000"/>
                <a:gd name="T83" fmla="*/ 119 h 200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0000" h="20000">
                  <a:moveTo>
                    <a:pt x="2564" y="19932"/>
                  </a:moveTo>
                  <a:lnTo>
                    <a:pt x="4744" y="18784"/>
                  </a:lnTo>
                  <a:lnTo>
                    <a:pt x="6197" y="19392"/>
                  </a:lnTo>
                  <a:lnTo>
                    <a:pt x="7222" y="17162"/>
                  </a:lnTo>
                  <a:lnTo>
                    <a:pt x="8675" y="14865"/>
                  </a:lnTo>
                  <a:lnTo>
                    <a:pt x="9103" y="15338"/>
                  </a:lnTo>
                  <a:lnTo>
                    <a:pt x="10556" y="15338"/>
                  </a:lnTo>
                  <a:lnTo>
                    <a:pt x="11966" y="13716"/>
                  </a:lnTo>
                  <a:lnTo>
                    <a:pt x="13419" y="13041"/>
                  </a:lnTo>
                  <a:lnTo>
                    <a:pt x="15897" y="12568"/>
                  </a:lnTo>
                  <a:lnTo>
                    <a:pt x="18162" y="11892"/>
                  </a:lnTo>
                  <a:lnTo>
                    <a:pt x="19957" y="11419"/>
                  </a:lnTo>
                  <a:lnTo>
                    <a:pt x="19231" y="9122"/>
                  </a:lnTo>
                  <a:lnTo>
                    <a:pt x="19231" y="5743"/>
                  </a:lnTo>
                  <a:lnTo>
                    <a:pt x="18504" y="5068"/>
                  </a:lnTo>
                  <a:lnTo>
                    <a:pt x="17051" y="4595"/>
                  </a:lnTo>
                  <a:lnTo>
                    <a:pt x="17051" y="5068"/>
                  </a:lnTo>
                  <a:lnTo>
                    <a:pt x="15897" y="6216"/>
                  </a:lnTo>
                  <a:lnTo>
                    <a:pt x="16325" y="4595"/>
                  </a:lnTo>
                  <a:lnTo>
                    <a:pt x="15897" y="4595"/>
                  </a:lnTo>
                  <a:lnTo>
                    <a:pt x="14444" y="5068"/>
                  </a:lnTo>
                  <a:lnTo>
                    <a:pt x="15598" y="3919"/>
                  </a:lnTo>
                  <a:lnTo>
                    <a:pt x="14872" y="2770"/>
                  </a:lnTo>
                  <a:lnTo>
                    <a:pt x="14872" y="1622"/>
                  </a:lnTo>
                  <a:lnTo>
                    <a:pt x="11966" y="1149"/>
                  </a:lnTo>
                  <a:lnTo>
                    <a:pt x="11581" y="473"/>
                  </a:lnTo>
                  <a:lnTo>
                    <a:pt x="9103" y="0"/>
                  </a:lnTo>
                  <a:lnTo>
                    <a:pt x="7949" y="3446"/>
                  </a:lnTo>
                  <a:lnTo>
                    <a:pt x="8376" y="4595"/>
                  </a:lnTo>
                  <a:lnTo>
                    <a:pt x="5470" y="7365"/>
                  </a:lnTo>
                  <a:lnTo>
                    <a:pt x="5043" y="7365"/>
                  </a:lnTo>
                  <a:lnTo>
                    <a:pt x="4744" y="7365"/>
                  </a:lnTo>
                  <a:lnTo>
                    <a:pt x="5043" y="8514"/>
                  </a:lnTo>
                  <a:lnTo>
                    <a:pt x="4744" y="9122"/>
                  </a:lnTo>
                  <a:lnTo>
                    <a:pt x="3291" y="9122"/>
                  </a:lnTo>
                  <a:lnTo>
                    <a:pt x="2179" y="11419"/>
                  </a:lnTo>
                  <a:lnTo>
                    <a:pt x="0" y="13041"/>
                  </a:lnTo>
                  <a:lnTo>
                    <a:pt x="1154" y="14865"/>
                  </a:lnTo>
                  <a:lnTo>
                    <a:pt x="1880" y="16014"/>
                  </a:lnTo>
                  <a:lnTo>
                    <a:pt x="1880" y="17635"/>
                  </a:lnTo>
                  <a:lnTo>
                    <a:pt x="1453" y="19932"/>
                  </a:lnTo>
                  <a:lnTo>
                    <a:pt x="2564" y="1993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49" name="Freeform 5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14" y="1029"/>
              <a:ext cx="240" cy="183"/>
            </a:xfrm>
            <a:custGeom>
              <a:avLst/>
              <a:gdLst>
                <a:gd name="T0" fmla="*/ 207 w 20000"/>
                <a:gd name="T1" fmla="*/ 179 h 20000"/>
                <a:gd name="T2" fmla="*/ 191 w 20000"/>
                <a:gd name="T3" fmla="*/ 176 h 20000"/>
                <a:gd name="T4" fmla="*/ 207 w 20000"/>
                <a:gd name="T5" fmla="*/ 158 h 20000"/>
                <a:gd name="T6" fmla="*/ 232 w 20000"/>
                <a:gd name="T7" fmla="*/ 165 h 20000"/>
                <a:gd name="T8" fmla="*/ 232 w 20000"/>
                <a:gd name="T9" fmla="*/ 142 h 20000"/>
                <a:gd name="T10" fmla="*/ 221 w 20000"/>
                <a:gd name="T11" fmla="*/ 131 h 20000"/>
                <a:gd name="T12" fmla="*/ 211 w 20000"/>
                <a:gd name="T13" fmla="*/ 108 h 20000"/>
                <a:gd name="T14" fmla="*/ 225 w 20000"/>
                <a:gd name="T15" fmla="*/ 84 h 20000"/>
                <a:gd name="T16" fmla="*/ 238 w 20000"/>
                <a:gd name="T17" fmla="*/ 54 h 20000"/>
                <a:gd name="T18" fmla="*/ 228 w 20000"/>
                <a:gd name="T19" fmla="*/ 30 h 20000"/>
                <a:gd name="T20" fmla="*/ 205 w 20000"/>
                <a:gd name="T21" fmla="*/ 40 h 20000"/>
                <a:gd name="T22" fmla="*/ 191 w 20000"/>
                <a:gd name="T23" fmla="*/ 74 h 20000"/>
                <a:gd name="T24" fmla="*/ 173 w 20000"/>
                <a:gd name="T25" fmla="*/ 77 h 20000"/>
                <a:gd name="T26" fmla="*/ 187 w 20000"/>
                <a:gd name="T27" fmla="*/ 44 h 20000"/>
                <a:gd name="T28" fmla="*/ 173 w 20000"/>
                <a:gd name="T29" fmla="*/ 27 h 20000"/>
                <a:gd name="T30" fmla="*/ 167 w 20000"/>
                <a:gd name="T31" fmla="*/ 50 h 20000"/>
                <a:gd name="T32" fmla="*/ 137 w 20000"/>
                <a:gd name="T33" fmla="*/ 47 h 20000"/>
                <a:gd name="T34" fmla="*/ 153 w 20000"/>
                <a:gd name="T35" fmla="*/ 34 h 20000"/>
                <a:gd name="T36" fmla="*/ 130 w 20000"/>
                <a:gd name="T37" fmla="*/ 27 h 20000"/>
                <a:gd name="T38" fmla="*/ 126 w 20000"/>
                <a:gd name="T39" fmla="*/ 16 h 20000"/>
                <a:gd name="T40" fmla="*/ 102 w 20000"/>
                <a:gd name="T41" fmla="*/ 3 h 20000"/>
                <a:gd name="T42" fmla="*/ 68 w 20000"/>
                <a:gd name="T43" fmla="*/ 14 h 20000"/>
                <a:gd name="T44" fmla="*/ 47 w 20000"/>
                <a:gd name="T45" fmla="*/ 16 h 20000"/>
                <a:gd name="T46" fmla="*/ 41 w 20000"/>
                <a:gd name="T47" fmla="*/ 27 h 20000"/>
                <a:gd name="T48" fmla="*/ 20 w 20000"/>
                <a:gd name="T49" fmla="*/ 40 h 20000"/>
                <a:gd name="T50" fmla="*/ 27 w 20000"/>
                <a:gd name="T51" fmla="*/ 50 h 20000"/>
                <a:gd name="T52" fmla="*/ 38 w 20000"/>
                <a:gd name="T53" fmla="*/ 61 h 20000"/>
                <a:gd name="T54" fmla="*/ 11 w 20000"/>
                <a:gd name="T55" fmla="*/ 68 h 20000"/>
                <a:gd name="T56" fmla="*/ 41 w 20000"/>
                <a:gd name="T57" fmla="*/ 88 h 20000"/>
                <a:gd name="T58" fmla="*/ 88 w 20000"/>
                <a:gd name="T59" fmla="*/ 104 h 20000"/>
                <a:gd name="T60" fmla="*/ 72 w 20000"/>
                <a:gd name="T61" fmla="*/ 108 h 20000"/>
                <a:gd name="T62" fmla="*/ 31 w 20000"/>
                <a:gd name="T63" fmla="*/ 97 h 20000"/>
                <a:gd name="T64" fmla="*/ 0 w 20000"/>
                <a:gd name="T65" fmla="*/ 108 h 20000"/>
                <a:gd name="T66" fmla="*/ 20 w 20000"/>
                <a:gd name="T67" fmla="*/ 128 h 20000"/>
                <a:gd name="T68" fmla="*/ 31 w 20000"/>
                <a:gd name="T69" fmla="*/ 149 h 20000"/>
                <a:gd name="T70" fmla="*/ 51 w 20000"/>
                <a:gd name="T71" fmla="*/ 162 h 20000"/>
                <a:gd name="T72" fmla="*/ 110 w 20000"/>
                <a:gd name="T73" fmla="*/ 165 h 20000"/>
                <a:gd name="T74" fmla="*/ 146 w 20000"/>
                <a:gd name="T75" fmla="*/ 151 h 20000"/>
                <a:gd name="T76" fmla="*/ 157 w 20000"/>
                <a:gd name="T77" fmla="*/ 176 h 20000"/>
                <a:gd name="T78" fmla="*/ 194 w 20000"/>
                <a:gd name="T79" fmla="*/ 183 h 200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0000" h="20000">
                  <a:moveTo>
                    <a:pt x="16020" y="19956"/>
                  </a:moveTo>
                  <a:lnTo>
                    <a:pt x="17148" y="19520"/>
                  </a:lnTo>
                  <a:lnTo>
                    <a:pt x="17148" y="18472"/>
                  </a:lnTo>
                  <a:lnTo>
                    <a:pt x="15788" y="19214"/>
                  </a:lnTo>
                  <a:lnTo>
                    <a:pt x="16352" y="17293"/>
                  </a:lnTo>
                  <a:lnTo>
                    <a:pt x="17148" y="17293"/>
                  </a:lnTo>
                  <a:lnTo>
                    <a:pt x="18275" y="17293"/>
                  </a:lnTo>
                  <a:lnTo>
                    <a:pt x="19138" y="18035"/>
                  </a:lnTo>
                  <a:lnTo>
                    <a:pt x="19967" y="16550"/>
                  </a:lnTo>
                  <a:lnTo>
                    <a:pt x="19138" y="15502"/>
                  </a:lnTo>
                  <a:lnTo>
                    <a:pt x="18607" y="14017"/>
                  </a:lnTo>
                  <a:lnTo>
                    <a:pt x="18275" y="14367"/>
                  </a:lnTo>
                  <a:lnTo>
                    <a:pt x="17711" y="12882"/>
                  </a:lnTo>
                  <a:lnTo>
                    <a:pt x="17479" y="11834"/>
                  </a:lnTo>
                  <a:lnTo>
                    <a:pt x="18043" y="10655"/>
                  </a:lnTo>
                  <a:lnTo>
                    <a:pt x="18607" y="9170"/>
                  </a:lnTo>
                  <a:lnTo>
                    <a:pt x="19138" y="7380"/>
                  </a:lnTo>
                  <a:lnTo>
                    <a:pt x="19701" y="5895"/>
                  </a:lnTo>
                  <a:lnTo>
                    <a:pt x="19403" y="4760"/>
                  </a:lnTo>
                  <a:lnTo>
                    <a:pt x="18839" y="3275"/>
                  </a:lnTo>
                  <a:lnTo>
                    <a:pt x="18043" y="2969"/>
                  </a:lnTo>
                  <a:lnTo>
                    <a:pt x="16915" y="4410"/>
                  </a:lnTo>
                  <a:lnTo>
                    <a:pt x="16352" y="6245"/>
                  </a:lnTo>
                  <a:lnTo>
                    <a:pt x="15788" y="8122"/>
                  </a:lnTo>
                  <a:lnTo>
                    <a:pt x="14892" y="8865"/>
                  </a:lnTo>
                  <a:lnTo>
                    <a:pt x="14328" y="8428"/>
                  </a:lnTo>
                  <a:lnTo>
                    <a:pt x="14892" y="6638"/>
                  </a:lnTo>
                  <a:lnTo>
                    <a:pt x="15456" y="4760"/>
                  </a:lnTo>
                  <a:lnTo>
                    <a:pt x="14892" y="3275"/>
                  </a:lnTo>
                  <a:lnTo>
                    <a:pt x="14328" y="2969"/>
                  </a:lnTo>
                  <a:lnTo>
                    <a:pt x="14328" y="4410"/>
                  </a:lnTo>
                  <a:lnTo>
                    <a:pt x="13798" y="5502"/>
                  </a:lnTo>
                  <a:lnTo>
                    <a:pt x="12670" y="5153"/>
                  </a:lnTo>
                  <a:lnTo>
                    <a:pt x="11310" y="5153"/>
                  </a:lnTo>
                  <a:lnTo>
                    <a:pt x="12405" y="4410"/>
                  </a:lnTo>
                  <a:lnTo>
                    <a:pt x="12670" y="3712"/>
                  </a:lnTo>
                  <a:lnTo>
                    <a:pt x="11542" y="2533"/>
                  </a:lnTo>
                  <a:lnTo>
                    <a:pt x="10746" y="2969"/>
                  </a:lnTo>
                  <a:lnTo>
                    <a:pt x="9055" y="2969"/>
                  </a:lnTo>
                  <a:lnTo>
                    <a:pt x="10415" y="1790"/>
                  </a:lnTo>
                  <a:lnTo>
                    <a:pt x="10746" y="0"/>
                  </a:lnTo>
                  <a:lnTo>
                    <a:pt x="8425" y="306"/>
                  </a:lnTo>
                  <a:lnTo>
                    <a:pt x="7065" y="742"/>
                  </a:lnTo>
                  <a:lnTo>
                    <a:pt x="5605" y="1485"/>
                  </a:lnTo>
                  <a:lnTo>
                    <a:pt x="4478" y="1485"/>
                  </a:lnTo>
                  <a:lnTo>
                    <a:pt x="3914" y="1790"/>
                  </a:lnTo>
                  <a:lnTo>
                    <a:pt x="4245" y="2533"/>
                  </a:lnTo>
                  <a:lnTo>
                    <a:pt x="3350" y="2969"/>
                  </a:lnTo>
                  <a:lnTo>
                    <a:pt x="2255" y="3275"/>
                  </a:lnTo>
                  <a:lnTo>
                    <a:pt x="1692" y="4410"/>
                  </a:lnTo>
                  <a:lnTo>
                    <a:pt x="2819" y="5153"/>
                  </a:lnTo>
                  <a:lnTo>
                    <a:pt x="2255" y="5502"/>
                  </a:lnTo>
                  <a:lnTo>
                    <a:pt x="5937" y="6638"/>
                  </a:lnTo>
                  <a:lnTo>
                    <a:pt x="3118" y="6638"/>
                  </a:lnTo>
                  <a:lnTo>
                    <a:pt x="1426" y="6638"/>
                  </a:lnTo>
                  <a:lnTo>
                    <a:pt x="896" y="7380"/>
                  </a:lnTo>
                  <a:lnTo>
                    <a:pt x="1128" y="8865"/>
                  </a:lnTo>
                  <a:lnTo>
                    <a:pt x="3350" y="9607"/>
                  </a:lnTo>
                  <a:lnTo>
                    <a:pt x="5373" y="9607"/>
                  </a:lnTo>
                  <a:lnTo>
                    <a:pt x="7297" y="11397"/>
                  </a:lnTo>
                  <a:lnTo>
                    <a:pt x="7861" y="12140"/>
                  </a:lnTo>
                  <a:lnTo>
                    <a:pt x="5937" y="11834"/>
                  </a:lnTo>
                  <a:lnTo>
                    <a:pt x="4478" y="11092"/>
                  </a:lnTo>
                  <a:lnTo>
                    <a:pt x="2554" y="10655"/>
                  </a:lnTo>
                  <a:lnTo>
                    <a:pt x="332" y="10655"/>
                  </a:lnTo>
                  <a:lnTo>
                    <a:pt x="0" y="11834"/>
                  </a:lnTo>
                  <a:lnTo>
                    <a:pt x="332" y="13275"/>
                  </a:lnTo>
                  <a:lnTo>
                    <a:pt x="1692" y="14017"/>
                  </a:lnTo>
                  <a:lnTo>
                    <a:pt x="2819" y="15066"/>
                  </a:lnTo>
                  <a:lnTo>
                    <a:pt x="2554" y="16245"/>
                  </a:lnTo>
                  <a:lnTo>
                    <a:pt x="2554" y="17293"/>
                  </a:lnTo>
                  <a:lnTo>
                    <a:pt x="4245" y="17729"/>
                  </a:lnTo>
                  <a:lnTo>
                    <a:pt x="6733" y="18472"/>
                  </a:lnTo>
                  <a:lnTo>
                    <a:pt x="9055" y="18035"/>
                  </a:lnTo>
                  <a:lnTo>
                    <a:pt x="10746" y="17729"/>
                  </a:lnTo>
                  <a:lnTo>
                    <a:pt x="12106" y="16550"/>
                  </a:lnTo>
                  <a:lnTo>
                    <a:pt x="12106" y="18035"/>
                  </a:lnTo>
                  <a:lnTo>
                    <a:pt x="12968" y="19214"/>
                  </a:lnTo>
                  <a:lnTo>
                    <a:pt x="14660" y="19956"/>
                  </a:lnTo>
                  <a:lnTo>
                    <a:pt x="16020" y="1995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0" name="Freeform 5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54" y="751"/>
              <a:ext cx="492" cy="293"/>
            </a:xfrm>
            <a:custGeom>
              <a:avLst/>
              <a:gdLst>
                <a:gd name="T0" fmla="*/ 139 w 20000"/>
                <a:gd name="T1" fmla="*/ 285 h 20000"/>
                <a:gd name="T2" fmla="*/ 139 w 20000"/>
                <a:gd name="T3" fmla="*/ 264 h 20000"/>
                <a:gd name="T4" fmla="*/ 126 w 20000"/>
                <a:gd name="T5" fmla="*/ 230 h 20000"/>
                <a:gd name="T6" fmla="*/ 160 w 20000"/>
                <a:gd name="T7" fmla="*/ 247 h 20000"/>
                <a:gd name="T8" fmla="*/ 180 w 20000"/>
                <a:gd name="T9" fmla="*/ 230 h 20000"/>
                <a:gd name="T10" fmla="*/ 220 w 20000"/>
                <a:gd name="T11" fmla="*/ 220 h 20000"/>
                <a:gd name="T12" fmla="*/ 224 w 20000"/>
                <a:gd name="T13" fmla="*/ 190 h 20000"/>
                <a:gd name="T14" fmla="*/ 224 w 20000"/>
                <a:gd name="T15" fmla="*/ 172 h 20000"/>
                <a:gd name="T16" fmla="*/ 269 w 20000"/>
                <a:gd name="T17" fmla="*/ 179 h 20000"/>
                <a:gd name="T18" fmla="*/ 319 w 20000"/>
                <a:gd name="T19" fmla="*/ 167 h 20000"/>
                <a:gd name="T20" fmla="*/ 357 w 20000"/>
                <a:gd name="T21" fmla="*/ 139 h 20000"/>
                <a:gd name="T22" fmla="*/ 398 w 20000"/>
                <a:gd name="T23" fmla="*/ 122 h 20000"/>
                <a:gd name="T24" fmla="*/ 401 w 20000"/>
                <a:gd name="T25" fmla="*/ 109 h 20000"/>
                <a:gd name="T26" fmla="*/ 425 w 20000"/>
                <a:gd name="T27" fmla="*/ 99 h 20000"/>
                <a:gd name="T28" fmla="*/ 479 w 20000"/>
                <a:gd name="T29" fmla="*/ 85 h 20000"/>
                <a:gd name="T30" fmla="*/ 479 w 20000"/>
                <a:gd name="T31" fmla="*/ 44 h 20000"/>
                <a:gd name="T32" fmla="*/ 422 w 20000"/>
                <a:gd name="T33" fmla="*/ 47 h 20000"/>
                <a:gd name="T34" fmla="*/ 425 w 20000"/>
                <a:gd name="T35" fmla="*/ 27 h 20000"/>
                <a:gd name="T36" fmla="*/ 411 w 20000"/>
                <a:gd name="T37" fmla="*/ 14 h 20000"/>
                <a:gd name="T38" fmla="*/ 401 w 20000"/>
                <a:gd name="T39" fmla="*/ 11 h 20000"/>
                <a:gd name="T40" fmla="*/ 380 w 20000"/>
                <a:gd name="T41" fmla="*/ 34 h 20000"/>
                <a:gd name="T42" fmla="*/ 347 w 20000"/>
                <a:gd name="T43" fmla="*/ 0 h 20000"/>
                <a:gd name="T44" fmla="*/ 330 w 20000"/>
                <a:gd name="T45" fmla="*/ 4 h 20000"/>
                <a:gd name="T46" fmla="*/ 276 w 20000"/>
                <a:gd name="T47" fmla="*/ 20 h 20000"/>
                <a:gd name="T48" fmla="*/ 259 w 20000"/>
                <a:gd name="T49" fmla="*/ 34 h 20000"/>
                <a:gd name="T50" fmla="*/ 245 w 20000"/>
                <a:gd name="T51" fmla="*/ 7 h 20000"/>
                <a:gd name="T52" fmla="*/ 238 w 20000"/>
                <a:gd name="T53" fmla="*/ 34 h 20000"/>
                <a:gd name="T54" fmla="*/ 204 w 20000"/>
                <a:gd name="T55" fmla="*/ 20 h 20000"/>
                <a:gd name="T56" fmla="*/ 143 w 20000"/>
                <a:gd name="T57" fmla="*/ 31 h 20000"/>
                <a:gd name="T58" fmla="*/ 184 w 20000"/>
                <a:gd name="T59" fmla="*/ 47 h 20000"/>
                <a:gd name="T60" fmla="*/ 211 w 20000"/>
                <a:gd name="T61" fmla="*/ 65 h 20000"/>
                <a:gd name="T62" fmla="*/ 160 w 20000"/>
                <a:gd name="T63" fmla="*/ 88 h 20000"/>
                <a:gd name="T64" fmla="*/ 234 w 20000"/>
                <a:gd name="T65" fmla="*/ 75 h 20000"/>
                <a:gd name="T66" fmla="*/ 166 w 20000"/>
                <a:gd name="T67" fmla="*/ 95 h 20000"/>
                <a:gd name="T68" fmla="*/ 224 w 20000"/>
                <a:gd name="T69" fmla="*/ 109 h 20000"/>
                <a:gd name="T70" fmla="*/ 296 w 20000"/>
                <a:gd name="T71" fmla="*/ 79 h 20000"/>
                <a:gd name="T72" fmla="*/ 279 w 20000"/>
                <a:gd name="T73" fmla="*/ 105 h 20000"/>
                <a:gd name="T74" fmla="*/ 207 w 20000"/>
                <a:gd name="T75" fmla="*/ 119 h 20000"/>
                <a:gd name="T76" fmla="*/ 194 w 20000"/>
                <a:gd name="T77" fmla="*/ 135 h 20000"/>
                <a:gd name="T78" fmla="*/ 187 w 20000"/>
                <a:gd name="T79" fmla="*/ 160 h 20000"/>
                <a:gd name="T80" fmla="*/ 177 w 20000"/>
                <a:gd name="T81" fmla="*/ 115 h 20000"/>
                <a:gd name="T82" fmla="*/ 146 w 20000"/>
                <a:gd name="T83" fmla="*/ 112 h 20000"/>
                <a:gd name="T84" fmla="*/ 143 w 20000"/>
                <a:gd name="T85" fmla="*/ 156 h 20000"/>
                <a:gd name="T86" fmla="*/ 166 w 20000"/>
                <a:gd name="T87" fmla="*/ 172 h 20000"/>
                <a:gd name="T88" fmla="*/ 146 w 20000"/>
                <a:gd name="T89" fmla="*/ 193 h 20000"/>
                <a:gd name="T90" fmla="*/ 119 w 20000"/>
                <a:gd name="T91" fmla="*/ 169 h 20000"/>
                <a:gd name="T92" fmla="*/ 112 w 20000"/>
                <a:gd name="T93" fmla="*/ 220 h 20000"/>
                <a:gd name="T94" fmla="*/ 96 w 20000"/>
                <a:gd name="T95" fmla="*/ 237 h 20000"/>
                <a:gd name="T96" fmla="*/ 76 w 20000"/>
                <a:gd name="T97" fmla="*/ 224 h 20000"/>
                <a:gd name="T98" fmla="*/ 54 w 20000"/>
                <a:gd name="T99" fmla="*/ 206 h 20000"/>
                <a:gd name="T100" fmla="*/ 51 w 20000"/>
                <a:gd name="T101" fmla="*/ 237 h 20000"/>
                <a:gd name="T102" fmla="*/ 14 w 20000"/>
                <a:gd name="T103" fmla="*/ 237 h 20000"/>
                <a:gd name="T104" fmla="*/ 0 w 20000"/>
                <a:gd name="T105" fmla="*/ 254 h 20000"/>
                <a:gd name="T106" fmla="*/ 47 w 20000"/>
                <a:gd name="T107" fmla="*/ 274 h 20000"/>
                <a:gd name="T108" fmla="*/ 96 w 20000"/>
                <a:gd name="T109" fmla="*/ 264 h 20000"/>
                <a:gd name="T110" fmla="*/ 109 w 20000"/>
                <a:gd name="T111" fmla="*/ 281 h 20000"/>
                <a:gd name="T112" fmla="*/ 126 w 20000"/>
                <a:gd name="T113" fmla="*/ 292 h 2000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00" h="20000">
                  <a:moveTo>
                    <a:pt x="5097" y="19973"/>
                  </a:moveTo>
                  <a:lnTo>
                    <a:pt x="5649" y="19506"/>
                  </a:lnTo>
                  <a:lnTo>
                    <a:pt x="6364" y="18107"/>
                  </a:lnTo>
                  <a:lnTo>
                    <a:pt x="5649" y="18107"/>
                  </a:lnTo>
                  <a:lnTo>
                    <a:pt x="4708" y="16900"/>
                  </a:lnTo>
                  <a:lnTo>
                    <a:pt x="5097" y="15775"/>
                  </a:lnTo>
                  <a:lnTo>
                    <a:pt x="5536" y="16900"/>
                  </a:lnTo>
                  <a:lnTo>
                    <a:pt x="6477" y="16900"/>
                  </a:lnTo>
                  <a:lnTo>
                    <a:pt x="7029" y="16433"/>
                  </a:lnTo>
                  <a:lnTo>
                    <a:pt x="7305" y="15775"/>
                  </a:lnTo>
                  <a:lnTo>
                    <a:pt x="8555" y="15775"/>
                  </a:lnTo>
                  <a:lnTo>
                    <a:pt x="8945" y="15062"/>
                  </a:lnTo>
                  <a:lnTo>
                    <a:pt x="9659" y="13937"/>
                  </a:lnTo>
                  <a:lnTo>
                    <a:pt x="9107" y="13004"/>
                  </a:lnTo>
                  <a:lnTo>
                    <a:pt x="8117" y="13004"/>
                  </a:lnTo>
                  <a:lnTo>
                    <a:pt x="9107" y="11797"/>
                  </a:lnTo>
                  <a:lnTo>
                    <a:pt x="9935" y="12071"/>
                  </a:lnTo>
                  <a:lnTo>
                    <a:pt x="10909" y="12263"/>
                  </a:lnTo>
                  <a:lnTo>
                    <a:pt x="12013" y="11797"/>
                  </a:lnTo>
                  <a:lnTo>
                    <a:pt x="12955" y="11413"/>
                  </a:lnTo>
                  <a:lnTo>
                    <a:pt x="13782" y="10206"/>
                  </a:lnTo>
                  <a:lnTo>
                    <a:pt x="14481" y="9547"/>
                  </a:lnTo>
                  <a:lnTo>
                    <a:pt x="15308" y="8807"/>
                  </a:lnTo>
                  <a:lnTo>
                    <a:pt x="16136" y="8368"/>
                  </a:lnTo>
                  <a:lnTo>
                    <a:pt x="17662" y="7215"/>
                  </a:lnTo>
                  <a:lnTo>
                    <a:pt x="16250" y="7435"/>
                  </a:lnTo>
                  <a:lnTo>
                    <a:pt x="15698" y="6776"/>
                  </a:lnTo>
                  <a:lnTo>
                    <a:pt x="17224" y="6776"/>
                  </a:lnTo>
                  <a:lnTo>
                    <a:pt x="18490" y="6502"/>
                  </a:lnTo>
                  <a:lnTo>
                    <a:pt x="19432" y="5844"/>
                  </a:lnTo>
                  <a:lnTo>
                    <a:pt x="19984" y="5103"/>
                  </a:lnTo>
                  <a:lnTo>
                    <a:pt x="19432" y="3045"/>
                  </a:lnTo>
                  <a:lnTo>
                    <a:pt x="18490" y="3045"/>
                  </a:lnTo>
                  <a:lnTo>
                    <a:pt x="17110" y="3237"/>
                  </a:lnTo>
                  <a:lnTo>
                    <a:pt x="18490" y="2332"/>
                  </a:lnTo>
                  <a:lnTo>
                    <a:pt x="17224" y="1866"/>
                  </a:lnTo>
                  <a:lnTo>
                    <a:pt x="17224" y="933"/>
                  </a:lnTo>
                  <a:lnTo>
                    <a:pt x="16688" y="933"/>
                  </a:lnTo>
                  <a:lnTo>
                    <a:pt x="16412" y="1646"/>
                  </a:lnTo>
                  <a:lnTo>
                    <a:pt x="16250" y="741"/>
                  </a:lnTo>
                  <a:lnTo>
                    <a:pt x="15860" y="933"/>
                  </a:lnTo>
                  <a:lnTo>
                    <a:pt x="15422" y="2332"/>
                  </a:lnTo>
                  <a:lnTo>
                    <a:pt x="15308" y="741"/>
                  </a:lnTo>
                  <a:lnTo>
                    <a:pt x="14058" y="0"/>
                  </a:lnTo>
                  <a:lnTo>
                    <a:pt x="13929" y="2332"/>
                  </a:lnTo>
                  <a:lnTo>
                    <a:pt x="13377" y="274"/>
                  </a:lnTo>
                  <a:lnTo>
                    <a:pt x="12127" y="466"/>
                  </a:lnTo>
                  <a:lnTo>
                    <a:pt x="11185" y="1399"/>
                  </a:lnTo>
                  <a:lnTo>
                    <a:pt x="11299" y="3045"/>
                  </a:lnTo>
                  <a:lnTo>
                    <a:pt x="10487" y="2332"/>
                  </a:lnTo>
                  <a:lnTo>
                    <a:pt x="10633" y="1207"/>
                  </a:lnTo>
                  <a:lnTo>
                    <a:pt x="9935" y="466"/>
                  </a:lnTo>
                  <a:lnTo>
                    <a:pt x="9107" y="1207"/>
                  </a:lnTo>
                  <a:lnTo>
                    <a:pt x="9659" y="2332"/>
                  </a:lnTo>
                  <a:lnTo>
                    <a:pt x="8555" y="1866"/>
                  </a:lnTo>
                  <a:lnTo>
                    <a:pt x="8279" y="1399"/>
                  </a:lnTo>
                  <a:lnTo>
                    <a:pt x="7305" y="1866"/>
                  </a:lnTo>
                  <a:lnTo>
                    <a:pt x="5812" y="2112"/>
                  </a:lnTo>
                  <a:lnTo>
                    <a:pt x="5812" y="2798"/>
                  </a:lnTo>
                  <a:lnTo>
                    <a:pt x="7451" y="3237"/>
                  </a:lnTo>
                  <a:lnTo>
                    <a:pt x="5373" y="4170"/>
                  </a:lnTo>
                  <a:lnTo>
                    <a:pt x="8555" y="4444"/>
                  </a:lnTo>
                  <a:lnTo>
                    <a:pt x="5649" y="4911"/>
                  </a:lnTo>
                  <a:lnTo>
                    <a:pt x="6477" y="6036"/>
                  </a:lnTo>
                  <a:lnTo>
                    <a:pt x="7857" y="5103"/>
                  </a:lnTo>
                  <a:lnTo>
                    <a:pt x="9497" y="5103"/>
                  </a:lnTo>
                  <a:lnTo>
                    <a:pt x="7581" y="5569"/>
                  </a:lnTo>
                  <a:lnTo>
                    <a:pt x="6753" y="6502"/>
                  </a:lnTo>
                  <a:lnTo>
                    <a:pt x="7581" y="7215"/>
                  </a:lnTo>
                  <a:lnTo>
                    <a:pt x="9107" y="7435"/>
                  </a:lnTo>
                  <a:lnTo>
                    <a:pt x="10487" y="6310"/>
                  </a:lnTo>
                  <a:lnTo>
                    <a:pt x="12013" y="5377"/>
                  </a:lnTo>
                  <a:lnTo>
                    <a:pt x="10633" y="6968"/>
                  </a:lnTo>
                  <a:lnTo>
                    <a:pt x="11299" y="7215"/>
                  </a:lnTo>
                  <a:lnTo>
                    <a:pt x="9773" y="7901"/>
                  </a:lnTo>
                  <a:lnTo>
                    <a:pt x="8393" y="8148"/>
                  </a:lnTo>
                  <a:lnTo>
                    <a:pt x="7727" y="8148"/>
                  </a:lnTo>
                  <a:lnTo>
                    <a:pt x="7857" y="9273"/>
                  </a:lnTo>
                  <a:lnTo>
                    <a:pt x="8393" y="10206"/>
                  </a:lnTo>
                  <a:lnTo>
                    <a:pt x="7581" y="10947"/>
                  </a:lnTo>
                  <a:lnTo>
                    <a:pt x="7451" y="9547"/>
                  </a:lnTo>
                  <a:lnTo>
                    <a:pt x="7175" y="7901"/>
                  </a:lnTo>
                  <a:lnTo>
                    <a:pt x="6640" y="7435"/>
                  </a:lnTo>
                  <a:lnTo>
                    <a:pt x="5925" y="7682"/>
                  </a:lnTo>
                  <a:lnTo>
                    <a:pt x="5649" y="9081"/>
                  </a:lnTo>
                  <a:lnTo>
                    <a:pt x="5812" y="10672"/>
                  </a:lnTo>
                  <a:lnTo>
                    <a:pt x="6088" y="11605"/>
                  </a:lnTo>
                  <a:lnTo>
                    <a:pt x="6753" y="11797"/>
                  </a:lnTo>
                  <a:lnTo>
                    <a:pt x="6201" y="12538"/>
                  </a:lnTo>
                  <a:lnTo>
                    <a:pt x="5925" y="13196"/>
                  </a:lnTo>
                  <a:lnTo>
                    <a:pt x="5373" y="12071"/>
                  </a:lnTo>
                  <a:lnTo>
                    <a:pt x="4821" y="11605"/>
                  </a:lnTo>
                  <a:lnTo>
                    <a:pt x="3880" y="15309"/>
                  </a:lnTo>
                  <a:lnTo>
                    <a:pt x="4545" y="15062"/>
                  </a:lnTo>
                  <a:lnTo>
                    <a:pt x="4984" y="15062"/>
                  </a:lnTo>
                  <a:lnTo>
                    <a:pt x="3880" y="16241"/>
                  </a:lnTo>
                  <a:lnTo>
                    <a:pt x="3182" y="16241"/>
                  </a:lnTo>
                  <a:lnTo>
                    <a:pt x="3068" y="15309"/>
                  </a:lnTo>
                  <a:lnTo>
                    <a:pt x="2906" y="14129"/>
                  </a:lnTo>
                  <a:lnTo>
                    <a:pt x="2192" y="14129"/>
                  </a:lnTo>
                  <a:lnTo>
                    <a:pt x="2078" y="15062"/>
                  </a:lnTo>
                  <a:lnTo>
                    <a:pt x="2078" y="16241"/>
                  </a:lnTo>
                  <a:lnTo>
                    <a:pt x="1104" y="15528"/>
                  </a:lnTo>
                  <a:lnTo>
                    <a:pt x="552" y="16241"/>
                  </a:lnTo>
                  <a:lnTo>
                    <a:pt x="162" y="16900"/>
                  </a:lnTo>
                  <a:lnTo>
                    <a:pt x="0" y="17366"/>
                  </a:lnTo>
                  <a:lnTo>
                    <a:pt x="828" y="18107"/>
                  </a:lnTo>
                  <a:lnTo>
                    <a:pt x="1916" y="18765"/>
                  </a:lnTo>
                  <a:lnTo>
                    <a:pt x="3458" y="19040"/>
                  </a:lnTo>
                  <a:lnTo>
                    <a:pt x="3880" y="18107"/>
                  </a:lnTo>
                  <a:lnTo>
                    <a:pt x="4286" y="18765"/>
                  </a:lnTo>
                  <a:lnTo>
                    <a:pt x="4432" y="19232"/>
                  </a:lnTo>
                  <a:lnTo>
                    <a:pt x="4156" y="19698"/>
                  </a:lnTo>
                  <a:lnTo>
                    <a:pt x="5097" y="1997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1" name="Freeform 5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832" y="1107"/>
              <a:ext cx="345" cy="416"/>
            </a:xfrm>
            <a:custGeom>
              <a:avLst/>
              <a:gdLst>
                <a:gd name="T0" fmla="*/ 214 w 20000"/>
                <a:gd name="T1" fmla="*/ 383 h 20000"/>
                <a:gd name="T2" fmla="*/ 241 w 20000"/>
                <a:gd name="T3" fmla="*/ 389 h 20000"/>
                <a:gd name="T4" fmla="*/ 268 w 20000"/>
                <a:gd name="T5" fmla="*/ 369 h 20000"/>
                <a:gd name="T6" fmla="*/ 241 w 20000"/>
                <a:gd name="T7" fmla="*/ 308 h 20000"/>
                <a:gd name="T8" fmla="*/ 248 w 20000"/>
                <a:gd name="T9" fmla="*/ 271 h 20000"/>
                <a:gd name="T10" fmla="*/ 279 w 20000"/>
                <a:gd name="T11" fmla="*/ 311 h 20000"/>
                <a:gd name="T12" fmla="*/ 319 w 20000"/>
                <a:gd name="T13" fmla="*/ 297 h 20000"/>
                <a:gd name="T14" fmla="*/ 333 w 20000"/>
                <a:gd name="T15" fmla="*/ 264 h 20000"/>
                <a:gd name="T16" fmla="*/ 288 w 20000"/>
                <a:gd name="T17" fmla="*/ 230 h 20000"/>
                <a:gd name="T18" fmla="*/ 285 w 20000"/>
                <a:gd name="T19" fmla="*/ 193 h 20000"/>
                <a:gd name="T20" fmla="*/ 295 w 20000"/>
                <a:gd name="T21" fmla="*/ 176 h 20000"/>
                <a:gd name="T22" fmla="*/ 285 w 20000"/>
                <a:gd name="T23" fmla="*/ 153 h 20000"/>
                <a:gd name="T24" fmla="*/ 261 w 20000"/>
                <a:gd name="T25" fmla="*/ 122 h 20000"/>
                <a:gd name="T26" fmla="*/ 234 w 20000"/>
                <a:gd name="T27" fmla="*/ 119 h 20000"/>
                <a:gd name="T28" fmla="*/ 225 w 20000"/>
                <a:gd name="T29" fmla="*/ 92 h 20000"/>
                <a:gd name="T30" fmla="*/ 225 w 20000"/>
                <a:gd name="T31" fmla="*/ 72 h 20000"/>
                <a:gd name="T32" fmla="*/ 176 w 20000"/>
                <a:gd name="T33" fmla="*/ 68 h 20000"/>
                <a:gd name="T34" fmla="*/ 156 w 20000"/>
                <a:gd name="T35" fmla="*/ 68 h 20000"/>
                <a:gd name="T36" fmla="*/ 162 w 20000"/>
                <a:gd name="T37" fmla="*/ 38 h 20000"/>
                <a:gd name="T38" fmla="*/ 126 w 20000"/>
                <a:gd name="T39" fmla="*/ 20 h 20000"/>
                <a:gd name="T40" fmla="*/ 88 w 20000"/>
                <a:gd name="T41" fmla="*/ 54 h 20000"/>
                <a:gd name="T42" fmla="*/ 78 w 20000"/>
                <a:gd name="T43" fmla="*/ 78 h 20000"/>
                <a:gd name="T44" fmla="*/ 65 w 20000"/>
                <a:gd name="T45" fmla="*/ 81 h 20000"/>
                <a:gd name="T46" fmla="*/ 68 w 20000"/>
                <a:gd name="T47" fmla="*/ 34 h 20000"/>
                <a:gd name="T48" fmla="*/ 119 w 20000"/>
                <a:gd name="T49" fmla="*/ 4 h 20000"/>
                <a:gd name="T50" fmla="*/ 38 w 20000"/>
                <a:gd name="T51" fmla="*/ 24 h 20000"/>
                <a:gd name="T52" fmla="*/ 10 w 20000"/>
                <a:gd name="T53" fmla="*/ 47 h 20000"/>
                <a:gd name="T54" fmla="*/ 23 w 20000"/>
                <a:gd name="T55" fmla="*/ 88 h 20000"/>
                <a:gd name="T56" fmla="*/ 27 w 20000"/>
                <a:gd name="T57" fmla="*/ 112 h 20000"/>
                <a:gd name="T58" fmla="*/ 88 w 20000"/>
                <a:gd name="T59" fmla="*/ 139 h 20000"/>
                <a:gd name="T60" fmla="*/ 119 w 20000"/>
                <a:gd name="T61" fmla="*/ 146 h 20000"/>
                <a:gd name="T62" fmla="*/ 126 w 20000"/>
                <a:gd name="T63" fmla="*/ 126 h 20000"/>
                <a:gd name="T64" fmla="*/ 149 w 20000"/>
                <a:gd name="T65" fmla="*/ 160 h 20000"/>
                <a:gd name="T66" fmla="*/ 146 w 20000"/>
                <a:gd name="T67" fmla="*/ 186 h 20000"/>
                <a:gd name="T68" fmla="*/ 183 w 20000"/>
                <a:gd name="T69" fmla="*/ 207 h 20000"/>
                <a:gd name="T70" fmla="*/ 169 w 20000"/>
                <a:gd name="T71" fmla="*/ 250 h 20000"/>
                <a:gd name="T72" fmla="*/ 149 w 20000"/>
                <a:gd name="T73" fmla="*/ 277 h 20000"/>
                <a:gd name="T74" fmla="*/ 119 w 20000"/>
                <a:gd name="T75" fmla="*/ 291 h 20000"/>
                <a:gd name="T76" fmla="*/ 74 w 20000"/>
                <a:gd name="T77" fmla="*/ 295 h 20000"/>
                <a:gd name="T78" fmla="*/ 102 w 20000"/>
                <a:gd name="T79" fmla="*/ 318 h 20000"/>
                <a:gd name="T80" fmla="*/ 126 w 20000"/>
                <a:gd name="T81" fmla="*/ 315 h 20000"/>
                <a:gd name="T82" fmla="*/ 156 w 20000"/>
                <a:gd name="T83" fmla="*/ 349 h 20000"/>
                <a:gd name="T84" fmla="*/ 160 w 20000"/>
                <a:gd name="T85" fmla="*/ 376 h 20000"/>
                <a:gd name="T86" fmla="*/ 214 w 20000"/>
                <a:gd name="T87" fmla="*/ 417 h 200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0000" h="20000">
                  <a:moveTo>
                    <a:pt x="13256" y="19981"/>
                  </a:moveTo>
                  <a:lnTo>
                    <a:pt x="13256" y="19329"/>
                  </a:lnTo>
                  <a:lnTo>
                    <a:pt x="12462" y="18351"/>
                  </a:lnTo>
                  <a:lnTo>
                    <a:pt x="11669" y="16874"/>
                  </a:lnTo>
                  <a:lnTo>
                    <a:pt x="13092" y="17833"/>
                  </a:lnTo>
                  <a:lnTo>
                    <a:pt x="14049" y="18677"/>
                  </a:lnTo>
                  <a:lnTo>
                    <a:pt x="14656" y="19003"/>
                  </a:lnTo>
                  <a:lnTo>
                    <a:pt x="15053" y="18677"/>
                  </a:lnTo>
                  <a:lnTo>
                    <a:pt x="15613" y="17699"/>
                  </a:lnTo>
                  <a:lnTo>
                    <a:pt x="15449" y="16414"/>
                  </a:lnTo>
                  <a:lnTo>
                    <a:pt x="14656" y="15570"/>
                  </a:lnTo>
                  <a:lnTo>
                    <a:pt x="14049" y="14784"/>
                  </a:lnTo>
                  <a:lnTo>
                    <a:pt x="13652" y="13806"/>
                  </a:lnTo>
                  <a:lnTo>
                    <a:pt x="14656" y="13634"/>
                  </a:lnTo>
                  <a:lnTo>
                    <a:pt x="14446" y="12982"/>
                  </a:lnTo>
                  <a:lnTo>
                    <a:pt x="15239" y="12982"/>
                  </a:lnTo>
                  <a:lnTo>
                    <a:pt x="15613" y="13806"/>
                  </a:lnTo>
                  <a:lnTo>
                    <a:pt x="16243" y="14919"/>
                  </a:lnTo>
                  <a:lnTo>
                    <a:pt x="17036" y="15570"/>
                  </a:lnTo>
                  <a:lnTo>
                    <a:pt x="17596" y="14593"/>
                  </a:lnTo>
                  <a:lnTo>
                    <a:pt x="18623" y="14267"/>
                  </a:lnTo>
                  <a:lnTo>
                    <a:pt x="19790" y="13480"/>
                  </a:lnTo>
                  <a:lnTo>
                    <a:pt x="19977" y="12982"/>
                  </a:lnTo>
                  <a:lnTo>
                    <a:pt x="19393" y="12656"/>
                  </a:lnTo>
                  <a:lnTo>
                    <a:pt x="18390" y="12656"/>
                  </a:lnTo>
                  <a:lnTo>
                    <a:pt x="17993" y="11352"/>
                  </a:lnTo>
                  <a:lnTo>
                    <a:pt x="16803" y="11026"/>
                  </a:lnTo>
                  <a:lnTo>
                    <a:pt x="16243" y="10240"/>
                  </a:lnTo>
                  <a:lnTo>
                    <a:pt x="15613" y="9588"/>
                  </a:lnTo>
                  <a:lnTo>
                    <a:pt x="16639" y="9262"/>
                  </a:lnTo>
                  <a:lnTo>
                    <a:pt x="17433" y="9262"/>
                  </a:lnTo>
                  <a:lnTo>
                    <a:pt x="15846" y="8629"/>
                  </a:lnTo>
                  <a:lnTo>
                    <a:pt x="17200" y="8437"/>
                  </a:lnTo>
                  <a:lnTo>
                    <a:pt x="16803" y="7785"/>
                  </a:lnTo>
                  <a:lnTo>
                    <a:pt x="16009" y="7785"/>
                  </a:lnTo>
                  <a:lnTo>
                    <a:pt x="16639" y="7325"/>
                  </a:lnTo>
                  <a:lnTo>
                    <a:pt x="16009" y="6807"/>
                  </a:lnTo>
                  <a:lnTo>
                    <a:pt x="15239" y="6347"/>
                  </a:lnTo>
                  <a:lnTo>
                    <a:pt x="15239" y="5849"/>
                  </a:lnTo>
                  <a:lnTo>
                    <a:pt x="15053" y="5369"/>
                  </a:lnTo>
                  <a:lnTo>
                    <a:pt x="14446" y="5043"/>
                  </a:lnTo>
                  <a:lnTo>
                    <a:pt x="13652" y="5695"/>
                  </a:lnTo>
                  <a:lnTo>
                    <a:pt x="13489" y="4871"/>
                  </a:lnTo>
                  <a:lnTo>
                    <a:pt x="12299" y="4736"/>
                  </a:lnTo>
                  <a:lnTo>
                    <a:pt x="13092" y="4410"/>
                  </a:lnTo>
                  <a:lnTo>
                    <a:pt x="12299" y="4084"/>
                  </a:lnTo>
                  <a:lnTo>
                    <a:pt x="13256" y="3893"/>
                  </a:lnTo>
                  <a:lnTo>
                    <a:pt x="13092" y="3432"/>
                  </a:lnTo>
                  <a:lnTo>
                    <a:pt x="11902" y="3106"/>
                  </a:lnTo>
                  <a:lnTo>
                    <a:pt x="11062" y="2915"/>
                  </a:lnTo>
                  <a:lnTo>
                    <a:pt x="10268" y="3241"/>
                  </a:lnTo>
                  <a:lnTo>
                    <a:pt x="10502" y="3758"/>
                  </a:lnTo>
                  <a:lnTo>
                    <a:pt x="9475" y="3432"/>
                  </a:lnTo>
                  <a:lnTo>
                    <a:pt x="9078" y="3241"/>
                  </a:lnTo>
                  <a:lnTo>
                    <a:pt x="8121" y="3758"/>
                  </a:lnTo>
                  <a:lnTo>
                    <a:pt x="9078" y="2589"/>
                  </a:lnTo>
                  <a:lnTo>
                    <a:pt x="9475" y="1802"/>
                  </a:lnTo>
                  <a:lnTo>
                    <a:pt x="9312" y="1477"/>
                  </a:lnTo>
                  <a:lnTo>
                    <a:pt x="9475" y="844"/>
                  </a:lnTo>
                  <a:lnTo>
                    <a:pt x="7328" y="978"/>
                  </a:lnTo>
                  <a:lnTo>
                    <a:pt x="6138" y="1477"/>
                  </a:lnTo>
                  <a:lnTo>
                    <a:pt x="5368" y="1956"/>
                  </a:lnTo>
                  <a:lnTo>
                    <a:pt x="5134" y="2589"/>
                  </a:lnTo>
                  <a:lnTo>
                    <a:pt x="4574" y="2780"/>
                  </a:lnTo>
                  <a:lnTo>
                    <a:pt x="4177" y="3567"/>
                  </a:lnTo>
                  <a:lnTo>
                    <a:pt x="4574" y="3758"/>
                  </a:lnTo>
                  <a:lnTo>
                    <a:pt x="3547" y="4736"/>
                  </a:lnTo>
                  <a:lnTo>
                    <a:pt x="2380" y="4545"/>
                  </a:lnTo>
                  <a:lnTo>
                    <a:pt x="3781" y="3893"/>
                  </a:lnTo>
                  <a:lnTo>
                    <a:pt x="3384" y="3106"/>
                  </a:lnTo>
                  <a:lnTo>
                    <a:pt x="3944" y="2263"/>
                  </a:lnTo>
                  <a:lnTo>
                    <a:pt x="3944" y="1630"/>
                  </a:lnTo>
                  <a:lnTo>
                    <a:pt x="5134" y="978"/>
                  </a:lnTo>
                  <a:lnTo>
                    <a:pt x="6138" y="518"/>
                  </a:lnTo>
                  <a:lnTo>
                    <a:pt x="6931" y="192"/>
                  </a:lnTo>
                  <a:lnTo>
                    <a:pt x="4574" y="0"/>
                  </a:lnTo>
                  <a:lnTo>
                    <a:pt x="3151" y="652"/>
                  </a:lnTo>
                  <a:lnTo>
                    <a:pt x="2194" y="1151"/>
                  </a:lnTo>
                  <a:lnTo>
                    <a:pt x="957" y="1956"/>
                  </a:lnTo>
                  <a:lnTo>
                    <a:pt x="1190" y="2128"/>
                  </a:lnTo>
                  <a:lnTo>
                    <a:pt x="560" y="2263"/>
                  </a:lnTo>
                  <a:lnTo>
                    <a:pt x="0" y="3432"/>
                  </a:lnTo>
                  <a:lnTo>
                    <a:pt x="1354" y="3758"/>
                  </a:lnTo>
                  <a:lnTo>
                    <a:pt x="1354" y="4219"/>
                  </a:lnTo>
                  <a:lnTo>
                    <a:pt x="0" y="4084"/>
                  </a:lnTo>
                  <a:lnTo>
                    <a:pt x="397" y="5197"/>
                  </a:lnTo>
                  <a:lnTo>
                    <a:pt x="1587" y="5369"/>
                  </a:lnTo>
                  <a:lnTo>
                    <a:pt x="2590" y="6021"/>
                  </a:lnTo>
                  <a:lnTo>
                    <a:pt x="3944" y="6347"/>
                  </a:lnTo>
                  <a:lnTo>
                    <a:pt x="5134" y="6673"/>
                  </a:lnTo>
                  <a:lnTo>
                    <a:pt x="5764" y="6999"/>
                  </a:lnTo>
                  <a:lnTo>
                    <a:pt x="5531" y="6347"/>
                  </a:lnTo>
                  <a:lnTo>
                    <a:pt x="6931" y="6999"/>
                  </a:lnTo>
                  <a:lnTo>
                    <a:pt x="7491" y="6999"/>
                  </a:lnTo>
                  <a:lnTo>
                    <a:pt x="7725" y="6347"/>
                  </a:lnTo>
                  <a:lnTo>
                    <a:pt x="7328" y="6021"/>
                  </a:lnTo>
                  <a:lnTo>
                    <a:pt x="8121" y="6021"/>
                  </a:lnTo>
                  <a:lnTo>
                    <a:pt x="8681" y="6673"/>
                  </a:lnTo>
                  <a:lnTo>
                    <a:pt x="8681" y="7651"/>
                  </a:lnTo>
                  <a:lnTo>
                    <a:pt x="9475" y="8437"/>
                  </a:lnTo>
                  <a:lnTo>
                    <a:pt x="8681" y="8437"/>
                  </a:lnTo>
                  <a:lnTo>
                    <a:pt x="8518" y="8936"/>
                  </a:lnTo>
                  <a:lnTo>
                    <a:pt x="9872" y="8763"/>
                  </a:lnTo>
                  <a:lnTo>
                    <a:pt x="10105" y="9262"/>
                  </a:lnTo>
                  <a:lnTo>
                    <a:pt x="10665" y="9914"/>
                  </a:lnTo>
                  <a:lnTo>
                    <a:pt x="10665" y="10700"/>
                  </a:lnTo>
                  <a:lnTo>
                    <a:pt x="10665" y="11352"/>
                  </a:lnTo>
                  <a:lnTo>
                    <a:pt x="9872" y="12004"/>
                  </a:lnTo>
                  <a:lnTo>
                    <a:pt x="8915" y="12522"/>
                  </a:lnTo>
                  <a:lnTo>
                    <a:pt x="8285" y="12656"/>
                  </a:lnTo>
                  <a:lnTo>
                    <a:pt x="8681" y="13308"/>
                  </a:lnTo>
                  <a:lnTo>
                    <a:pt x="8518" y="13806"/>
                  </a:lnTo>
                  <a:lnTo>
                    <a:pt x="7888" y="13634"/>
                  </a:lnTo>
                  <a:lnTo>
                    <a:pt x="6931" y="13941"/>
                  </a:lnTo>
                  <a:lnTo>
                    <a:pt x="5531" y="13634"/>
                  </a:lnTo>
                  <a:lnTo>
                    <a:pt x="5134" y="13480"/>
                  </a:lnTo>
                  <a:lnTo>
                    <a:pt x="4341" y="14132"/>
                  </a:lnTo>
                  <a:lnTo>
                    <a:pt x="4177" y="14919"/>
                  </a:lnTo>
                  <a:lnTo>
                    <a:pt x="5134" y="15436"/>
                  </a:lnTo>
                  <a:lnTo>
                    <a:pt x="5928" y="15244"/>
                  </a:lnTo>
                  <a:lnTo>
                    <a:pt x="6324" y="15244"/>
                  </a:lnTo>
                  <a:lnTo>
                    <a:pt x="7118" y="15436"/>
                  </a:lnTo>
                  <a:lnTo>
                    <a:pt x="7328" y="15110"/>
                  </a:lnTo>
                  <a:lnTo>
                    <a:pt x="7725" y="15436"/>
                  </a:lnTo>
                  <a:lnTo>
                    <a:pt x="8285" y="16222"/>
                  </a:lnTo>
                  <a:lnTo>
                    <a:pt x="9078" y="16721"/>
                  </a:lnTo>
                  <a:lnTo>
                    <a:pt x="8915" y="17047"/>
                  </a:lnTo>
                  <a:lnTo>
                    <a:pt x="8681" y="17200"/>
                  </a:lnTo>
                  <a:lnTo>
                    <a:pt x="9312" y="18025"/>
                  </a:lnTo>
                  <a:lnTo>
                    <a:pt x="10268" y="18485"/>
                  </a:lnTo>
                  <a:lnTo>
                    <a:pt x="11669" y="19655"/>
                  </a:lnTo>
                  <a:lnTo>
                    <a:pt x="12462" y="19981"/>
                  </a:lnTo>
                  <a:lnTo>
                    <a:pt x="13256" y="1998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2" name="Freeform 5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44" y="914"/>
              <a:ext cx="1722" cy="1678"/>
            </a:xfrm>
            <a:custGeom>
              <a:avLst/>
              <a:gdLst>
                <a:gd name="T0" fmla="*/ 269 w 20000"/>
                <a:gd name="T1" fmla="*/ 41 h 20000"/>
                <a:gd name="T2" fmla="*/ 479 w 20000"/>
                <a:gd name="T3" fmla="*/ 0 h 20000"/>
                <a:gd name="T4" fmla="*/ 519 w 20000"/>
                <a:gd name="T5" fmla="*/ 57 h 20000"/>
                <a:gd name="T6" fmla="*/ 652 w 20000"/>
                <a:gd name="T7" fmla="*/ 135 h 20000"/>
                <a:gd name="T8" fmla="*/ 741 w 20000"/>
                <a:gd name="T9" fmla="*/ 176 h 20000"/>
                <a:gd name="T10" fmla="*/ 838 w 20000"/>
                <a:gd name="T11" fmla="*/ 196 h 20000"/>
                <a:gd name="T12" fmla="*/ 975 w 20000"/>
                <a:gd name="T13" fmla="*/ 250 h 20000"/>
                <a:gd name="T14" fmla="*/ 1046 w 20000"/>
                <a:gd name="T15" fmla="*/ 348 h 20000"/>
                <a:gd name="T16" fmla="*/ 1121 w 20000"/>
                <a:gd name="T17" fmla="*/ 314 h 20000"/>
                <a:gd name="T18" fmla="*/ 1225 w 20000"/>
                <a:gd name="T19" fmla="*/ 328 h 20000"/>
                <a:gd name="T20" fmla="*/ 1250 w 20000"/>
                <a:gd name="T21" fmla="*/ 345 h 20000"/>
                <a:gd name="T22" fmla="*/ 1294 w 20000"/>
                <a:gd name="T23" fmla="*/ 311 h 20000"/>
                <a:gd name="T24" fmla="*/ 1317 w 20000"/>
                <a:gd name="T25" fmla="*/ 240 h 20000"/>
                <a:gd name="T26" fmla="*/ 1334 w 20000"/>
                <a:gd name="T27" fmla="*/ 311 h 20000"/>
                <a:gd name="T28" fmla="*/ 1420 w 20000"/>
                <a:gd name="T29" fmla="*/ 348 h 20000"/>
                <a:gd name="T30" fmla="*/ 1440 w 20000"/>
                <a:gd name="T31" fmla="*/ 416 h 20000"/>
                <a:gd name="T32" fmla="*/ 1294 w 20000"/>
                <a:gd name="T33" fmla="*/ 426 h 20000"/>
                <a:gd name="T34" fmla="*/ 1232 w 20000"/>
                <a:gd name="T35" fmla="*/ 494 h 20000"/>
                <a:gd name="T36" fmla="*/ 1148 w 20000"/>
                <a:gd name="T37" fmla="*/ 704 h 20000"/>
                <a:gd name="T38" fmla="*/ 1301 w 20000"/>
                <a:gd name="T39" fmla="*/ 869 h 20000"/>
                <a:gd name="T40" fmla="*/ 1420 w 20000"/>
                <a:gd name="T41" fmla="*/ 646 h 20000"/>
                <a:gd name="T42" fmla="*/ 1531 w 20000"/>
                <a:gd name="T43" fmla="*/ 683 h 20000"/>
                <a:gd name="T44" fmla="*/ 1640 w 20000"/>
                <a:gd name="T45" fmla="*/ 775 h 20000"/>
                <a:gd name="T46" fmla="*/ 1711 w 20000"/>
                <a:gd name="T47" fmla="*/ 852 h 20000"/>
                <a:gd name="T48" fmla="*/ 1521 w 20000"/>
                <a:gd name="T49" fmla="*/ 953 h 20000"/>
                <a:gd name="T50" fmla="*/ 1538 w 20000"/>
                <a:gd name="T51" fmla="*/ 1068 h 20000"/>
                <a:gd name="T52" fmla="*/ 1463 w 20000"/>
                <a:gd name="T53" fmla="*/ 1065 h 20000"/>
                <a:gd name="T54" fmla="*/ 1362 w 20000"/>
                <a:gd name="T55" fmla="*/ 1150 h 20000"/>
                <a:gd name="T56" fmla="*/ 1314 w 20000"/>
                <a:gd name="T57" fmla="*/ 1174 h 20000"/>
                <a:gd name="T58" fmla="*/ 1290 w 20000"/>
                <a:gd name="T59" fmla="*/ 1251 h 20000"/>
                <a:gd name="T60" fmla="*/ 1205 w 20000"/>
                <a:gd name="T61" fmla="*/ 1440 h 20000"/>
                <a:gd name="T62" fmla="*/ 1107 w 20000"/>
                <a:gd name="T63" fmla="*/ 1366 h 20000"/>
                <a:gd name="T64" fmla="*/ 937 w 20000"/>
                <a:gd name="T65" fmla="*/ 1390 h 20000"/>
                <a:gd name="T66" fmla="*/ 883 w 20000"/>
                <a:gd name="T67" fmla="*/ 1556 h 20000"/>
                <a:gd name="T68" fmla="*/ 1036 w 20000"/>
                <a:gd name="T69" fmla="*/ 1545 h 20000"/>
                <a:gd name="T70" fmla="*/ 1022 w 20000"/>
                <a:gd name="T71" fmla="*/ 1616 h 20000"/>
                <a:gd name="T72" fmla="*/ 914 w 20000"/>
                <a:gd name="T73" fmla="*/ 1650 h 20000"/>
                <a:gd name="T74" fmla="*/ 733 w 20000"/>
                <a:gd name="T75" fmla="*/ 1525 h 20000"/>
                <a:gd name="T76" fmla="*/ 632 w 20000"/>
                <a:gd name="T77" fmla="*/ 1332 h 20000"/>
                <a:gd name="T78" fmla="*/ 662 w 20000"/>
                <a:gd name="T79" fmla="*/ 1488 h 20000"/>
                <a:gd name="T80" fmla="*/ 588 w 20000"/>
                <a:gd name="T81" fmla="*/ 1366 h 20000"/>
                <a:gd name="T82" fmla="*/ 496 w 20000"/>
                <a:gd name="T83" fmla="*/ 1183 h 20000"/>
                <a:gd name="T84" fmla="*/ 526 w 20000"/>
                <a:gd name="T85" fmla="*/ 957 h 20000"/>
                <a:gd name="T86" fmla="*/ 516 w 20000"/>
                <a:gd name="T87" fmla="*/ 801 h 20000"/>
                <a:gd name="T88" fmla="*/ 503 w 20000"/>
                <a:gd name="T89" fmla="*/ 666 h 20000"/>
                <a:gd name="T90" fmla="*/ 492 w 20000"/>
                <a:gd name="T91" fmla="*/ 592 h 20000"/>
                <a:gd name="T92" fmla="*/ 476 w 20000"/>
                <a:gd name="T93" fmla="*/ 524 h 20000"/>
                <a:gd name="T94" fmla="*/ 435 w 20000"/>
                <a:gd name="T95" fmla="*/ 481 h 20000"/>
                <a:gd name="T96" fmla="*/ 360 w 20000"/>
                <a:gd name="T97" fmla="*/ 447 h 20000"/>
                <a:gd name="T98" fmla="*/ 319 w 20000"/>
                <a:gd name="T99" fmla="*/ 413 h 20000"/>
                <a:gd name="T100" fmla="*/ 242 w 20000"/>
                <a:gd name="T101" fmla="*/ 443 h 20000"/>
                <a:gd name="T102" fmla="*/ 262 w 20000"/>
                <a:gd name="T103" fmla="*/ 406 h 20000"/>
                <a:gd name="T104" fmla="*/ 123 w 20000"/>
                <a:gd name="T105" fmla="*/ 517 h 20000"/>
                <a:gd name="T106" fmla="*/ 0 w 20000"/>
                <a:gd name="T107" fmla="*/ 565 h 20000"/>
                <a:gd name="T108" fmla="*/ 78 w 20000"/>
                <a:gd name="T109" fmla="*/ 528 h 20000"/>
                <a:gd name="T110" fmla="*/ 99 w 20000"/>
                <a:gd name="T111" fmla="*/ 447 h 20000"/>
                <a:gd name="T112" fmla="*/ 51 w 20000"/>
                <a:gd name="T113" fmla="*/ 396 h 20000"/>
                <a:gd name="T114" fmla="*/ 54 w 20000"/>
                <a:gd name="T115" fmla="*/ 331 h 20000"/>
                <a:gd name="T116" fmla="*/ 139 w 20000"/>
                <a:gd name="T117" fmla="*/ 274 h 20000"/>
                <a:gd name="T118" fmla="*/ 164 w 20000"/>
                <a:gd name="T119" fmla="*/ 210 h 20000"/>
                <a:gd name="T120" fmla="*/ 132 w 20000"/>
                <a:gd name="T121" fmla="*/ 142 h 20000"/>
                <a:gd name="T122" fmla="*/ 248 w 20000"/>
                <a:gd name="T123" fmla="*/ 152 h 200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0000" h="20000">
                  <a:moveTo>
                    <a:pt x="3154" y="1811"/>
                  </a:moveTo>
                  <a:lnTo>
                    <a:pt x="3280" y="1692"/>
                  </a:lnTo>
                  <a:lnTo>
                    <a:pt x="3001" y="1611"/>
                  </a:lnTo>
                  <a:lnTo>
                    <a:pt x="2964" y="1568"/>
                  </a:lnTo>
                  <a:lnTo>
                    <a:pt x="3075" y="1454"/>
                  </a:lnTo>
                  <a:lnTo>
                    <a:pt x="2764" y="1292"/>
                  </a:lnTo>
                  <a:lnTo>
                    <a:pt x="2843" y="1001"/>
                  </a:lnTo>
                  <a:lnTo>
                    <a:pt x="2732" y="601"/>
                  </a:lnTo>
                  <a:lnTo>
                    <a:pt x="2843" y="601"/>
                  </a:lnTo>
                  <a:lnTo>
                    <a:pt x="3043" y="405"/>
                  </a:lnTo>
                  <a:lnTo>
                    <a:pt x="3122" y="486"/>
                  </a:lnTo>
                  <a:lnTo>
                    <a:pt x="3391" y="520"/>
                  </a:lnTo>
                  <a:lnTo>
                    <a:pt x="3675" y="439"/>
                  </a:lnTo>
                  <a:lnTo>
                    <a:pt x="3865" y="276"/>
                  </a:lnTo>
                  <a:lnTo>
                    <a:pt x="4256" y="114"/>
                  </a:lnTo>
                  <a:lnTo>
                    <a:pt x="4660" y="81"/>
                  </a:lnTo>
                  <a:lnTo>
                    <a:pt x="4571" y="243"/>
                  </a:lnTo>
                  <a:lnTo>
                    <a:pt x="4739" y="162"/>
                  </a:lnTo>
                  <a:lnTo>
                    <a:pt x="4739" y="81"/>
                  </a:lnTo>
                  <a:lnTo>
                    <a:pt x="4929" y="0"/>
                  </a:lnTo>
                  <a:lnTo>
                    <a:pt x="5166" y="114"/>
                  </a:lnTo>
                  <a:lnTo>
                    <a:pt x="5561" y="0"/>
                  </a:lnTo>
                  <a:lnTo>
                    <a:pt x="5603" y="114"/>
                  </a:lnTo>
                  <a:lnTo>
                    <a:pt x="5370" y="243"/>
                  </a:lnTo>
                  <a:lnTo>
                    <a:pt x="5682" y="195"/>
                  </a:lnTo>
                  <a:lnTo>
                    <a:pt x="5640" y="357"/>
                  </a:lnTo>
                  <a:lnTo>
                    <a:pt x="5761" y="324"/>
                  </a:lnTo>
                  <a:lnTo>
                    <a:pt x="5872" y="357"/>
                  </a:lnTo>
                  <a:lnTo>
                    <a:pt x="5998" y="486"/>
                  </a:lnTo>
                  <a:lnTo>
                    <a:pt x="5872" y="520"/>
                  </a:lnTo>
                  <a:lnTo>
                    <a:pt x="5951" y="601"/>
                  </a:lnTo>
                  <a:lnTo>
                    <a:pt x="5872" y="601"/>
                  </a:lnTo>
                  <a:lnTo>
                    <a:pt x="6030" y="682"/>
                  </a:lnTo>
                  <a:lnTo>
                    <a:pt x="5919" y="839"/>
                  </a:lnTo>
                  <a:lnTo>
                    <a:pt x="6235" y="682"/>
                  </a:lnTo>
                  <a:lnTo>
                    <a:pt x="6346" y="724"/>
                  </a:lnTo>
                  <a:lnTo>
                    <a:pt x="6425" y="763"/>
                  </a:lnTo>
                  <a:lnTo>
                    <a:pt x="6504" y="920"/>
                  </a:lnTo>
                  <a:lnTo>
                    <a:pt x="6504" y="1001"/>
                  </a:lnTo>
                  <a:lnTo>
                    <a:pt x="6704" y="1001"/>
                  </a:lnTo>
                  <a:lnTo>
                    <a:pt x="6829" y="1163"/>
                  </a:lnTo>
                  <a:lnTo>
                    <a:pt x="7099" y="1211"/>
                  </a:lnTo>
                  <a:lnTo>
                    <a:pt x="7377" y="1535"/>
                  </a:lnTo>
                  <a:lnTo>
                    <a:pt x="7573" y="1611"/>
                  </a:lnTo>
                  <a:lnTo>
                    <a:pt x="7726" y="2016"/>
                  </a:lnTo>
                  <a:lnTo>
                    <a:pt x="8042" y="2212"/>
                  </a:lnTo>
                  <a:lnTo>
                    <a:pt x="8042" y="2131"/>
                  </a:lnTo>
                  <a:lnTo>
                    <a:pt x="8121" y="2178"/>
                  </a:lnTo>
                  <a:lnTo>
                    <a:pt x="8167" y="2340"/>
                  </a:lnTo>
                  <a:lnTo>
                    <a:pt x="8246" y="2131"/>
                  </a:lnTo>
                  <a:lnTo>
                    <a:pt x="8479" y="2016"/>
                  </a:lnTo>
                  <a:lnTo>
                    <a:pt x="9389" y="1888"/>
                  </a:lnTo>
                  <a:lnTo>
                    <a:pt x="9347" y="1969"/>
                  </a:lnTo>
                  <a:lnTo>
                    <a:pt x="9031" y="2050"/>
                  </a:lnTo>
                  <a:lnTo>
                    <a:pt x="8604" y="2097"/>
                  </a:lnTo>
                  <a:lnTo>
                    <a:pt x="8400" y="2259"/>
                  </a:lnTo>
                  <a:lnTo>
                    <a:pt x="8516" y="2293"/>
                  </a:lnTo>
                  <a:lnTo>
                    <a:pt x="8952" y="2131"/>
                  </a:lnTo>
                  <a:lnTo>
                    <a:pt x="8873" y="2212"/>
                  </a:lnTo>
                  <a:lnTo>
                    <a:pt x="9389" y="2050"/>
                  </a:lnTo>
                  <a:lnTo>
                    <a:pt x="9347" y="2097"/>
                  </a:lnTo>
                  <a:lnTo>
                    <a:pt x="9389" y="2178"/>
                  </a:lnTo>
                  <a:lnTo>
                    <a:pt x="9738" y="1969"/>
                  </a:lnTo>
                  <a:lnTo>
                    <a:pt x="9738" y="1888"/>
                  </a:lnTo>
                  <a:lnTo>
                    <a:pt x="9816" y="1854"/>
                  </a:lnTo>
                  <a:lnTo>
                    <a:pt x="9738" y="2340"/>
                  </a:lnTo>
                  <a:lnTo>
                    <a:pt x="9816" y="2455"/>
                  </a:lnTo>
                  <a:lnTo>
                    <a:pt x="10053" y="2178"/>
                  </a:lnTo>
                  <a:lnTo>
                    <a:pt x="10211" y="2131"/>
                  </a:lnTo>
                  <a:lnTo>
                    <a:pt x="10174" y="2340"/>
                  </a:lnTo>
                  <a:lnTo>
                    <a:pt x="10021" y="2502"/>
                  </a:lnTo>
                  <a:lnTo>
                    <a:pt x="10253" y="2502"/>
                  </a:lnTo>
                  <a:lnTo>
                    <a:pt x="10369" y="2374"/>
                  </a:lnTo>
                  <a:lnTo>
                    <a:pt x="10569" y="2421"/>
                  </a:lnTo>
                  <a:lnTo>
                    <a:pt x="10695" y="2617"/>
                  </a:lnTo>
                  <a:lnTo>
                    <a:pt x="11043" y="2936"/>
                  </a:lnTo>
                  <a:lnTo>
                    <a:pt x="11322" y="2984"/>
                  </a:lnTo>
                  <a:lnTo>
                    <a:pt x="11433" y="3227"/>
                  </a:lnTo>
                  <a:lnTo>
                    <a:pt x="11401" y="3341"/>
                  </a:lnTo>
                  <a:lnTo>
                    <a:pt x="11243" y="3308"/>
                  </a:lnTo>
                  <a:lnTo>
                    <a:pt x="11085" y="3389"/>
                  </a:lnTo>
                  <a:lnTo>
                    <a:pt x="11559" y="3584"/>
                  </a:lnTo>
                  <a:lnTo>
                    <a:pt x="11986" y="3584"/>
                  </a:lnTo>
                  <a:lnTo>
                    <a:pt x="12186" y="3827"/>
                  </a:lnTo>
                  <a:lnTo>
                    <a:pt x="12186" y="4032"/>
                  </a:lnTo>
                  <a:lnTo>
                    <a:pt x="12065" y="3985"/>
                  </a:lnTo>
                  <a:lnTo>
                    <a:pt x="12144" y="4309"/>
                  </a:lnTo>
                  <a:lnTo>
                    <a:pt x="12144" y="4147"/>
                  </a:lnTo>
                  <a:lnTo>
                    <a:pt x="12223" y="4066"/>
                  </a:lnTo>
                  <a:lnTo>
                    <a:pt x="12265" y="4113"/>
                  </a:lnTo>
                  <a:lnTo>
                    <a:pt x="12344" y="3789"/>
                  </a:lnTo>
                  <a:lnTo>
                    <a:pt x="12423" y="3665"/>
                  </a:lnTo>
                  <a:lnTo>
                    <a:pt x="12739" y="3665"/>
                  </a:lnTo>
                  <a:lnTo>
                    <a:pt x="12897" y="3551"/>
                  </a:lnTo>
                  <a:lnTo>
                    <a:pt x="12376" y="3584"/>
                  </a:lnTo>
                  <a:lnTo>
                    <a:pt x="12344" y="3551"/>
                  </a:lnTo>
                  <a:lnTo>
                    <a:pt x="12502" y="3470"/>
                  </a:lnTo>
                  <a:lnTo>
                    <a:pt x="12938" y="3422"/>
                  </a:lnTo>
                  <a:lnTo>
                    <a:pt x="13017" y="3746"/>
                  </a:lnTo>
                  <a:lnTo>
                    <a:pt x="13096" y="3827"/>
                  </a:lnTo>
                  <a:lnTo>
                    <a:pt x="13208" y="3827"/>
                  </a:lnTo>
                  <a:lnTo>
                    <a:pt x="13287" y="4066"/>
                  </a:lnTo>
                  <a:lnTo>
                    <a:pt x="13366" y="4032"/>
                  </a:lnTo>
                  <a:lnTo>
                    <a:pt x="13882" y="4147"/>
                  </a:lnTo>
                  <a:lnTo>
                    <a:pt x="13961" y="4032"/>
                  </a:lnTo>
                  <a:lnTo>
                    <a:pt x="14039" y="4147"/>
                  </a:lnTo>
                  <a:lnTo>
                    <a:pt x="14151" y="4194"/>
                  </a:lnTo>
                  <a:lnTo>
                    <a:pt x="14039" y="4032"/>
                  </a:lnTo>
                  <a:lnTo>
                    <a:pt x="14072" y="3908"/>
                  </a:lnTo>
                  <a:lnTo>
                    <a:pt x="14230" y="3908"/>
                  </a:lnTo>
                  <a:lnTo>
                    <a:pt x="14355" y="4032"/>
                  </a:lnTo>
                  <a:lnTo>
                    <a:pt x="14276" y="4113"/>
                  </a:lnTo>
                  <a:lnTo>
                    <a:pt x="14467" y="4066"/>
                  </a:lnTo>
                  <a:lnTo>
                    <a:pt x="14230" y="4357"/>
                  </a:lnTo>
                  <a:lnTo>
                    <a:pt x="14309" y="4438"/>
                  </a:lnTo>
                  <a:lnTo>
                    <a:pt x="14197" y="4438"/>
                  </a:lnTo>
                  <a:lnTo>
                    <a:pt x="14197" y="4633"/>
                  </a:lnTo>
                  <a:lnTo>
                    <a:pt x="14230" y="4519"/>
                  </a:lnTo>
                  <a:lnTo>
                    <a:pt x="14355" y="4519"/>
                  </a:lnTo>
                  <a:lnTo>
                    <a:pt x="14434" y="4228"/>
                  </a:lnTo>
                  <a:lnTo>
                    <a:pt x="14513" y="4113"/>
                  </a:lnTo>
                  <a:lnTo>
                    <a:pt x="14634" y="4147"/>
                  </a:lnTo>
                  <a:lnTo>
                    <a:pt x="14950" y="4032"/>
                  </a:lnTo>
                  <a:lnTo>
                    <a:pt x="14983" y="3870"/>
                  </a:lnTo>
                  <a:lnTo>
                    <a:pt x="14792" y="3951"/>
                  </a:lnTo>
                  <a:lnTo>
                    <a:pt x="14871" y="3827"/>
                  </a:lnTo>
                  <a:lnTo>
                    <a:pt x="14983" y="3746"/>
                  </a:lnTo>
                  <a:lnTo>
                    <a:pt x="15062" y="3708"/>
                  </a:lnTo>
                  <a:lnTo>
                    <a:pt x="15029" y="3789"/>
                  </a:lnTo>
                  <a:lnTo>
                    <a:pt x="15108" y="3746"/>
                  </a:lnTo>
                  <a:lnTo>
                    <a:pt x="15141" y="3665"/>
                  </a:lnTo>
                  <a:lnTo>
                    <a:pt x="15029" y="3708"/>
                  </a:lnTo>
                  <a:lnTo>
                    <a:pt x="14983" y="3584"/>
                  </a:lnTo>
                  <a:lnTo>
                    <a:pt x="14904" y="3584"/>
                  </a:lnTo>
                  <a:lnTo>
                    <a:pt x="14746" y="3470"/>
                  </a:lnTo>
                  <a:lnTo>
                    <a:pt x="14746" y="3389"/>
                  </a:lnTo>
                  <a:lnTo>
                    <a:pt x="14904" y="3227"/>
                  </a:lnTo>
                  <a:lnTo>
                    <a:pt x="14983" y="3227"/>
                  </a:lnTo>
                  <a:lnTo>
                    <a:pt x="14950" y="3065"/>
                  </a:lnTo>
                  <a:lnTo>
                    <a:pt x="15062" y="2984"/>
                  </a:lnTo>
                  <a:lnTo>
                    <a:pt x="15187" y="2903"/>
                  </a:lnTo>
                  <a:lnTo>
                    <a:pt x="15220" y="2984"/>
                  </a:lnTo>
                  <a:lnTo>
                    <a:pt x="15298" y="2860"/>
                  </a:lnTo>
                  <a:lnTo>
                    <a:pt x="15220" y="2822"/>
                  </a:lnTo>
                  <a:lnTo>
                    <a:pt x="15424" y="2779"/>
                  </a:lnTo>
                  <a:lnTo>
                    <a:pt x="15614" y="2860"/>
                  </a:lnTo>
                  <a:lnTo>
                    <a:pt x="15614" y="3065"/>
                  </a:lnTo>
                  <a:lnTo>
                    <a:pt x="15535" y="3308"/>
                  </a:lnTo>
                  <a:lnTo>
                    <a:pt x="15577" y="3503"/>
                  </a:lnTo>
                  <a:lnTo>
                    <a:pt x="15456" y="3470"/>
                  </a:lnTo>
                  <a:lnTo>
                    <a:pt x="15498" y="3551"/>
                  </a:lnTo>
                  <a:lnTo>
                    <a:pt x="15345" y="3632"/>
                  </a:lnTo>
                  <a:lnTo>
                    <a:pt x="15424" y="3746"/>
                  </a:lnTo>
                  <a:lnTo>
                    <a:pt x="15498" y="3708"/>
                  </a:lnTo>
                  <a:lnTo>
                    <a:pt x="15614" y="3789"/>
                  </a:lnTo>
                  <a:lnTo>
                    <a:pt x="15498" y="3827"/>
                  </a:lnTo>
                  <a:lnTo>
                    <a:pt x="15424" y="4228"/>
                  </a:lnTo>
                  <a:lnTo>
                    <a:pt x="15814" y="3908"/>
                  </a:lnTo>
                  <a:lnTo>
                    <a:pt x="15926" y="4147"/>
                  </a:lnTo>
                  <a:lnTo>
                    <a:pt x="15847" y="4309"/>
                  </a:lnTo>
                  <a:lnTo>
                    <a:pt x="15735" y="4390"/>
                  </a:lnTo>
                  <a:lnTo>
                    <a:pt x="15735" y="4714"/>
                  </a:lnTo>
                  <a:lnTo>
                    <a:pt x="16130" y="4471"/>
                  </a:lnTo>
                  <a:lnTo>
                    <a:pt x="16321" y="4194"/>
                  </a:lnTo>
                  <a:lnTo>
                    <a:pt x="16488" y="4147"/>
                  </a:lnTo>
                  <a:lnTo>
                    <a:pt x="16446" y="4066"/>
                  </a:lnTo>
                  <a:lnTo>
                    <a:pt x="16520" y="3870"/>
                  </a:lnTo>
                  <a:lnTo>
                    <a:pt x="16994" y="4032"/>
                  </a:lnTo>
                  <a:lnTo>
                    <a:pt x="16915" y="4066"/>
                  </a:lnTo>
                  <a:lnTo>
                    <a:pt x="17073" y="4228"/>
                  </a:lnTo>
                  <a:lnTo>
                    <a:pt x="16962" y="4276"/>
                  </a:lnTo>
                  <a:lnTo>
                    <a:pt x="17041" y="4309"/>
                  </a:lnTo>
                  <a:lnTo>
                    <a:pt x="16994" y="4438"/>
                  </a:lnTo>
                  <a:lnTo>
                    <a:pt x="16757" y="4438"/>
                  </a:lnTo>
                  <a:lnTo>
                    <a:pt x="16804" y="4795"/>
                  </a:lnTo>
                  <a:lnTo>
                    <a:pt x="16725" y="4957"/>
                  </a:lnTo>
                  <a:lnTo>
                    <a:pt x="16242" y="5114"/>
                  </a:lnTo>
                  <a:lnTo>
                    <a:pt x="16242" y="4919"/>
                  </a:lnTo>
                  <a:lnTo>
                    <a:pt x="16163" y="4838"/>
                  </a:lnTo>
                  <a:lnTo>
                    <a:pt x="16084" y="4876"/>
                  </a:lnTo>
                  <a:lnTo>
                    <a:pt x="16163" y="5162"/>
                  </a:lnTo>
                  <a:lnTo>
                    <a:pt x="15693" y="4957"/>
                  </a:lnTo>
                  <a:lnTo>
                    <a:pt x="15814" y="5114"/>
                  </a:lnTo>
                  <a:lnTo>
                    <a:pt x="15456" y="5405"/>
                  </a:lnTo>
                  <a:lnTo>
                    <a:pt x="15345" y="5357"/>
                  </a:lnTo>
                  <a:lnTo>
                    <a:pt x="15108" y="5081"/>
                  </a:lnTo>
                  <a:lnTo>
                    <a:pt x="15029" y="5081"/>
                  </a:lnTo>
                  <a:lnTo>
                    <a:pt x="15141" y="5324"/>
                  </a:lnTo>
                  <a:lnTo>
                    <a:pt x="15456" y="5439"/>
                  </a:lnTo>
                  <a:lnTo>
                    <a:pt x="15187" y="5806"/>
                  </a:lnTo>
                  <a:lnTo>
                    <a:pt x="15029" y="5887"/>
                  </a:lnTo>
                  <a:lnTo>
                    <a:pt x="14871" y="5844"/>
                  </a:lnTo>
                  <a:lnTo>
                    <a:pt x="14825" y="5763"/>
                  </a:lnTo>
                  <a:lnTo>
                    <a:pt x="14671" y="6006"/>
                  </a:lnTo>
                  <a:lnTo>
                    <a:pt x="14513" y="6006"/>
                  </a:lnTo>
                  <a:lnTo>
                    <a:pt x="14118" y="5729"/>
                  </a:lnTo>
                  <a:lnTo>
                    <a:pt x="14118" y="5806"/>
                  </a:lnTo>
                  <a:lnTo>
                    <a:pt x="14309" y="5887"/>
                  </a:lnTo>
                  <a:lnTo>
                    <a:pt x="14555" y="6130"/>
                  </a:lnTo>
                  <a:lnTo>
                    <a:pt x="14467" y="6244"/>
                  </a:lnTo>
                  <a:lnTo>
                    <a:pt x="14151" y="6244"/>
                  </a:lnTo>
                  <a:lnTo>
                    <a:pt x="14197" y="6325"/>
                  </a:lnTo>
                  <a:lnTo>
                    <a:pt x="13682" y="6730"/>
                  </a:lnTo>
                  <a:lnTo>
                    <a:pt x="13366" y="7054"/>
                  </a:lnTo>
                  <a:lnTo>
                    <a:pt x="13175" y="7617"/>
                  </a:lnTo>
                  <a:lnTo>
                    <a:pt x="13254" y="7698"/>
                  </a:lnTo>
                  <a:lnTo>
                    <a:pt x="13445" y="7745"/>
                  </a:lnTo>
                  <a:lnTo>
                    <a:pt x="13412" y="8260"/>
                  </a:lnTo>
                  <a:lnTo>
                    <a:pt x="13333" y="8389"/>
                  </a:lnTo>
                  <a:lnTo>
                    <a:pt x="13724" y="8341"/>
                  </a:lnTo>
                  <a:lnTo>
                    <a:pt x="14072" y="8551"/>
                  </a:lnTo>
                  <a:lnTo>
                    <a:pt x="14151" y="8746"/>
                  </a:lnTo>
                  <a:lnTo>
                    <a:pt x="14151" y="8861"/>
                  </a:lnTo>
                  <a:lnTo>
                    <a:pt x="14434" y="8990"/>
                  </a:lnTo>
                  <a:lnTo>
                    <a:pt x="14592" y="9152"/>
                  </a:lnTo>
                  <a:lnTo>
                    <a:pt x="15108" y="9266"/>
                  </a:lnTo>
                  <a:lnTo>
                    <a:pt x="14904" y="9957"/>
                  </a:lnTo>
                  <a:lnTo>
                    <a:pt x="14950" y="10153"/>
                  </a:lnTo>
                  <a:lnTo>
                    <a:pt x="14871" y="10234"/>
                  </a:lnTo>
                  <a:lnTo>
                    <a:pt x="15108" y="10357"/>
                  </a:lnTo>
                  <a:lnTo>
                    <a:pt x="15141" y="10520"/>
                  </a:lnTo>
                  <a:lnTo>
                    <a:pt x="15220" y="10601"/>
                  </a:lnTo>
                  <a:lnTo>
                    <a:pt x="15345" y="10477"/>
                  </a:lnTo>
                  <a:lnTo>
                    <a:pt x="15377" y="10558"/>
                  </a:lnTo>
                  <a:lnTo>
                    <a:pt x="15535" y="10200"/>
                  </a:lnTo>
                  <a:lnTo>
                    <a:pt x="15498" y="9471"/>
                  </a:lnTo>
                  <a:lnTo>
                    <a:pt x="16209" y="9104"/>
                  </a:lnTo>
                  <a:lnTo>
                    <a:pt x="16321" y="8794"/>
                  </a:lnTo>
                  <a:lnTo>
                    <a:pt x="16288" y="8422"/>
                  </a:lnTo>
                  <a:lnTo>
                    <a:pt x="16084" y="8146"/>
                  </a:lnTo>
                  <a:lnTo>
                    <a:pt x="16488" y="7698"/>
                  </a:lnTo>
                  <a:lnTo>
                    <a:pt x="16446" y="7340"/>
                  </a:lnTo>
                  <a:lnTo>
                    <a:pt x="16646" y="7097"/>
                  </a:lnTo>
                  <a:lnTo>
                    <a:pt x="16599" y="6854"/>
                  </a:lnTo>
                  <a:lnTo>
                    <a:pt x="16804" y="6730"/>
                  </a:lnTo>
                  <a:lnTo>
                    <a:pt x="17231" y="6973"/>
                  </a:lnTo>
                  <a:lnTo>
                    <a:pt x="17468" y="6892"/>
                  </a:lnTo>
                  <a:lnTo>
                    <a:pt x="17700" y="7259"/>
                  </a:lnTo>
                  <a:lnTo>
                    <a:pt x="17668" y="7374"/>
                  </a:lnTo>
                  <a:lnTo>
                    <a:pt x="18063" y="7502"/>
                  </a:lnTo>
                  <a:lnTo>
                    <a:pt x="17905" y="8022"/>
                  </a:lnTo>
                  <a:lnTo>
                    <a:pt x="17779" y="8146"/>
                  </a:lnTo>
                  <a:lnTo>
                    <a:pt x="17905" y="8146"/>
                  </a:lnTo>
                  <a:lnTo>
                    <a:pt x="17905" y="8227"/>
                  </a:lnTo>
                  <a:lnTo>
                    <a:pt x="17700" y="8260"/>
                  </a:lnTo>
                  <a:lnTo>
                    <a:pt x="17747" y="8341"/>
                  </a:lnTo>
                  <a:lnTo>
                    <a:pt x="18016" y="8260"/>
                  </a:lnTo>
                  <a:lnTo>
                    <a:pt x="18095" y="8551"/>
                  </a:lnTo>
                  <a:lnTo>
                    <a:pt x="18453" y="8341"/>
                  </a:lnTo>
                  <a:lnTo>
                    <a:pt x="18848" y="7779"/>
                  </a:lnTo>
                  <a:lnTo>
                    <a:pt x="18894" y="7827"/>
                  </a:lnTo>
                  <a:lnTo>
                    <a:pt x="19164" y="9023"/>
                  </a:lnTo>
                  <a:lnTo>
                    <a:pt x="19048" y="9233"/>
                  </a:lnTo>
                  <a:lnTo>
                    <a:pt x="19243" y="9471"/>
                  </a:lnTo>
                  <a:lnTo>
                    <a:pt x="19243" y="9633"/>
                  </a:lnTo>
                  <a:lnTo>
                    <a:pt x="19475" y="9633"/>
                  </a:lnTo>
                  <a:lnTo>
                    <a:pt x="19758" y="9876"/>
                  </a:lnTo>
                  <a:lnTo>
                    <a:pt x="19322" y="10038"/>
                  </a:lnTo>
                  <a:lnTo>
                    <a:pt x="19127" y="10153"/>
                  </a:lnTo>
                  <a:lnTo>
                    <a:pt x="19127" y="10281"/>
                  </a:lnTo>
                  <a:lnTo>
                    <a:pt x="19633" y="10038"/>
                  </a:lnTo>
                  <a:lnTo>
                    <a:pt x="19758" y="10119"/>
                  </a:lnTo>
                  <a:lnTo>
                    <a:pt x="19712" y="10234"/>
                  </a:lnTo>
                  <a:lnTo>
                    <a:pt x="19870" y="10153"/>
                  </a:lnTo>
                  <a:lnTo>
                    <a:pt x="19995" y="10281"/>
                  </a:lnTo>
                  <a:lnTo>
                    <a:pt x="19949" y="10520"/>
                  </a:lnTo>
                  <a:lnTo>
                    <a:pt x="19837" y="10715"/>
                  </a:lnTo>
                  <a:lnTo>
                    <a:pt x="19396" y="10877"/>
                  </a:lnTo>
                  <a:lnTo>
                    <a:pt x="19006" y="11168"/>
                  </a:lnTo>
                  <a:lnTo>
                    <a:pt x="17984" y="11087"/>
                  </a:lnTo>
                  <a:lnTo>
                    <a:pt x="17700" y="11120"/>
                  </a:lnTo>
                  <a:lnTo>
                    <a:pt x="17041" y="11606"/>
                  </a:lnTo>
                  <a:lnTo>
                    <a:pt x="16678" y="11973"/>
                  </a:lnTo>
                  <a:lnTo>
                    <a:pt x="17152" y="11606"/>
                  </a:lnTo>
                  <a:lnTo>
                    <a:pt x="17668" y="11363"/>
                  </a:lnTo>
                  <a:lnTo>
                    <a:pt x="17905" y="11406"/>
                  </a:lnTo>
                  <a:lnTo>
                    <a:pt x="18095" y="11525"/>
                  </a:lnTo>
                  <a:lnTo>
                    <a:pt x="18016" y="11649"/>
                  </a:lnTo>
                  <a:lnTo>
                    <a:pt x="17826" y="11764"/>
                  </a:lnTo>
                  <a:lnTo>
                    <a:pt x="17621" y="11730"/>
                  </a:lnTo>
                  <a:lnTo>
                    <a:pt x="17779" y="11845"/>
                  </a:lnTo>
                  <a:lnTo>
                    <a:pt x="17905" y="11845"/>
                  </a:lnTo>
                  <a:lnTo>
                    <a:pt x="17779" y="12007"/>
                  </a:lnTo>
                  <a:lnTo>
                    <a:pt x="17984" y="12297"/>
                  </a:lnTo>
                  <a:lnTo>
                    <a:pt x="18532" y="12574"/>
                  </a:lnTo>
                  <a:lnTo>
                    <a:pt x="17858" y="12731"/>
                  </a:lnTo>
                  <a:lnTo>
                    <a:pt x="17826" y="12812"/>
                  </a:lnTo>
                  <a:lnTo>
                    <a:pt x="17547" y="13022"/>
                  </a:lnTo>
                  <a:lnTo>
                    <a:pt x="17468" y="12941"/>
                  </a:lnTo>
                  <a:lnTo>
                    <a:pt x="17510" y="12779"/>
                  </a:lnTo>
                  <a:lnTo>
                    <a:pt x="17668" y="12617"/>
                  </a:lnTo>
                  <a:lnTo>
                    <a:pt x="18016" y="12493"/>
                  </a:lnTo>
                  <a:lnTo>
                    <a:pt x="17826" y="12493"/>
                  </a:lnTo>
                  <a:lnTo>
                    <a:pt x="17905" y="12378"/>
                  </a:lnTo>
                  <a:lnTo>
                    <a:pt x="17310" y="12536"/>
                  </a:lnTo>
                  <a:lnTo>
                    <a:pt x="17273" y="12698"/>
                  </a:lnTo>
                  <a:lnTo>
                    <a:pt x="16994" y="12698"/>
                  </a:lnTo>
                  <a:lnTo>
                    <a:pt x="16836" y="12860"/>
                  </a:lnTo>
                  <a:lnTo>
                    <a:pt x="16599" y="13022"/>
                  </a:lnTo>
                  <a:lnTo>
                    <a:pt x="16446" y="13265"/>
                  </a:lnTo>
                  <a:lnTo>
                    <a:pt x="16488" y="13379"/>
                  </a:lnTo>
                  <a:lnTo>
                    <a:pt x="16599" y="13379"/>
                  </a:lnTo>
                  <a:lnTo>
                    <a:pt x="16599" y="13460"/>
                  </a:lnTo>
                  <a:lnTo>
                    <a:pt x="16321" y="13503"/>
                  </a:lnTo>
                  <a:lnTo>
                    <a:pt x="16130" y="13541"/>
                  </a:lnTo>
                  <a:lnTo>
                    <a:pt x="15814" y="13622"/>
                  </a:lnTo>
                  <a:lnTo>
                    <a:pt x="16084" y="13622"/>
                  </a:lnTo>
                  <a:lnTo>
                    <a:pt x="15814" y="13704"/>
                  </a:lnTo>
                  <a:lnTo>
                    <a:pt x="15693" y="13746"/>
                  </a:lnTo>
                  <a:lnTo>
                    <a:pt x="15735" y="13780"/>
                  </a:lnTo>
                  <a:lnTo>
                    <a:pt x="15656" y="13942"/>
                  </a:lnTo>
                  <a:lnTo>
                    <a:pt x="15498" y="14152"/>
                  </a:lnTo>
                  <a:lnTo>
                    <a:pt x="15377" y="14023"/>
                  </a:lnTo>
                  <a:lnTo>
                    <a:pt x="15377" y="14104"/>
                  </a:lnTo>
                  <a:lnTo>
                    <a:pt x="15424" y="14233"/>
                  </a:lnTo>
                  <a:lnTo>
                    <a:pt x="15266" y="14476"/>
                  </a:lnTo>
                  <a:lnTo>
                    <a:pt x="15220" y="14266"/>
                  </a:lnTo>
                  <a:lnTo>
                    <a:pt x="15187" y="14152"/>
                  </a:lnTo>
                  <a:lnTo>
                    <a:pt x="15266" y="13990"/>
                  </a:lnTo>
                  <a:lnTo>
                    <a:pt x="15141" y="14023"/>
                  </a:lnTo>
                  <a:lnTo>
                    <a:pt x="15108" y="14314"/>
                  </a:lnTo>
                  <a:lnTo>
                    <a:pt x="14950" y="14266"/>
                  </a:lnTo>
                  <a:lnTo>
                    <a:pt x="15141" y="14428"/>
                  </a:lnTo>
                  <a:lnTo>
                    <a:pt x="15108" y="14509"/>
                  </a:lnTo>
                  <a:lnTo>
                    <a:pt x="15062" y="14671"/>
                  </a:lnTo>
                  <a:lnTo>
                    <a:pt x="15187" y="14714"/>
                  </a:lnTo>
                  <a:lnTo>
                    <a:pt x="15187" y="14909"/>
                  </a:lnTo>
                  <a:lnTo>
                    <a:pt x="15141" y="14795"/>
                  </a:lnTo>
                  <a:lnTo>
                    <a:pt x="15108" y="14876"/>
                  </a:lnTo>
                  <a:lnTo>
                    <a:pt x="14983" y="14909"/>
                  </a:lnTo>
                  <a:lnTo>
                    <a:pt x="15187" y="14957"/>
                  </a:lnTo>
                  <a:lnTo>
                    <a:pt x="15108" y="15119"/>
                  </a:lnTo>
                  <a:lnTo>
                    <a:pt x="14950" y="15071"/>
                  </a:lnTo>
                  <a:lnTo>
                    <a:pt x="15029" y="15200"/>
                  </a:lnTo>
                  <a:lnTo>
                    <a:pt x="14634" y="15443"/>
                  </a:lnTo>
                  <a:lnTo>
                    <a:pt x="14355" y="15601"/>
                  </a:lnTo>
                  <a:lnTo>
                    <a:pt x="14072" y="15801"/>
                  </a:lnTo>
                  <a:lnTo>
                    <a:pt x="13840" y="16120"/>
                  </a:lnTo>
                  <a:lnTo>
                    <a:pt x="13882" y="16525"/>
                  </a:lnTo>
                  <a:lnTo>
                    <a:pt x="13919" y="16892"/>
                  </a:lnTo>
                  <a:lnTo>
                    <a:pt x="13998" y="17169"/>
                  </a:lnTo>
                  <a:lnTo>
                    <a:pt x="13882" y="17574"/>
                  </a:lnTo>
                  <a:lnTo>
                    <a:pt x="13724" y="17574"/>
                  </a:lnTo>
                  <a:lnTo>
                    <a:pt x="13603" y="17412"/>
                  </a:lnTo>
                  <a:lnTo>
                    <a:pt x="13524" y="17135"/>
                  </a:lnTo>
                  <a:lnTo>
                    <a:pt x="13524" y="16926"/>
                  </a:lnTo>
                  <a:lnTo>
                    <a:pt x="13445" y="16892"/>
                  </a:lnTo>
                  <a:lnTo>
                    <a:pt x="13491" y="16730"/>
                  </a:lnTo>
                  <a:lnTo>
                    <a:pt x="13412" y="16525"/>
                  </a:lnTo>
                  <a:lnTo>
                    <a:pt x="13254" y="16363"/>
                  </a:lnTo>
                  <a:lnTo>
                    <a:pt x="13017" y="16492"/>
                  </a:lnTo>
                  <a:lnTo>
                    <a:pt x="12859" y="16282"/>
                  </a:lnTo>
                  <a:lnTo>
                    <a:pt x="12548" y="16282"/>
                  </a:lnTo>
                  <a:lnTo>
                    <a:pt x="12455" y="16249"/>
                  </a:lnTo>
                  <a:lnTo>
                    <a:pt x="12186" y="16282"/>
                  </a:lnTo>
                  <a:lnTo>
                    <a:pt x="11949" y="16282"/>
                  </a:lnTo>
                  <a:lnTo>
                    <a:pt x="12144" y="16411"/>
                  </a:lnTo>
                  <a:lnTo>
                    <a:pt x="12186" y="16525"/>
                  </a:lnTo>
                  <a:lnTo>
                    <a:pt x="11986" y="16573"/>
                  </a:lnTo>
                  <a:lnTo>
                    <a:pt x="11717" y="16444"/>
                  </a:lnTo>
                  <a:lnTo>
                    <a:pt x="11401" y="16411"/>
                  </a:lnTo>
                  <a:lnTo>
                    <a:pt x="11122" y="16411"/>
                  </a:lnTo>
                  <a:lnTo>
                    <a:pt x="10885" y="16573"/>
                  </a:lnTo>
                  <a:lnTo>
                    <a:pt x="10616" y="16687"/>
                  </a:lnTo>
                  <a:lnTo>
                    <a:pt x="10369" y="16926"/>
                  </a:lnTo>
                  <a:lnTo>
                    <a:pt x="10411" y="17250"/>
                  </a:lnTo>
                  <a:lnTo>
                    <a:pt x="10369" y="17412"/>
                  </a:lnTo>
                  <a:lnTo>
                    <a:pt x="10290" y="17459"/>
                  </a:lnTo>
                  <a:lnTo>
                    <a:pt x="10253" y="17655"/>
                  </a:lnTo>
                  <a:lnTo>
                    <a:pt x="10211" y="17898"/>
                  </a:lnTo>
                  <a:lnTo>
                    <a:pt x="10174" y="18174"/>
                  </a:lnTo>
                  <a:lnTo>
                    <a:pt x="10253" y="18379"/>
                  </a:lnTo>
                  <a:lnTo>
                    <a:pt x="10174" y="18332"/>
                  </a:lnTo>
                  <a:lnTo>
                    <a:pt x="10253" y="18541"/>
                  </a:lnTo>
                  <a:lnTo>
                    <a:pt x="10369" y="18785"/>
                  </a:lnTo>
                  <a:lnTo>
                    <a:pt x="10448" y="19028"/>
                  </a:lnTo>
                  <a:lnTo>
                    <a:pt x="10648" y="19104"/>
                  </a:lnTo>
                  <a:lnTo>
                    <a:pt x="10774" y="19185"/>
                  </a:lnTo>
                  <a:lnTo>
                    <a:pt x="11085" y="19142"/>
                  </a:lnTo>
                  <a:lnTo>
                    <a:pt x="11275" y="19061"/>
                  </a:lnTo>
                  <a:lnTo>
                    <a:pt x="11559" y="18947"/>
                  </a:lnTo>
                  <a:lnTo>
                    <a:pt x="11638" y="18818"/>
                  </a:lnTo>
                  <a:lnTo>
                    <a:pt x="11717" y="18575"/>
                  </a:lnTo>
                  <a:lnTo>
                    <a:pt x="11796" y="18494"/>
                  </a:lnTo>
                  <a:lnTo>
                    <a:pt x="12028" y="18413"/>
                  </a:lnTo>
                  <a:lnTo>
                    <a:pt x="12186" y="18379"/>
                  </a:lnTo>
                  <a:lnTo>
                    <a:pt x="12423" y="18413"/>
                  </a:lnTo>
                  <a:lnTo>
                    <a:pt x="12423" y="18575"/>
                  </a:lnTo>
                  <a:lnTo>
                    <a:pt x="12297" y="18737"/>
                  </a:lnTo>
                  <a:lnTo>
                    <a:pt x="12186" y="18866"/>
                  </a:lnTo>
                  <a:lnTo>
                    <a:pt x="12265" y="18899"/>
                  </a:lnTo>
                  <a:lnTo>
                    <a:pt x="12186" y="19142"/>
                  </a:lnTo>
                  <a:lnTo>
                    <a:pt x="12107" y="19061"/>
                  </a:lnTo>
                  <a:lnTo>
                    <a:pt x="12065" y="19142"/>
                  </a:lnTo>
                  <a:lnTo>
                    <a:pt x="11986" y="19142"/>
                  </a:lnTo>
                  <a:lnTo>
                    <a:pt x="11875" y="19266"/>
                  </a:lnTo>
                  <a:lnTo>
                    <a:pt x="11512" y="19266"/>
                  </a:lnTo>
                  <a:lnTo>
                    <a:pt x="11433" y="19428"/>
                  </a:lnTo>
                  <a:lnTo>
                    <a:pt x="11591" y="19590"/>
                  </a:lnTo>
                  <a:lnTo>
                    <a:pt x="11559" y="19671"/>
                  </a:lnTo>
                  <a:lnTo>
                    <a:pt x="11322" y="19671"/>
                  </a:lnTo>
                  <a:lnTo>
                    <a:pt x="11196" y="19833"/>
                  </a:lnTo>
                  <a:lnTo>
                    <a:pt x="11243" y="19914"/>
                  </a:lnTo>
                  <a:lnTo>
                    <a:pt x="11164" y="19995"/>
                  </a:lnTo>
                  <a:lnTo>
                    <a:pt x="11043" y="19833"/>
                  </a:lnTo>
                  <a:lnTo>
                    <a:pt x="10774" y="19671"/>
                  </a:lnTo>
                  <a:lnTo>
                    <a:pt x="10616" y="19671"/>
                  </a:lnTo>
                  <a:lnTo>
                    <a:pt x="10290" y="19786"/>
                  </a:lnTo>
                  <a:lnTo>
                    <a:pt x="9863" y="19542"/>
                  </a:lnTo>
                  <a:lnTo>
                    <a:pt x="9501" y="19428"/>
                  </a:lnTo>
                  <a:lnTo>
                    <a:pt x="9189" y="19223"/>
                  </a:lnTo>
                  <a:lnTo>
                    <a:pt x="8920" y="19142"/>
                  </a:lnTo>
                  <a:lnTo>
                    <a:pt x="8636" y="18947"/>
                  </a:lnTo>
                  <a:lnTo>
                    <a:pt x="8479" y="18656"/>
                  </a:lnTo>
                  <a:lnTo>
                    <a:pt x="8557" y="18622"/>
                  </a:lnTo>
                  <a:lnTo>
                    <a:pt x="8557" y="18494"/>
                  </a:lnTo>
                  <a:lnTo>
                    <a:pt x="8604" y="18413"/>
                  </a:lnTo>
                  <a:lnTo>
                    <a:pt x="8516" y="18174"/>
                  </a:lnTo>
                  <a:lnTo>
                    <a:pt x="8400" y="17898"/>
                  </a:lnTo>
                  <a:lnTo>
                    <a:pt x="8200" y="17622"/>
                  </a:lnTo>
                  <a:lnTo>
                    <a:pt x="7851" y="17250"/>
                  </a:lnTo>
                  <a:lnTo>
                    <a:pt x="7930" y="17135"/>
                  </a:lnTo>
                  <a:lnTo>
                    <a:pt x="7884" y="17007"/>
                  </a:lnTo>
                  <a:lnTo>
                    <a:pt x="7693" y="16849"/>
                  </a:lnTo>
                  <a:lnTo>
                    <a:pt x="7693" y="16730"/>
                  </a:lnTo>
                  <a:lnTo>
                    <a:pt x="7614" y="16730"/>
                  </a:lnTo>
                  <a:lnTo>
                    <a:pt x="7494" y="16525"/>
                  </a:lnTo>
                  <a:lnTo>
                    <a:pt x="7336" y="16201"/>
                  </a:lnTo>
                  <a:lnTo>
                    <a:pt x="7336" y="15877"/>
                  </a:lnTo>
                  <a:lnTo>
                    <a:pt x="6987" y="15639"/>
                  </a:lnTo>
                  <a:lnTo>
                    <a:pt x="6941" y="16087"/>
                  </a:lnTo>
                  <a:lnTo>
                    <a:pt x="7099" y="16282"/>
                  </a:lnTo>
                  <a:lnTo>
                    <a:pt x="7224" y="16573"/>
                  </a:lnTo>
                  <a:lnTo>
                    <a:pt x="7224" y="16687"/>
                  </a:lnTo>
                  <a:lnTo>
                    <a:pt x="7303" y="16768"/>
                  </a:lnTo>
                  <a:lnTo>
                    <a:pt x="7415" y="17054"/>
                  </a:lnTo>
                  <a:lnTo>
                    <a:pt x="7415" y="16926"/>
                  </a:lnTo>
                  <a:lnTo>
                    <a:pt x="7573" y="17459"/>
                  </a:lnTo>
                  <a:lnTo>
                    <a:pt x="7647" y="17622"/>
                  </a:lnTo>
                  <a:lnTo>
                    <a:pt x="7693" y="17736"/>
                  </a:lnTo>
                  <a:lnTo>
                    <a:pt x="7726" y="17931"/>
                  </a:lnTo>
                  <a:lnTo>
                    <a:pt x="7647" y="18012"/>
                  </a:lnTo>
                  <a:lnTo>
                    <a:pt x="7573" y="17850"/>
                  </a:lnTo>
                  <a:lnTo>
                    <a:pt x="7224" y="17459"/>
                  </a:lnTo>
                  <a:lnTo>
                    <a:pt x="7257" y="17135"/>
                  </a:lnTo>
                  <a:lnTo>
                    <a:pt x="7099" y="16926"/>
                  </a:lnTo>
                  <a:lnTo>
                    <a:pt x="7020" y="16973"/>
                  </a:lnTo>
                  <a:lnTo>
                    <a:pt x="6783" y="16687"/>
                  </a:lnTo>
                  <a:lnTo>
                    <a:pt x="6941" y="16730"/>
                  </a:lnTo>
                  <a:lnTo>
                    <a:pt x="6987" y="16525"/>
                  </a:lnTo>
                  <a:lnTo>
                    <a:pt x="6829" y="16282"/>
                  </a:lnTo>
                  <a:lnTo>
                    <a:pt x="6704" y="16120"/>
                  </a:lnTo>
                  <a:lnTo>
                    <a:pt x="6625" y="15720"/>
                  </a:lnTo>
                  <a:lnTo>
                    <a:pt x="6551" y="15443"/>
                  </a:lnTo>
                  <a:lnTo>
                    <a:pt x="6504" y="15200"/>
                  </a:lnTo>
                  <a:lnTo>
                    <a:pt x="6346" y="15038"/>
                  </a:lnTo>
                  <a:lnTo>
                    <a:pt x="6188" y="14909"/>
                  </a:lnTo>
                  <a:lnTo>
                    <a:pt x="5951" y="14876"/>
                  </a:lnTo>
                  <a:lnTo>
                    <a:pt x="5951" y="14633"/>
                  </a:lnTo>
                  <a:lnTo>
                    <a:pt x="5798" y="14314"/>
                  </a:lnTo>
                  <a:lnTo>
                    <a:pt x="5840" y="14185"/>
                  </a:lnTo>
                  <a:lnTo>
                    <a:pt x="5761" y="14104"/>
                  </a:lnTo>
                  <a:lnTo>
                    <a:pt x="5761" y="13942"/>
                  </a:lnTo>
                  <a:lnTo>
                    <a:pt x="5840" y="13990"/>
                  </a:lnTo>
                  <a:lnTo>
                    <a:pt x="5798" y="13780"/>
                  </a:lnTo>
                  <a:lnTo>
                    <a:pt x="5682" y="13827"/>
                  </a:lnTo>
                  <a:lnTo>
                    <a:pt x="5603" y="13541"/>
                  </a:lnTo>
                  <a:lnTo>
                    <a:pt x="5603" y="13265"/>
                  </a:lnTo>
                  <a:lnTo>
                    <a:pt x="5561" y="13136"/>
                  </a:lnTo>
                  <a:lnTo>
                    <a:pt x="5682" y="12779"/>
                  </a:lnTo>
                  <a:lnTo>
                    <a:pt x="5719" y="12331"/>
                  </a:lnTo>
                  <a:lnTo>
                    <a:pt x="5951" y="11845"/>
                  </a:lnTo>
                  <a:lnTo>
                    <a:pt x="6109" y="11406"/>
                  </a:lnTo>
                  <a:lnTo>
                    <a:pt x="6188" y="11087"/>
                  </a:lnTo>
                  <a:lnTo>
                    <a:pt x="6235" y="10558"/>
                  </a:lnTo>
                  <a:lnTo>
                    <a:pt x="6504" y="10682"/>
                  </a:lnTo>
                  <a:lnTo>
                    <a:pt x="6504" y="10844"/>
                  </a:lnTo>
                  <a:lnTo>
                    <a:pt x="6472" y="11006"/>
                  </a:lnTo>
                  <a:lnTo>
                    <a:pt x="6625" y="10877"/>
                  </a:lnTo>
                  <a:lnTo>
                    <a:pt x="6671" y="10520"/>
                  </a:lnTo>
                  <a:lnTo>
                    <a:pt x="6625" y="10357"/>
                  </a:lnTo>
                  <a:lnTo>
                    <a:pt x="6472" y="10153"/>
                  </a:lnTo>
                  <a:lnTo>
                    <a:pt x="6393" y="9828"/>
                  </a:lnTo>
                  <a:lnTo>
                    <a:pt x="5998" y="9552"/>
                  </a:lnTo>
                  <a:lnTo>
                    <a:pt x="5951" y="9428"/>
                  </a:lnTo>
                  <a:lnTo>
                    <a:pt x="6030" y="8632"/>
                  </a:lnTo>
                  <a:lnTo>
                    <a:pt x="6156" y="8470"/>
                  </a:lnTo>
                  <a:lnTo>
                    <a:pt x="5919" y="8632"/>
                  </a:lnTo>
                  <a:lnTo>
                    <a:pt x="5840" y="8227"/>
                  </a:lnTo>
                  <a:lnTo>
                    <a:pt x="6030" y="7984"/>
                  </a:lnTo>
                  <a:lnTo>
                    <a:pt x="6156" y="7664"/>
                  </a:lnTo>
                  <a:lnTo>
                    <a:pt x="6109" y="7745"/>
                  </a:lnTo>
                  <a:lnTo>
                    <a:pt x="5951" y="7984"/>
                  </a:lnTo>
                  <a:lnTo>
                    <a:pt x="5840" y="8065"/>
                  </a:lnTo>
                  <a:lnTo>
                    <a:pt x="5840" y="7941"/>
                  </a:lnTo>
                  <a:lnTo>
                    <a:pt x="5951" y="7779"/>
                  </a:lnTo>
                  <a:lnTo>
                    <a:pt x="5919" y="7617"/>
                  </a:lnTo>
                  <a:lnTo>
                    <a:pt x="5840" y="7617"/>
                  </a:lnTo>
                  <a:lnTo>
                    <a:pt x="5719" y="7698"/>
                  </a:lnTo>
                  <a:lnTo>
                    <a:pt x="5682" y="7698"/>
                  </a:lnTo>
                  <a:lnTo>
                    <a:pt x="5798" y="7583"/>
                  </a:lnTo>
                  <a:lnTo>
                    <a:pt x="5840" y="7421"/>
                  </a:lnTo>
                  <a:lnTo>
                    <a:pt x="5872" y="7293"/>
                  </a:lnTo>
                  <a:lnTo>
                    <a:pt x="5798" y="7293"/>
                  </a:lnTo>
                  <a:lnTo>
                    <a:pt x="5798" y="7212"/>
                  </a:lnTo>
                  <a:lnTo>
                    <a:pt x="5719" y="7054"/>
                  </a:lnTo>
                  <a:lnTo>
                    <a:pt x="5798" y="6935"/>
                  </a:lnTo>
                  <a:lnTo>
                    <a:pt x="5840" y="6973"/>
                  </a:lnTo>
                  <a:lnTo>
                    <a:pt x="5798" y="6811"/>
                  </a:lnTo>
                  <a:lnTo>
                    <a:pt x="5719" y="6697"/>
                  </a:lnTo>
                  <a:lnTo>
                    <a:pt x="5798" y="6568"/>
                  </a:lnTo>
                  <a:lnTo>
                    <a:pt x="5761" y="6616"/>
                  </a:lnTo>
                  <a:lnTo>
                    <a:pt x="5682" y="6535"/>
                  </a:lnTo>
                  <a:lnTo>
                    <a:pt x="5719" y="6163"/>
                  </a:lnTo>
                  <a:lnTo>
                    <a:pt x="5561" y="6568"/>
                  </a:lnTo>
                  <a:lnTo>
                    <a:pt x="5482" y="6487"/>
                  </a:lnTo>
                  <a:lnTo>
                    <a:pt x="5528" y="6244"/>
                  </a:lnTo>
                  <a:lnTo>
                    <a:pt x="5449" y="6325"/>
                  </a:lnTo>
                  <a:lnTo>
                    <a:pt x="5370" y="6211"/>
                  </a:lnTo>
                  <a:lnTo>
                    <a:pt x="5403" y="6487"/>
                  </a:lnTo>
                  <a:lnTo>
                    <a:pt x="5292" y="6535"/>
                  </a:lnTo>
                  <a:lnTo>
                    <a:pt x="5213" y="6406"/>
                  </a:lnTo>
                  <a:lnTo>
                    <a:pt x="5134" y="6130"/>
                  </a:lnTo>
                  <a:lnTo>
                    <a:pt x="5166" y="6087"/>
                  </a:lnTo>
                  <a:lnTo>
                    <a:pt x="5087" y="6087"/>
                  </a:lnTo>
                  <a:lnTo>
                    <a:pt x="4976" y="5887"/>
                  </a:lnTo>
                  <a:lnTo>
                    <a:pt x="5008" y="5806"/>
                  </a:lnTo>
                  <a:lnTo>
                    <a:pt x="5055" y="5729"/>
                  </a:lnTo>
                  <a:lnTo>
                    <a:pt x="5087" y="5844"/>
                  </a:lnTo>
                  <a:lnTo>
                    <a:pt x="5166" y="5763"/>
                  </a:lnTo>
                  <a:lnTo>
                    <a:pt x="5134" y="5682"/>
                  </a:lnTo>
                  <a:lnTo>
                    <a:pt x="4976" y="5763"/>
                  </a:lnTo>
                  <a:lnTo>
                    <a:pt x="4850" y="5763"/>
                  </a:lnTo>
                  <a:lnTo>
                    <a:pt x="4776" y="5682"/>
                  </a:lnTo>
                  <a:lnTo>
                    <a:pt x="4818" y="5601"/>
                  </a:lnTo>
                  <a:lnTo>
                    <a:pt x="4697" y="5648"/>
                  </a:lnTo>
                  <a:lnTo>
                    <a:pt x="4571" y="5520"/>
                  </a:lnTo>
                  <a:lnTo>
                    <a:pt x="4302" y="5486"/>
                  </a:lnTo>
                  <a:lnTo>
                    <a:pt x="4177" y="5324"/>
                  </a:lnTo>
                  <a:lnTo>
                    <a:pt x="4256" y="5276"/>
                  </a:lnTo>
                  <a:lnTo>
                    <a:pt x="4256" y="5195"/>
                  </a:lnTo>
                  <a:lnTo>
                    <a:pt x="4144" y="5276"/>
                  </a:lnTo>
                  <a:lnTo>
                    <a:pt x="4065" y="5195"/>
                  </a:lnTo>
                  <a:lnTo>
                    <a:pt x="3944" y="5081"/>
                  </a:lnTo>
                  <a:lnTo>
                    <a:pt x="3986" y="5000"/>
                  </a:lnTo>
                  <a:lnTo>
                    <a:pt x="4098" y="4919"/>
                  </a:lnTo>
                  <a:lnTo>
                    <a:pt x="3907" y="4957"/>
                  </a:lnTo>
                  <a:lnTo>
                    <a:pt x="3786" y="4957"/>
                  </a:lnTo>
                  <a:lnTo>
                    <a:pt x="3754" y="4919"/>
                  </a:lnTo>
                  <a:lnTo>
                    <a:pt x="3707" y="4919"/>
                  </a:lnTo>
                  <a:lnTo>
                    <a:pt x="3628" y="5038"/>
                  </a:lnTo>
                  <a:lnTo>
                    <a:pt x="3675" y="5114"/>
                  </a:lnTo>
                  <a:lnTo>
                    <a:pt x="3438" y="5324"/>
                  </a:lnTo>
                  <a:lnTo>
                    <a:pt x="3280" y="5276"/>
                  </a:lnTo>
                  <a:lnTo>
                    <a:pt x="3001" y="5439"/>
                  </a:lnTo>
                  <a:lnTo>
                    <a:pt x="2843" y="5520"/>
                  </a:lnTo>
                  <a:lnTo>
                    <a:pt x="2685" y="5520"/>
                  </a:lnTo>
                  <a:lnTo>
                    <a:pt x="2732" y="5439"/>
                  </a:lnTo>
                  <a:lnTo>
                    <a:pt x="2964" y="5324"/>
                  </a:lnTo>
                  <a:lnTo>
                    <a:pt x="2806" y="5324"/>
                  </a:lnTo>
                  <a:lnTo>
                    <a:pt x="2806" y="5276"/>
                  </a:lnTo>
                  <a:lnTo>
                    <a:pt x="2922" y="5162"/>
                  </a:lnTo>
                  <a:lnTo>
                    <a:pt x="3122" y="4919"/>
                  </a:lnTo>
                  <a:lnTo>
                    <a:pt x="3312" y="4838"/>
                  </a:lnTo>
                  <a:lnTo>
                    <a:pt x="3359" y="4876"/>
                  </a:lnTo>
                  <a:lnTo>
                    <a:pt x="3470" y="4838"/>
                  </a:lnTo>
                  <a:lnTo>
                    <a:pt x="3438" y="4795"/>
                  </a:lnTo>
                  <a:lnTo>
                    <a:pt x="3549" y="4714"/>
                  </a:lnTo>
                  <a:lnTo>
                    <a:pt x="3391" y="4714"/>
                  </a:lnTo>
                  <a:lnTo>
                    <a:pt x="3438" y="4600"/>
                  </a:lnTo>
                  <a:lnTo>
                    <a:pt x="3280" y="4714"/>
                  </a:lnTo>
                  <a:lnTo>
                    <a:pt x="3043" y="4838"/>
                  </a:lnTo>
                  <a:lnTo>
                    <a:pt x="2806" y="5038"/>
                  </a:lnTo>
                  <a:lnTo>
                    <a:pt x="2732" y="5038"/>
                  </a:lnTo>
                  <a:lnTo>
                    <a:pt x="2764" y="5114"/>
                  </a:lnTo>
                  <a:lnTo>
                    <a:pt x="2685" y="5162"/>
                  </a:lnTo>
                  <a:lnTo>
                    <a:pt x="2481" y="5276"/>
                  </a:lnTo>
                  <a:lnTo>
                    <a:pt x="2211" y="5486"/>
                  </a:lnTo>
                  <a:lnTo>
                    <a:pt x="2290" y="5520"/>
                  </a:lnTo>
                  <a:lnTo>
                    <a:pt x="2323" y="5601"/>
                  </a:lnTo>
                  <a:lnTo>
                    <a:pt x="2012" y="5844"/>
                  </a:lnTo>
                  <a:lnTo>
                    <a:pt x="1696" y="6006"/>
                  </a:lnTo>
                  <a:lnTo>
                    <a:pt x="1426" y="6163"/>
                  </a:lnTo>
                  <a:lnTo>
                    <a:pt x="1069" y="6406"/>
                  </a:lnTo>
                  <a:lnTo>
                    <a:pt x="878" y="6535"/>
                  </a:lnTo>
                  <a:lnTo>
                    <a:pt x="706" y="6649"/>
                  </a:lnTo>
                  <a:lnTo>
                    <a:pt x="474" y="6778"/>
                  </a:lnTo>
                  <a:lnTo>
                    <a:pt x="474" y="6697"/>
                  </a:lnTo>
                  <a:lnTo>
                    <a:pt x="358" y="6730"/>
                  </a:lnTo>
                  <a:lnTo>
                    <a:pt x="79" y="6811"/>
                  </a:lnTo>
                  <a:lnTo>
                    <a:pt x="125" y="6730"/>
                  </a:lnTo>
                  <a:lnTo>
                    <a:pt x="46" y="6778"/>
                  </a:lnTo>
                  <a:lnTo>
                    <a:pt x="0" y="6811"/>
                  </a:lnTo>
                  <a:lnTo>
                    <a:pt x="0" y="6730"/>
                  </a:lnTo>
                  <a:lnTo>
                    <a:pt x="0" y="6649"/>
                  </a:lnTo>
                  <a:lnTo>
                    <a:pt x="79" y="6568"/>
                  </a:lnTo>
                  <a:lnTo>
                    <a:pt x="316" y="6568"/>
                  </a:lnTo>
                  <a:lnTo>
                    <a:pt x="279" y="6616"/>
                  </a:lnTo>
                  <a:lnTo>
                    <a:pt x="316" y="6649"/>
                  </a:lnTo>
                  <a:lnTo>
                    <a:pt x="358" y="6616"/>
                  </a:lnTo>
                  <a:lnTo>
                    <a:pt x="395" y="6649"/>
                  </a:lnTo>
                  <a:lnTo>
                    <a:pt x="395" y="6535"/>
                  </a:lnTo>
                  <a:lnTo>
                    <a:pt x="516" y="6406"/>
                  </a:lnTo>
                  <a:lnTo>
                    <a:pt x="799" y="6244"/>
                  </a:lnTo>
                  <a:lnTo>
                    <a:pt x="911" y="6292"/>
                  </a:lnTo>
                  <a:lnTo>
                    <a:pt x="990" y="6130"/>
                  </a:lnTo>
                  <a:lnTo>
                    <a:pt x="1226" y="6006"/>
                  </a:lnTo>
                  <a:lnTo>
                    <a:pt x="1268" y="6006"/>
                  </a:lnTo>
                  <a:lnTo>
                    <a:pt x="1268" y="5968"/>
                  </a:lnTo>
                  <a:lnTo>
                    <a:pt x="1380" y="5729"/>
                  </a:lnTo>
                  <a:lnTo>
                    <a:pt x="1459" y="5648"/>
                  </a:lnTo>
                  <a:lnTo>
                    <a:pt x="1696" y="5405"/>
                  </a:lnTo>
                  <a:lnTo>
                    <a:pt x="1347" y="5486"/>
                  </a:lnTo>
                  <a:lnTo>
                    <a:pt x="1426" y="5276"/>
                  </a:lnTo>
                  <a:lnTo>
                    <a:pt x="1189" y="5567"/>
                  </a:lnTo>
                  <a:lnTo>
                    <a:pt x="1148" y="5324"/>
                  </a:lnTo>
                  <a:lnTo>
                    <a:pt x="1110" y="5357"/>
                  </a:lnTo>
                  <a:lnTo>
                    <a:pt x="1069" y="5243"/>
                  </a:lnTo>
                  <a:lnTo>
                    <a:pt x="799" y="5357"/>
                  </a:lnTo>
                  <a:lnTo>
                    <a:pt x="674" y="5324"/>
                  </a:lnTo>
                  <a:lnTo>
                    <a:pt x="753" y="5276"/>
                  </a:lnTo>
                  <a:lnTo>
                    <a:pt x="799" y="5114"/>
                  </a:lnTo>
                  <a:lnTo>
                    <a:pt x="911" y="5000"/>
                  </a:lnTo>
                  <a:lnTo>
                    <a:pt x="1031" y="4552"/>
                  </a:lnTo>
                  <a:lnTo>
                    <a:pt x="911" y="4757"/>
                  </a:lnTo>
                  <a:lnTo>
                    <a:pt x="753" y="4757"/>
                  </a:lnTo>
                  <a:lnTo>
                    <a:pt x="595" y="4714"/>
                  </a:lnTo>
                  <a:lnTo>
                    <a:pt x="595" y="4519"/>
                  </a:lnTo>
                  <a:lnTo>
                    <a:pt x="516" y="4357"/>
                  </a:lnTo>
                  <a:lnTo>
                    <a:pt x="674" y="4228"/>
                  </a:lnTo>
                  <a:lnTo>
                    <a:pt x="832" y="4357"/>
                  </a:lnTo>
                  <a:lnTo>
                    <a:pt x="832" y="4438"/>
                  </a:lnTo>
                  <a:lnTo>
                    <a:pt x="957" y="4309"/>
                  </a:lnTo>
                  <a:lnTo>
                    <a:pt x="990" y="4113"/>
                  </a:lnTo>
                  <a:lnTo>
                    <a:pt x="878" y="4194"/>
                  </a:lnTo>
                  <a:lnTo>
                    <a:pt x="799" y="4228"/>
                  </a:lnTo>
                  <a:lnTo>
                    <a:pt x="674" y="4147"/>
                  </a:lnTo>
                  <a:lnTo>
                    <a:pt x="627" y="3951"/>
                  </a:lnTo>
                  <a:lnTo>
                    <a:pt x="674" y="3827"/>
                  </a:lnTo>
                  <a:lnTo>
                    <a:pt x="706" y="3746"/>
                  </a:lnTo>
                  <a:lnTo>
                    <a:pt x="799" y="3746"/>
                  </a:lnTo>
                  <a:lnTo>
                    <a:pt x="878" y="3584"/>
                  </a:lnTo>
                  <a:lnTo>
                    <a:pt x="1069" y="3422"/>
                  </a:lnTo>
                  <a:lnTo>
                    <a:pt x="1268" y="3341"/>
                  </a:lnTo>
                  <a:lnTo>
                    <a:pt x="1189" y="3341"/>
                  </a:lnTo>
                  <a:lnTo>
                    <a:pt x="1347" y="3179"/>
                  </a:lnTo>
                  <a:lnTo>
                    <a:pt x="1505" y="3146"/>
                  </a:lnTo>
                  <a:lnTo>
                    <a:pt x="1459" y="3260"/>
                  </a:lnTo>
                  <a:lnTo>
                    <a:pt x="1617" y="3260"/>
                  </a:lnTo>
                  <a:lnTo>
                    <a:pt x="1854" y="3098"/>
                  </a:lnTo>
                  <a:lnTo>
                    <a:pt x="1933" y="3146"/>
                  </a:lnTo>
                  <a:lnTo>
                    <a:pt x="2211" y="3017"/>
                  </a:lnTo>
                  <a:lnTo>
                    <a:pt x="2290" y="2822"/>
                  </a:lnTo>
                  <a:lnTo>
                    <a:pt x="2290" y="2698"/>
                  </a:lnTo>
                  <a:lnTo>
                    <a:pt x="2448" y="2617"/>
                  </a:lnTo>
                  <a:lnTo>
                    <a:pt x="2481" y="2502"/>
                  </a:lnTo>
                  <a:lnTo>
                    <a:pt x="2369" y="2536"/>
                  </a:lnTo>
                  <a:lnTo>
                    <a:pt x="2053" y="2660"/>
                  </a:lnTo>
                  <a:lnTo>
                    <a:pt x="1979" y="2583"/>
                  </a:lnTo>
                  <a:lnTo>
                    <a:pt x="1900" y="2502"/>
                  </a:lnTo>
                  <a:lnTo>
                    <a:pt x="1696" y="2502"/>
                  </a:lnTo>
                  <a:lnTo>
                    <a:pt x="1505" y="2340"/>
                  </a:lnTo>
                  <a:lnTo>
                    <a:pt x="1584" y="2178"/>
                  </a:lnTo>
                  <a:lnTo>
                    <a:pt x="1584" y="1969"/>
                  </a:lnTo>
                  <a:lnTo>
                    <a:pt x="1663" y="2050"/>
                  </a:lnTo>
                  <a:lnTo>
                    <a:pt x="1742" y="2131"/>
                  </a:lnTo>
                  <a:lnTo>
                    <a:pt x="1854" y="2097"/>
                  </a:lnTo>
                  <a:lnTo>
                    <a:pt x="1742" y="2050"/>
                  </a:lnTo>
                  <a:lnTo>
                    <a:pt x="1584" y="1888"/>
                  </a:lnTo>
                  <a:lnTo>
                    <a:pt x="1505" y="1811"/>
                  </a:lnTo>
                  <a:lnTo>
                    <a:pt x="1538" y="1692"/>
                  </a:lnTo>
                  <a:lnTo>
                    <a:pt x="1584" y="1692"/>
                  </a:lnTo>
                  <a:lnTo>
                    <a:pt x="2012" y="1568"/>
                  </a:lnTo>
                  <a:lnTo>
                    <a:pt x="2012" y="1611"/>
                  </a:lnTo>
                  <a:lnTo>
                    <a:pt x="2132" y="1611"/>
                  </a:lnTo>
                  <a:lnTo>
                    <a:pt x="2132" y="1568"/>
                  </a:lnTo>
                  <a:lnTo>
                    <a:pt x="2402" y="1454"/>
                  </a:lnTo>
                  <a:lnTo>
                    <a:pt x="2560" y="1487"/>
                  </a:lnTo>
                  <a:lnTo>
                    <a:pt x="2448" y="1611"/>
                  </a:lnTo>
                  <a:lnTo>
                    <a:pt x="2402" y="1730"/>
                  </a:lnTo>
                  <a:lnTo>
                    <a:pt x="2732" y="1888"/>
                  </a:lnTo>
                  <a:lnTo>
                    <a:pt x="2885" y="1811"/>
                  </a:lnTo>
                  <a:lnTo>
                    <a:pt x="2843" y="1935"/>
                  </a:lnTo>
                  <a:lnTo>
                    <a:pt x="2922" y="1811"/>
                  </a:lnTo>
                  <a:lnTo>
                    <a:pt x="2885" y="1730"/>
                  </a:lnTo>
                  <a:lnTo>
                    <a:pt x="2806" y="1730"/>
                  </a:lnTo>
                  <a:lnTo>
                    <a:pt x="2885" y="1454"/>
                  </a:lnTo>
                  <a:lnTo>
                    <a:pt x="2922" y="1454"/>
                  </a:lnTo>
                  <a:lnTo>
                    <a:pt x="2922" y="1649"/>
                  </a:lnTo>
                  <a:lnTo>
                    <a:pt x="3001" y="1773"/>
                  </a:lnTo>
                  <a:lnTo>
                    <a:pt x="3154" y="181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3" name="Freeform 5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20" y="1847"/>
              <a:ext cx="197" cy="180"/>
            </a:xfrm>
            <a:custGeom>
              <a:avLst/>
              <a:gdLst>
                <a:gd name="T0" fmla="*/ 160 w 20000"/>
                <a:gd name="T1" fmla="*/ 142 h 20000"/>
                <a:gd name="T2" fmla="*/ 173 w 20000"/>
                <a:gd name="T3" fmla="*/ 115 h 20000"/>
                <a:gd name="T4" fmla="*/ 169 w 20000"/>
                <a:gd name="T5" fmla="*/ 101 h 20000"/>
                <a:gd name="T6" fmla="*/ 173 w 20000"/>
                <a:gd name="T7" fmla="*/ 101 h 20000"/>
                <a:gd name="T8" fmla="*/ 177 w 20000"/>
                <a:gd name="T9" fmla="*/ 115 h 20000"/>
                <a:gd name="T10" fmla="*/ 194 w 20000"/>
                <a:gd name="T11" fmla="*/ 119 h 20000"/>
                <a:gd name="T12" fmla="*/ 198 w 20000"/>
                <a:gd name="T13" fmla="*/ 108 h 20000"/>
                <a:gd name="T14" fmla="*/ 191 w 20000"/>
                <a:gd name="T15" fmla="*/ 88 h 20000"/>
                <a:gd name="T16" fmla="*/ 169 w 20000"/>
                <a:gd name="T17" fmla="*/ 81 h 20000"/>
                <a:gd name="T18" fmla="*/ 136 w 20000"/>
                <a:gd name="T19" fmla="*/ 67 h 20000"/>
                <a:gd name="T20" fmla="*/ 126 w 20000"/>
                <a:gd name="T21" fmla="*/ 58 h 20000"/>
                <a:gd name="T22" fmla="*/ 129 w 20000"/>
                <a:gd name="T23" fmla="*/ 27 h 20000"/>
                <a:gd name="T24" fmla="*/ 119 w 20000"/>
                <a:gd name="T25" fmla="*/ 31 h 20000"/>
                <a:gd name="T26" fmla="*/ 106 w 20000"/>
                <a:gd name="T27" fmla="*/ 7 h 20000"/>
                <a:gd name="T28" fmla="*/ 78 w 20000"/>
                <a:gd name="T29" fmla="*/ 0 h 20000"/>
                <a:gd name="T30" fmla="*/ 58 w 20000"/>
                <a:gd name="T31" fmla="*/ 20 h 20000"/>
                <a:gd name="T32" fmla="*/ 34 w 20000"/>
                <a:gd name="T33" fmla="*/ 27 h 20000"/>
                <a:gd name="T34" fmla="*/ 18 w 20000"/>
                <a:gd name="T35" fmla="*/ 38 h 20000"/>
                <a:gd name="T36" fmla="*/ 0 w 20000"/>
                <a:gd name="T37" fmla="*/ 51 h 20000"/>
                <a:gd name="T38" fmla="*/ 7 w 20000"/>
                <a:gd name="T39" fmla="*/ 51 h 20000"/>
                <a:gd name="T40" fmla="*/ 20 w 20000"/>
                <a:gd name="T41" fmla="*/ 47 h 20000"/>
                <a:gd name="T42" fmla="*/ 18 w 20000"/>
                <a:gd name="T43" fmla="*/ 54 h 20000"/>
                <a:gd name="T44" fmla="*/ 51 w 20000"/>
                <a:gd name="T45" fmla="*/ 51 h 20000"/>
                <a:gd name="T46" fmla="*/ 72 w 20000"/>
                <a:gd name="T47" fmla="*/ 38 h 20000"/>
                <a:gd name="T48" fmla="*/ 78 w 20000"/>
                <a:gd name="T49" fmla="*/ 38 h 20000"/>
                <a:gd name="T50" fmla="*/ 68 w 20000"/>
                <a:gd name="T51" fmla="*/ 44 h 20000"/>
                <a:gd name="T52" fmla="*/ 61 w 20000"/>
                <a:gd name="T53" fmla="*/ 54 h 20000"/>
                <a:gd name="T54" fmla="*/ 74 w 20000"/>
                <a:gd name="T55" fmla="*/ 54 h 20000"/>
                <a:gd name="T56" fmla="*/ 78 w 20000"/>
                <a:gd name="T57" fmla="*/ 61 h 20000"/>
                <a:gd name="T58" fmla="*/ 88 w 20000"/>
                <a:gd name="T59" fmla="*/ 65 h 20000"/>
                <a:gd name="T60" fmla="*/ 99 w 20000"/>
                <a:gd name="T61" fmla="*/ 61 h 20000"/>
                <a:gd name="T62" fmla="*/ 119 w 20000"/>
                <a:gd name="T63" fmla="*/ 58 h 20000"/>
                <a:gd name="T64" fmla="*/ 119 w 20000"/>
                <a:gd name="T65" fmla="*/ 67 h 20000"/>
                <a:gd name="T66" fmla="*/ 129 w 20000"/>
                <a:gd name="T67" fmla="*/ 71 h 20000"/>
                <a:gd name="T68" fmla="*/ 132 w 20000"/>
                <a:gd name="T69" fmla="*/ 78 h 20000"/>
                <a:gd name="T70" fmla="*/ 122 w 20000"/>
                <a:gd name="T71" fmla="*/ 78 h 20000"/>
                <a:gd name="T72" fmla="*/ 106 w 20000"/>
                <a:gd name="T73" fmla="*/ 74 h 20000"/>
                <a:gd name="T74" fmla="*/ 85 w 20000"/>
                <a:gd name="T75" fmla="*/ 81 h 20000"/>
                <a:gd name="T76" fmla="*/ 58 w 20000"/>
                <a:gd name="T77" fmla="*/ 108 h 20000"/>
                <a:gd name="T78" fmla="*/ 78 w 20000"/>
                <a:gd name="T79" fmla="*/ 92 h 20000"/>
                <a:gd name="T80" fmla="*/ 61 w 20000"/>
                <a:gd name="T81" fmla="*/ 122 h 20000"/>
                <a:gd name="T82" fmla="*/ 54 w 20000"/>
                <a:gd name="T83" fmla="*/ 142 h 20000"/>
                <a:gd name="T84" fmla="*/ 51 w 20000"/>
                <a:gd name="T85" fmla="*/ 162 h 20000"/>
                <a:gd name="T86" fmla="*/ 51 w 20000"/>
                <a:gd name="T87" fmla="*/ 180 h 20000"/>
                <a:gd name="T88" fmla="*/ 65 w 20000"/>
                <a:gd name="T89" fmla="*/ 180 h 20000"/>
                <a:gd name="T90" fmla="*/ 74 w 20000"/>
                <a:gd name="T91" fmla="*/ 166 h 20000"/>
                <a:gd name="T92" fmla="*/ 74 w 20000"/>
                <a:gd name="T93" fmla="*/ 146 h 20000"/>
                <a:gd name="T94" fmla="*/ 78 w 20000"/>
                <a:gd name="T95" fmla="*/ 128 h 20000"/>
                <a:gd name="T96" fmla="*/ 85 w 20000"/>
                <a:gd name="T97" fmla="*/ 112 h 20000"/>
                <a:gd name="T98" fmla="*/ 99 w 20000"/>
                <a:gd name="T99" fmla="*/ 101 h 20000"/>
                <a:gd name="T100" fmla="*/ 106 w 20000"/>
                <a:gd name="T101" fmla="*/ 99 h 20000"/>
                <a:gd name="T102" fmla="*/ 112 w 20000"/>
                <a:gd name="T103" fmla="*/ 88 h 20000"/>
                <a:gd name="T104" fmla="*/ 119 w 20000"/>
                <a:gd name="T105" fmla="*/ 85 h 20000"/>
                <a:gd name="T106" fmla="*/ 139 w 20000"/>
                <a:gd name="T107" fmla="*/ 99 h 20000"/>
                <a:gd name="T108" fmla="*/ 139 w 20000"/>
                <a:gd name="T109" fmla="*/ 112 h 20000"/>
                <a:gd name="T110" fmla="*/ 129 w 20000"/>
                <a:gd name="T111" fmla="*/ 125 h 20000"/>
                <a:gd name="T112" fmla="*/ 122 w 20000"/>
                <a:gd name="T113" fmla="*/ 139 h 20000"/>
                <a:gd name="T114" fmla="*/ 129 w 20000"/>
                <a:gd name="T115" fmla="*/ 132 h 20000"/>
                <a:gd name="T116" fmla="*/ 142 w 20000"/>
                <a:gd name="T117" fmla="*/ 128 h 20000"/>
                <a:gd name="T118" fmla="*/ 142 w 20000"/>
                <a:gd name="T119" fmla="*/ 139 h 20000"/>
                <a:gd name="T120" fmla="*/ 142 w 20000"/>
                <a:gd name="T121" fmla="*/ 152 h 20000"/>
                <a:gd name="T122" fmla="*/ 160 w 20000"/>
                <a:gd name="T123" fmla="*/ 142 h 200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0000" h="20000">
                  <a:moveTo>
                    <a:pt x="16121" y="15743"/>
                  </a:moveTo>
                  <a:lnTo>
                    <a:pt x="17495" y="12772"/>
                  </a:lnTo>
                  <a:lnTo>
                    <a:pt x="17091" y="11264"/>
                  </a:lnTo>
                  <a:lnTo>
                    <a:pt x="17495" y="11264"/>
                  </a:lnTo>
                  <a:lnTo>
                    <a:pt x="17899" y="12772"/>
                  </a:lnTo>
                  <a:lnTo>
                    <a:pt x="19556" y="13171"/>
                  </a:lnTo>
                  <a:lnTo>
                    <a:pt x="19960" y="12018"/>
                  </a:lnTo>
                  <a:lnTo>
                    <a:pt x="19273" y="9756"/>
                  </a:lnTo>
                  <a:lnTo>
                    <a:pt x="17091" y="9002"/>
                  </a:lnTo>
                  <a:lnTo>
                    <a:pt x="13697" y="7494"/>
                  </a:lnTo>
                  <a:lnTo>
                    <a:pt x="12727" y="6430"/>
                  </a:lnTo>
                  <a:lnTo>
                    <a:pt x="13010" y="3016"/>
                  </a:lnTo>
                  <a:lnTo>
                    <a:pt x="12040" y="3415"/>
                  </a:lnTo>
                  <a:lnTo>
                    <a:pt x="10667" y="754"/>
                  </a:lnTo>
                  <a:lnTo>
                    <a:pt x="7919" y="0"/>
                  </a:lnTo>
                  <a:lnTo>
                    <a:pt x="5859" y="2262"/>
                  </a:lnTo>
                  <a:lnTo>
                    <a:pt x="3434" y="3016"/>
                  </a:lnTo>
                  <a:lnTo>
                    <a:pt x="1778" y="4169"/>
                  </a:lnTo>
                  <a:lnTo>
                    <a:pt x="0" y="5676"/>
                  </a:lnTo>
                  <a:lnTo>
                    <a:pt x="687" y="5676"/>
                  </a:lnTo>
                  <a:lnTo>
                    <a:pt x="2061" y="5233"/>
                  </a:lnTo>
                  <a:lnTo>
                    <a:pt x="1778" y="5987"/>
                  </a:lnTo>
                  <a:lnTo>
                    <a:pt x="5172" y="5676"/>
                  </a:lnTo>
                  <a:lnTo>
                    <a:pt x="7232" y="4169"/>
                  </a:lnTo>
                  <a:lnTo>
                    <a:pt x="7919" y="4169"/>
                  </a:lnTo>
                  <a:lnTo>
                    <a:pt x="6828" y="4922"/>
                  </a:lnTo>
                  <a:lnTo>
                    <a:pt x="6141" y="5987"/>
                  </a:lnTo>
                  <a:lnTo>
                    <a:pt x="7515" y="5987"/>
                  </a:lnTo>
                  <a:lnTo>
                    <a:pt x="7919" y="6741"/>
                  </a:lnTo>
                  <a:lnTo>
                    <a:pt x="8889" y="7184"/>
                  </a:lnTo>
                  <a:lnTo>
                    <a:pt x="9980" y="6741"/>
                  </a:lnTo>
                  <a:lnTo>
                    <a:pt x="12040" y="6430"/>
                  </a:lnTo>
                  <a:lnTo>
                    <a:pt x="12040" y="7494"/>
                  </a:lnTo>
                  <a:lnTo>
                    <a:pt x="13010" y="7938"/>
                  </a:lnTo>
                  <a:lnTo>
                    <a:pt x="13374" y="8692"/>
                  </a:lnTo>
                  <a:lnTo>
                    <a:pt x="12323" y="8692"/>
                  </a:lnTo>
                  <a:lnTo>
                    <a:pt x="10667" y="8248"/>
                  </a:lnTo>
                  <a:lnTo>
                    <a:pt x="8606" y="9002"/>
                  </a:lnTo>
                  <a:lnTo>
                    <a:pt x="5859" y="12018"/>
                  </a:lnTo>
                  <a:lnTo>
                    <a:pt x="7919" y="10200"/>
                  </a:lnTo>
                  <a:lnTo>
                    <a:pt x="6141" y="13525"/>
                  </a:lnTo>
                  <a:lnTo>
                    <a:pt x="5455" y="15743"/>
                  </a:lnTo>
                  <a:lnTo>
                    <a:pt x="5172" y="18004"/>
                  </a:lnTo>
                  <a:lnTo>
                    <a:pt x="5172" y="19956"/>
                  </a:lnTo>
                  <a:lnTo>
                    <a:pt x="6545" y="19956"/>
                  </a:lnTo>
                  <a:lnTo>
                    <a:pt x="7515" y="18448"/>
                  </a:lnTo>
                  <a:lnTo>
                    <a:pt x="7515" y="16186"/>
                  </a:lnTo>
                  <a:lnTo>
                    <a:pt x="7919" y="14235"/>
                  </a:lnTo>
                  <a:lnTo>
                    <a:pt x="8606" y="12417"/>
                  </a:lnTo>
                  <a:lnTo>
                    <a:pt x="9980" y="11264"/>
                  </a:lnTo>
                  <a:lnTo>
                    <a:pt x="10667" y="10953"/>
                  </a:lnTo>
                  <a:lnTo>
                    <a:pt x="11354" y="9756"/>
                  </a:lnTo>
                  <a:lnTo>
                    <a:pt x="12040" y="9446"/>
                  </a:lnTo>
                  <a:lnTo>
                    <a:pt x="14061" y="10953"/>
                  </a:lnTo>
                  <a:lnTo>
                    <a:pt x="14061" y="12417"/>
                  </a:lnTo>
                  <a:lnTo>
                    <a:pt x="13010" y="13925"/>
                  </a:lnTo>
                  <a:lnTo>
                    <a:pt x="12323" y="15432"/>
                  </a:lnTo>
                  <a:lnTo>
                    <a:pt x="13010" y="14678"/>
                  </a:lnTo>
                  <a:lnTo>
                    <a:pt x="14384" y="14235"/>
                  </a:lnTo>
                  <a:lnTo>
                    <a:pt x="14384" y="15432"/>
                  </a:lnTo>
                  <a:lnTo>
                    <a:pt x="14384" y="16940"/>
                  </a:lnTo>
                  <a:lnTo>
                    <a:pt x="16121" y="1574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4" name="Freeform 5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05" y="2520"/>
              <a:ext cx="1030" cy="1475"/>
            </a:xfrm>
            <a:custGeom>
              <a:avLst/>
              <a:gdLst>
                <a:gd name="T0" fmla="*/ 104 w 20000"/>
                <a:gd name="T1" fmla="*/ 129 h 20000"/>
                <a:gd name="T2" fmla="*/ 135 w 20000"/>
                <a:gd name="T3" fmla="*/ 169 h 20000"/>
                <a:gd name="T4" fmla="*/ 162 w 20000"/>
                <a:gd name="T5" fmla="*/ 200 h 20000"/>
                <a:gd name="T6" fmla="*/ 214 w 20000"/>
                <a:gd name="T7" fmla="*/ 210 h 20000"/>
                <a:gd name="T8" fmla="*/ 243 w 20000"/>
                <a:gd name="T9" fmla="*/ 196 h 20000"/>
                <a:gd name="T10" fmla="*/ 257 w 20000"/>
                <a:gd name="T11" fmla="*/ 268 h 20000"/>
                <a:gd name="T12" fmla="*/ 216 w 20000"/>
                <a:gd name="T13" fmla="*/ 329 h 20000"/>
                <a:gd name="T14" fmla="*/ 200 w 20000"/>
                <a:gd name="T15" fmla="*/ 379 h 20000"/>
                <a:gd name="T16" fmla="*/ 210 w 20000"/>
                <a:gd name="T17" fmla="*/ 406 h 20000"/>
                <a:gd name="T18" fmla="*/ 243 w 20000"/>
                <a:gd name="T19" fmla="*/ 525 h 20000"/>
                <a:gd name="T20" fmla="*/ 333 w 20000"/>
                <a:gd name="T21" fmla="*/ 643 h 20000"/>
                <a:gd name="T22" fmla="*/ 403 w 20000"/>
                <a:gd name="T23" fmla="*/ 774 h 20000"/>
                <a:gd name="T24" fmla="*/ 396 w 20000"/>
                <a:gd name="T25" fmla="*/ 923 h 20000"/>
                <a:gd name="T26" fmla="*/ 389 w 20000"/>
                <a:gd name="T27" fmla="*/ 1063 h 20000"/>
                <a:gd name="T28" fmla="*/ 403 w 20000"/>
                <a:gd name="T29" fmla="*/ 1171 h 20000"/>
                <a:gd name="T30" fmla="*/ 421 w 20000"/>
                <a:gd name="T31" fmla="*/ 1248 h 20000"/>
                <a:gd name="T32" fmla="*/ 389 w 20000"/>
                <a:gd name="T33" fmla="*/ 1295 h 20000"/>
                <a:gd name="T34" fmla="*/ 421 w 20000"/>
                <a:gd name="T35" fmla="*/ 1329 h 20000"/>
                <a:gd name="T36" fmla="*/ 423 w 20000"/>
                <a:gd name="T37" fmla="*/ 1380 h 20000"/>
                <a:gd name="T38" fmla="*/ 468 w 20000"/>
                <a:gd name="T39" fmla="*/ 1420 h 20000"/>
                <a:gd name="T40" fmla="*/ 472 w 20000"/>
                <a:gd name="T41" fmla="*/ 1451 h 20000"/>
                <a:gd name="T42" fmla="*/ 488 w 20000"/>
                <a:gd name="T43" fmla="*/ 1438 h 20000"/>
                <a:gd name="T44" fmla="*/ 505 w 20000"/>
                <a:gd name="T45" fmla="*/ 1468 h 20000"/>
                <a:gd name="T46" fmla="*/ 519 w 20000"/>
                <a:gd name="T47" fmla="*/ 1390 h 20000"/>
                <a:gd name="T48" fmla="*/ 542 w 20000"/>
                <a:gd name="T49" fmla="*/ 1295 h 20000"/>
                <a:gd name="T50" fmla="*/ 549 w 20000"/>
                <a:gd name="T51" fmla="*/ 1207 h 20000"/>
                <a:gd name="T52" fmla="*/ 573 w 20000"/>
                <a:gd name="T53" fmla="*/ 1191 h 20000"/>
                <a:gd name="T54" fmla="*/ 542 w 20000"/>
                <a:gd name="T55" fmla="*/ 1147 h 20000"/>
                <a:gd name="T56" fmla="*/ 590 w 20000"/>
                <a:gd name="T57" fmla="*/ 1113 h 20000"/>
                <a:gd name="T58" fmla="*/ 675 w 20000"/>
                <a:gd name="T59" fmla="*/ 1056 h 20000"/>
                <a:gd name="T60" fmla="*/ 641 w 20000"/>
                <a:gd name="T61" fmla="*/ 1015 h 20000"/>
                <a:gd name="T62" fmla="*/ 706 w 20000"/>
                <a:gd name="T63" fmla="*/ 1015 h 20000"/>
                <a:gd name="T64" fmla="*/ 769 w 20000"/>
                <a:gd name="T65" fmla="*/ 923 h 20000"/>
                <a:gd name="T66" fmla="*/ 818 w 20000"/>
                <a:gd name="T67" fmla="*/ 805 h 20000"/>
                <a:gd name="T68" fmla="*/ 929 w 20000"/>
                <a:gd name="T69" fmla="*/ 738 h 20000"/>
                <a:gd name="T70" fmla="*/ 956 w 20000"/>
                <a:gd name="T71" fmla="*/ 593 h 20000"/>
                <a:gd name="T72" fmla="*/ 1028 w 20000"/>
                <a:gd name="T73" fmla="*/ 478 h 20000"/>
                <a:gd name="T74" fmla="*/ 902 w 20000"/>
                <a:gd name="T75" fmla="*/ 399 h 20000"/>
                <a:gd name="T76" fmla="*/ 794 w 20000"/>
                <a:gd name="T77" fmla="*/ 359 h 20000"/>
                <a:gd name="T78" fmla="*/ 733 w 20000"/>
                <a:gd name="T79" fmla="*/ 369 h 20000"/>
                <a:gd name="T80" fmla="*/ 742 w 20000"/>
                <a:gd name="T81" fmla="*/ 311 h 20000"/>
                <a:gd name="T82" fmla="*/ 685 w 20000"/>
                <a:gd name="T83" fmla="*/ 244 h 20000"/>
                <a:gd name="T84" fmla="*/ 596 w 20000"/>
                <a:gd name="T85" fmla="*/ 230 h 20000"/>
                <a:gd name="T86" fmla="*/ 549 w 20000"/>
                <a:gd name="T87" fmla="*/ 166 h 20000"/>
                <a:gd name="T88" fmla="*/ 492 w 20000"/>
                <a:gd name="T89" fmla="*/ 162 h 20000"/>
                <a:gd name="T90" fmla="*/ 410 w 20000"/>
                <a:gd name="T91" fmla="*/ 135 h 20000"/>
                <a:gd name="T92" fmla="*/ 373 w 20000"/>
                <a:gd name="T93" fmla="*/ 149 h 20000"/>
                <a:gd name="T94" fmla="*/ 362 w 20000"/>
                <a:gd name="T95" fmla="*/ 142 h 20000"/>
                <a:gd name="T96" fmla="*/ 349 w 20000"/>
                <a:gd name="T97" fmla="*/ 132 h 20000"/>
                <a:gd name="T98" fmla="*/ 284 w 20000"/>
                <a:gd name="T99" fmla="*/ 173 h 20000"/>
                <a:gd name="T100" fmla="*/ 220 w 20000"/>
                <a:gd name="T101" fmla="*/ 169 h 20000"/>
                <a:gd name="T102" fmla="*/ 169 w 20000"/>
                <a:gd name="T103" fmla="*/ 166 h 20000"/>
                <a:gd name="T104" fmla="*/ 156 w 20000"/>
                <a:gd name="T105" fmla="*/ 99 h 20000"/>
                <a:gd name="T106" fmla="*/ 149 w 20000"/>
                <a:gd name="T107" fmla="*/ 51 h 20000"/>
                <a:gd name="T108" fmla="*/ 64 w 20000"/>
                <a:gd name="T109" fmla="*/ 51 h 20000"/>
                <a:gd name="T110" fmla="*/ 77 w 20000"/>
                <a:gd name="T111" fmla="*/ 0 h 20000"/>
                <a:gd name="T112" fmla="*/ 34 w 20000"/>
                <a:gd name="T113" fmla="*/ 44 h 20000"/>
                <a:gd name="T114" fmla="*/ 41 w 20000"/>
                <a:gd name="T115" fmla="*/ 88 h 200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00" h="20000">
                  <a:moveTo>
                    <a:pt x="1579" y="1285"/>
                  </a:moveTo>
                  <a:lnTo>
                    <a:pt x="1634" y="1339"/>
                  </a:lnTo>
                  <a:lnTo>
                    <a:pt x="1711" y="1377"/>
                  </a:lnTo>
                  <a:lnTo>
                    <a:pt x="1579" y="1377"/>
                  </a:lnTo>
                  <a:lnTo>
                    <a:pt x="1844" y="1611"/>
                  </a:lnTo>
                  <a:lnTo>
                    <a:pt x="2030" y="1746"/>
                  </a:lnTo>
                  <a:lnTo>
                    <a:pt x="2163" y="1887"/>
                  </a:lnTo>
                  <a:lnTo>
                    <a:pt x="2163" y="2017"/>
                  </a:lnTo>
                  <a:lnTo>
                    <a:pt x="2108" y="2110"/>
                  </a:lnTo>
                  <a:lnTo>
                    <a:pt x="2443" y="2256"/>
                  </a:lnTo>
                  <a:lnTo>
                    <a:pt x="2373" y="2110"/>
                  </a:lnTo>
                  <a:lnTo>
                    <a:pt x="2629" y="2294"/>
                  </a:lnTo>
                  <a:lnTo>
                    <a:pt x="2894" y="2386"/>
                  </a:lnTo>
                  <a:lnTo>
                    <a:pt x="2894" y="2533"/>
                  </a:lnTo>
                  <a:lnTo>
                    <a:pt x="2972" y="2570"/>
                  </a:lnTo>
                  <a:lnTo>
                    <a:pt x="3026" y="2533"/>
                  </a:lnTo>
                  <a:lnTo>
                    <a:pt x="3104" y="2663"/>
                  </a:lnTo>
                  <a:lnTo>
                    <a:pt x="3158" y="2711"/>
                  </a:lnTo>
                  <a:lnTo>
                    <a:pt x="3236" y="2619"/>
                  </a:lnTo>
                  <a:lnTo>
                    <a:pt x="3501" y="2663"/>
                  </a:lnTo>
                  <a:lnTo>
                    <a:pt x="3687" y="2755"/>
                  </a:lnTo>
                  <a:lnTo>
                    <a:pt x="3757" y="2755"/>
                  </a:lnTo>
                  <a:lnTo>
                    <a:pt x="3890" y="2896"/>
                  </a:lnTo>
                  <a:lnTo>
                    <a:pt x="4154" y="2847"/>
                  </a:lnTo>
                  <a:lnTo>
                    <a:pt x="4022" y="2663"/>
                  </a:lnTo>
                  <a:lnTo>
                    <a:pt x="4341" y="2478"/>
                  </a:lnTo>
                  <a:lnTo>
                    <a:pt x="4551" y="2478"/>
                  </a:lnTo>
                  <a:lnTo>
                    <a:pt x="4683" y="2570"/>
                  </a:lnTo>
                  <a:lnTo>
                    <a:pt x="4815" y="2570"/>
                  </a:lnTo>
                  <a:lnTo>
                    <a:pt x="4737" y="2663"/>
                  </a:lnTo>
                  <a:lnTo>
                    <a:pt x="4870" y="2896"/>
                  </a:lnTo>
                  <a:lnTo>
                    <a:pt x="5002" y="3026"/>
                  </a:lnTo>
                  <a:lnTo>
                    <a:pt x="5080" y="3118"/>
                  </a:lnTo>
                  <a:lnTo>
                    <a:pt x="5002" y="3303"/>
                  </a:lnTo>
                  <a:lnTo>
                    <a:pt x="5080" y="3487"/>
                  </a:lnTo>
                  <a:lnTo>
                    <a:pt x="5002" y="3633"/>
                  </a:lnTo>
                  <a:lnTo>
                    <a:pt x="5080" y="3726"/>
                  </a:lnTo>
                  <a:lnTo>
                    <a:pt x="5002" y="3856"/>
                  </a:lnTo>
                  <a:lnTo>
                    <a:pt x="4605" y="4040"/>
                  </a:lnTo>
                  <a:lnTo>
                    <a:pt x="4473" y="4219"/>
                  </a:lnTo>
                  <a:lnTo>
                    <a:pt x="4551" y="4311"/>
                  </a:lnTo>
                  <a:lnTo>
                    <a:pt x="4208" y="4458"/>
                  </a:lnTo>
                  <a:lnTo>
                    <a:pt x="4084" y="4496"/>
                  </a:lnTo>
                  <a:lnTo>
                    <a:pt x="4084" y="4642"/>
                  </a:lnTo>
                  <a:lnTo>
                    <a:pt x="3952" y="4772"/>
                  </a:lnTo>
                  <a:lnTo>
                    <a:pt x="3952" y="4864"/>
                  </a:lnTo>
                  <a:lnTo>
                    <a:pt x="3820" y="4919"/>
                  </a:lnTo>
                  <a:lnTo>
                    <a:pt x="3890" y="5141"/>
                  </a:lnTo>
                  <a:lnTo>
                    <a:pt x="3757" y="5233"/>
                  </a:lnTo>
                  <a:lnTo>
                    <a:pt x="4022" y="5320"/>
                  </a:lnTo>
                  <a:lnTo>
                    <a:pt x="4154" y="5233"/>
                  </a:lnTo>
                  <a:lnTo>
                    <a:pt x="4208" y="5320"/>
                  </a:lnTo>
                  <a:lnTo>
                    <a:pt x="4154" y="5504"/>
                  </a:lnTo>
                  <a:lnTo>
                    <a:pt x="4084" y="5504"/>
                  </a:lnTo>
                  <a:lnTo>
                    <a:pt x="3820" y="5597"/>
                  </a:lnTo>
                  <a:lnTo>
                    <a:pt x="3687" y="5743"/>
                  </a:lnTo>
                  <a:lnTo>
                    <a:pt x="3687" y="6112"/>
                  </a:lnTo>
                  <a:lnTo>
                    <a:pt x="4208" y="6426"/>
                  </a:lnTo>
                  <a:lnTo>
                    <a:pt x="4551" y="6790"/>
                  </a:lnTo>
                  <a:lnTo>
                    <a:pt x="4737" y="7120"/>
                  </a:lnTo>
                  <a:lnTo>
                    <a:pt x="5002" y="7392"/>
                  </a:lnTo>
                  <a:lnTo>
                    <a:pt x="5134" y="7668"/>
                  </a:lnTo>
                  <a:lnTo>
                    <a:pt x="5399" y="7798"/>
                  </a:lnTo>
                  <a:lnTo>
                    <a:pt x="5531" y="8167"/>
                  </a:lnTo>
                  <a:lnTo>
                    <a:pt x="5998" y="8536"/>
                  </a:lnTo>
                  <a:lnTo>
                    <a:pt x="6472" y="8720"/>
                  </a:lnTo>
                  <a:lnTo>
                    <a:pt x="7048" y="8943"/>
                  </a:lnTo>
                  <a:lnTo>
                    <a:pt x="7390" y="9127"/>
                  </a:lnTo>
                  <a:lnTo>
                    <a:pt x="7709" y="9306"/>
                  </a:lnTo>
                  <a:lnTo>
                    <a:pt x="7841" y="9729"/>
                  </a:lnTo>
                  <a:lnTo>
                    <a:pt x="7841" y="10228"/>
                  </a:lnTo>
                  <a:lnTo>
                    <a:pt x="7841" y="10499"/>
                  </a:lnTo>
                  <a:lnTo>
                    <a:pt x="7787" y="10645"/>
                  </a:lnTo>
                  <a:lnTo>
                    <a:pt x="7841" y="11014"/>
                  </a:lnTo>
                  <a:lnTo>
                    <a:pt x="7841" y="11377"/>
                  </a:lnTo>
                  <a:lnTo>
                    <a:pt x="7787" y="11746"/>
                  </a:lnTo>
                  <a:lnTo>
                    <a:pt x="7709" y="12153"/>
                  </a:lnTo>
                  <a:lnTo>
                    <a:pt x="7709" y="12522"/>
                  </a:lnTo>
                  <a:lnTo>
                    <a:pt x="7709" y="12793"/>
                  </a:lnTo>
                  <a:lnTo>
                    <a:pt x="7841" y="13162"/>
                  </a:lnTo>
                  <a:lnTo>
                    <a:pt x="7841" y="13308"/>
                  </a:lnTo>
                  <a:lnTo>
                    <a:pt x="7841" y="13623"/>
                  </a:lnTo>
                  <a:lnTo>
                    <a:pt x="7709" y="14040"/>
                  </a:lnTo>
                  <a:lnTo>
                    <a:pt x="7577" y="14409"/>
                  </a:lnTo>
                  <a:lnTo>
                    <a:pt x="7445" y="14593"/>
                  </a:lnTo>
                  <a:lnTo>
                    <a:pt x="7577" y="15000"/>
                  </a:lnTo>
                  <a:lnTo>
                    <a:pt x="7709" y="15325"/>
                  </a:lnTo>
                  <a:lnTo>
                    <a:pt x="7655" y="15602"/>
                  </a:lnTo>
                  <a:lnTo>
                    <a:pt x="7709" y="15824"/>
                  </a:lnTo>
                  <a:lnTo>
                    <a:pt x="7841" y="15879"/>
                  </a:lnTo>
                  <a:lnTo>
                    <a:pt x="8106" y="15879"/>
                  </a:lnTo>
                  <a:lnTo>
                    <a:pt x="8106" y="16193"/>
                  </a:lnTo>
                  <a:lnTo>
                    <a:pt x="8106" y="16518"/>
                  </a:lnTo>
                  <a:lnTo>
                    <a:pt x="8106" y="16703"/>
                  </a:lnTo>
                  <a:lnTo>
                    <a:pt x="8308" y="16741"/>
                  </a:lnTo>
                  <a:lnTo>
                    <a:pt x="8184" y="16925"/>
                  </a:lnTo>
                  <a:lnTo>
                    <a:pt x="8106" y="16979"/>
                  </a:lnTo>
                  <a:lnTo>
                    <a:pt x="8238" y="17294"/>
                  </a:lnTo>
                  <a:lnTo>
                    <a:pt x="8106" y="17527"/>
                  </a:lnTo>
                  <a:lnTo>
                    <a:pt x="7974" y="17294"/>
                  </a:lnTo>
                  <a:lnTo>
                    <a:pt x="7655" y="17294"/>
                  </a:lnTo>
                  <a:lnTo>
                    <a:pt x="7577" y="17565"/>
                  </a:lnTo>
                  <a:lnTo>
                    <a:pt x="7709" y="17527"/>
                  </a:lnTo>
                  <a:lnTo>
                    <a:pt x="8106" y="17657"/>
                  </a:lnTo>
                  <a:lnTo>
                    <a:pt x="7974" y="17842"/>
                  </a:lnTo>
                  <a:lnTo>
                    <a:pt x="8238" y="17842"/>
                  </a:lnTo>
                  <a:lnTo>
                    <a:pt x="8440" y="18026"/>
                  </a:lnTo>
                  <a:lnTo>
                    <a:pt x="8184" y="18026"/>
                  </a:lnTo>
                  <a:lnTo>
                    <a:pt x="8184" y="18172"/>
                  </a:lnTo>
                  <a:lnTo>
                    <a:pt x="8238" y="18433"/>
                  </a:lnTo>
                  <a:lnTo>
                    <a:pt x="8440" y="18525"/>
                  </a:lnTo>
                  <a:lnTo>
                    <a:pt x="8308" y="18525"/>
                  </a:lnTo>
                  <a:lnTo>
                    <a:pt x="8370" y="18666"/>
                  </a:lnTo>
                  <a:lnTo>
                    <a:pt x="8238" y="18709"/>
                  </a:lnTo>
                  <a:lnTo>
                    <a:pt x="8503" y="18894"/>
                  </a:lnTo>
                  <a:lnTo>
                    <a:pt x="8503" y="18943"/>
                  </a:lnTo>
                  <a:lnTo>
                    <a:pt x="8635" y="19165"/>
                  </a:lnTo>
                  <a:lnTo>
                    <a:pt x="8837" y="19311"/>
                  </a:lnTo>
                  <a:lnTo>
                    <a:pt x="8915" y="19219"/>
                  </a:lnTo>
                  <a:lnTo>
                    <a:pt x="9102" y="19257"/>
                  </a:lnTo>
                  <a:lnTo>
                    <a:pt x="9102" y="19403"/>
                  </a:lnTo>
                  <a:lnTo>
                    <a:pt x="8837" y="19403"/>
                  </a:lnTo>
                  <a:lnTo>
                    <a:pt x="8837" y="19588"/>
                  </a:lnTo>
                  <a:lnTo>
                    <a:pt x="8969" y="19496"/>
                  </a:lnTo>
                  <a:lnTo>
                    <a:pt x="8915" y="19626"/>
                  </a:lnTo>
                  <a:lnTo>
                    <a:pt x="9179" y="19680"/>
                  </a:lnTo>
                  <a:lnTo>
                    <a:pt x="9102" y="19767"/>
                  </a:lnTo>
                  <a:lnTo>
                    <a:pt x="9312" y="19810"/>
                  </a:lnTo>
                  <a:lnTo>
                    <a:pt x="9312" y="19767"/>
                  </a:lnTo>
                  <a:lnTo>
                    <a:pt x="9436" y="19680"/>
                  </a:lnTo>
                  <a:lnTo>
                    <a:pt x="9179" y="19534"/>
                  </a:lnTo>
                  <a:lnTo>
                    <a:pt x="9498" y="19496"/>
                  </a:lnTo>
                  <a:lnTo>
                    <a:pt x="9701" y="19680"/>
                  </a:lnTo>
                  <a:lnTo>
                    <a:pt x="9498" y="19718"/>
                  </a:lnTo>
                  <a:lnTo>
                    <a:pt x="9366" y="19810"/>
                  </a:lnTo>
                  <a:lnTo>
                    <a:pt x="9498" y="19951"/>
                  </a:lnTo>
                  <a:lnTo>
                    <a:pt x="9701" y="19995"/>
                  </a:lnTo>
                  <a:lnTo>
                    <a:pt x="9833" y="19902"/>
                  </a:lnTo>
                  <a:lnTo>
                    <a:pt x="9833" y="19680"/>
                  </a:lnTo>
                  <a:lnTo>
                    <a:pt x="9887" y="19534"/>
                  </a:lnTo>
                  <a:lnTo>
                    <a:pt x="10152" y="19403"/>
                  </a:lnTo>
                  <a:lnTo>
                    <a:pt x="10416" y="19349"/>
                  </a:lnTo>
                  <a:lnTo>
                    <a:pt x="10229" y="19073"/>
                  </a:lnTo>
                  <a:lnTo>
                    <a:pt x="10097" y="18850"/>
                  </a:lnTo>
                  <a:lnTo>
                    <a:pt x="10152" y="18617"/>
                  </a:lnTo>
                  <a:lnTo>
                    <a:pt x="10416" y="18395"/>
                  </a:lnTo>
                  <a:lnTo>
                    <a:pt x="10416" y="18172"/>
                  </a:lnTo>
                  <a:lnTo>
                    <a:pt x="10758" y="17934"/>
                  </a:lnTo>
                  <a:lnTo>
                    <a:pt x="10891" y="17619"/>
                  </a:lnTo>
                  <a:lnTo>
                    <a:pt x="10548" y="17565"/>
                  </a:lnTo>
                  <a:lnTo>
                    <a:pt x="10152" y="17343"/>
                  </a:lnTo>
                  <a:lnTo>
                    <a:pt x="10229" y="17110"/>
                  </a:lnTo>
                  <a:lnTo>
                    <a:pt x="10494" y="16887"/>
                  </a:lnTo>
                  <a:lnTo>
                    <a:pt x="10758" y="16887"/>
                  </a:lnTo>
                  <a:lnTo>
                    <a:pt x="10758" y="16611"/>
                  </a:lnTo>
                  <a:lnTo>
                    <a:pt x="10681" y="16372"/>
                  </a:lnTo>
                  <a:lnTo>
                    <a:pt x="10891" y="16280"/>
                  </a:lnTo>
                  <a:lnTo>
                    <a:pt x="10758" y="16193"/>
                  </a:lnTo>
                  <a:lnTo>
                    <a:pt x="10758" y="16101"/>
                  </a:lnTo>
                  <a:lnTo>
                    <a:pt x="10945" y="16101"/>
                  </a:lnTo>
                  <a:lnTo>
                    <a:pt x="11023" y="16193"/>
                  </a:lnTo>
                  <a:lnTo>
                    <a:pt x="11147" y="16150"/>
                  </a:lnTo>
                  <a:lnTo>
                    <a:pt x="11147" y="16009"/>
                  </a:lnTo>
                  <a:lnTo>
                    <a:pt x="11077" y="15965"/>
                  </a:lnTo>
                  <a:lnTo>
                    <a:pt x="10758" y="15965"/>
                  </a:lnTo>
                  <a:lnTo>
                    <a:pt x="10626" y="15824"/>
                  </a:lnTo>
                  <a:lnTo>
                    <a:pt x="10548" y="15694"/>
                  </a:lnTo>
                  <a:lnTo>
                    <a:pt x="10548" y="15548"/>
                  </a:lnTo>
                  <a:lnTo>
                    <a:pt x="10891" y="15640"/>
                  </a:lnTo>
                  <a:lnTo>
                    <a:pt x="11342" y="15640"/>
                  </a:lnTo>
                  <a:lnTo>
                    <a:pt x="11474" y="15510"/>
                  </a:lnTo>
                  <a:lnTo>
                    <a:pt x="11412" y="15418"/>
                  </a:lnTo>
                  <a:lnTo>
                    <a:pt x="11474" y="15233"/>
                  </a:lnTo>
                  <a:lnTo>
                    <a:pt x="11474" y="15087"/>
                  </a:lnTo>
                  <a:lnTo>
                    <a:pt x="11280" y="14957"/>
                  </a:lnTo>
                  <a:lnTo>
                    <a:pt x="11809" y="14957"/>
                  </a:lnTo>
                  <a:lnTo>
                    <a:pt x="12338" y="14908"/>
                  </a:lnTo>
                  <a:lnTo>
                    <a:pt x="12859" y="14772"/>
                  </a:lnTo>
                  <a:lnTo>
                    <a:pt x="12991" y="14539"/>
                  </a:lnTo>
                  <a:lnTo>
                    <a:pt x="13123" y="14317"/>
                  </a:lnTo>
                  <a:lnTo>
                    <a:pt x="13123" y="14225"/>
                  </a:lnTo>
                  <a:lnTo>
                    <a:pt x="12859" y="14132"/>
                  </a:lnTo>
                  <a:lnTo>
                    <a:pt x="12859" y="13986"/>
                  </a:lnTo>
                  <a:lnTo>
                    <a:pt x="12859" y="13948"/>
                  </a:lnTo>
                  <a:lnTo>
                    <a:pt x="12672" y="13807"/>
                  </a:lnTo>
                  <a:lnTo>
                    <a:pt x="12470" y="13764"/>
                  </a:lnTo>
                  <a:lnTo>
                    <a:pt x="12408" y="13623"/>
                  </a:lnTo>
                  <a:lnTo>
                    <a:pt x="12408" y="13530"/>
                  </a:lnTo>
                  <a:lnTo>
                    <a:pt x="12672" y="13623"/>
                  </a:lnTo>
                  <a:lnTo>
                    <a:pt x="12937" y="13671"/>
                  </a:lnTo>
                  <a:lnTo>
                    <a:pt x="13256" y="13807"/>
                  </a:lnTo>
                  <a:lnTo>
                    <a:pt x="13730" y="13764"/>
                  </a:lnTo>
                  <a:lnTo>
                    <a:pt x="13917" y="13623"/>
                  </a:lnTo>
                  <a:lnTo>
                    <a:pt x="14119" y="13400"/>
                  </a:lnTo>
                  <a:lnTo>
                    <a:pt x="14384" y="13162"/>
                  </a:lnTo>
                  <a:lnTo>
                    <a:pt x="14516" y="12939"/>
                  </a:lnTo>
                  <a:lnTo>
                    <a:pt x="14780" y="12755"/>
                  </a:lnTo>
                  <a:lnTo>
                    <a:pt x="14967" y="12522"/>
                  </a:lnTo>
                  <a:lnTo>
                    <a:pt x="15099" y="12299"/>
                  </a:lnTo>
                  <a:lnTo>
                    <a:pt x="15364" y="12023"/>
                  </a:lnTo>
                  <a:lnTo>
                    <a:pt x="15511" y="11838"/>
                  </a:lnTo>
                  <a:lnTo>
                    <a:pt x="15511" y="11513"/>
                  </a:lnTo>
                  <a:lnTo>
                    <a:pt x="15574" y="11144"/>
                  </a:lnTo>
                  <a:lnTo>
                    <a:pt x="15908" y="10922"/>
                  </a:lnTo>
                  <a:lnTo>
                    <a:pt x="16359" y="10738"/>
                  </a:lnTo>
                  <a:lnTo>
                    <a:pt x="16888" y="10553"/>
                  </a:lnTo>
                  <a:lnTo>
                    <a:pt x="17410" y="10461"/>
                  </a:lnTo>
                  <a:lnTo>
                    <a:pt x="17752" y="10461"/>
                  </a:lnTo>
                  <a:lnTo>
                    <a:pt x="18016" y="10228"/>
                  </a:lnTo>
                  <a:lnTo>
                    <a:pt x="18071" y="10005"/>
                  </a:lnTo>
                  <a:lnTo>
                    <a:pt x="18413" y="9544"/>
                  </a:lnTo>
                  <a:lnTo>
                    <a:pt x="18468" y="9268"/>
                  </a:lnTo>
                  <a:lnTo>
                    <a:pt x="18600" y="9084"/>
                  </a:lnTo>
                  <a:lnTo>
                    <a:pt x="18670" y="8628"/>
                  </a:lnTo>
                  <a:lnTo>
                    <a:pt x="18600" y="8351"/>
                  </a:lnTo>
                  <a:lnTo>
                    <a:pt x="18600" y="8037"/>
                  </a:lnTo>
                  <a:lnTo>
                    <a:pt x="18802" y="7852"/>
                  </a:lnTo>
                  <a:lnTo>
                    <a:pt x="19067" y="7760"/>
                  </a:lnTo>
                  <a:lnTo>
                    <a:pt x="19331" y="7435"/>
                  </a:lnTo>
                  <a:lnTo>
                    <a:pt x="19595" y="7158"/>
                  </a:lnTo>
                  <a:lnTo>
                    <a:pt x="19860" y="6936"/>
                  </a:lnTo>
                  <a:lnTo>
                    <a:pt x="19992" y="6475"/>
                  </a:lnTo>
                  <a:lnTo>
                    <a:pt x="19860" y="6198"/>
                  </a:lnTo>
                  <a:lnTo>
                    <a:pt x="19665" y="5965"/>
                  </a:lnTo>
                  <a:lnTo>
                    <a:pt x="19144" y="5927"/>
                  </a:lnTo>
                  <a:lnTo>
                    <a:pt x="18670" y="5651"/>
                  </a:lnTo>
                  <a:lnTo>
                    <a:pt x="18071" y="5412"/>
                  </a:lnTo>
                  <a:lnTo>
                    <a:pt x="17542" y="5412"/>
                  </a:lnTo>
                  <a:lnTo>
                    <a:pt x="17021" y="5320"/>
                  </a:lnTo>
                  <a:lnTo>
                    <a:pt x="16569" y="5412"/>
                  </a:lnTo>
                  <a:lnTo>
                    <a:pt x="16624" y="5233"/>
                  </a:lnTo>
                  <a:lnTo>
                    <a:pt x="16305" y="5049"/>
                  </a:lnTo>
                  <a:lnTo>
                    <a:pt x="15830" y="4957"/>
                  </a:lnTo>
                  <a:lnTo>
                    <a:pt x="15441" y="4864"/>
                  </a:lnTo>
                  <a:lnTo>
                    <a:pt x="14912" y="5233"/>
                  </a:lnTo>
                  <a:lnTo>
                    <a:pt x="14438" y="5190"/>
                  </a:lnTo>
                  <a:lnTo>
                    <a:pt x="15045" y="5098"/>
                  </a:lnTo>
                  <a:lnTo>
                    <a:pt x="15231" y="4826"/>
                  </a:lnTo>
                  <a:lnTo>
                    <a:pt x="14516" y="4772"/>
                  </a:lnTo>
                  <a:lnTo>
                    <a:pt x="14251" y="5005"/>
                  </a:lnTo>
                  <a:lnTo>
                    <a:pt x="13785" y="5098"/>
                  </a:lnTo>
                  <a:lnTo>
                    <a:pt x="14049" y="4864"/>
                  </a:lnTo>
                  <a:lnTo>
                    <a:pt x="14251" y="4680"/>
                  </a:lnTo>
                  <a:lnTo>
                    <a:pt x="14648" y="4458"/>
                  </a:lnTo>
                  <a:lnTo>
                    <a:pt x="14702" y="4273"/>
                  </a:lnTo>
                  <a:lnTo>
                    <a:pt x="14438" y="4219"/>
                  </a:lnTo>
                  <a:lnTo>
                    <a:pt x="14251" y="3764"/>
                  </a:lnTo>
                  <a:lnTo>
                    <a:pt x="14119" y="3671"/>
                  </a:lnTo>
                  <a:lnTo>
                    <a:pt x="14049" y="3726"/>
                  </a:lnTo>
                  <a:lnTo>
                    <a:pt x="13987" y="3579"/>
                  </a:lnTo>
                  <a:lnTo>
                    <a:pt x="13652" y="3395"/>
                  </a:lnTo>
                  <a:lnTo>
                    <a:pt x="13333" y="3303"/>
                  </a:lnTo>
                  <a:lnTo>
                    <a:pt x="12937" y="3210"/>
                  </a:lnTo>
                  <a:lnTo>
                    <a:pt x="12602" y="3303"/>
                  </a:lnTo>
                  <a:lnTo>
                    <a:pt x="12205" y="3210"/>
                  </a:lnTo>
                  <a:lnTo>
                    <a:pt x="11809" y="3026"/>
                  </a:lnTo>
                  <a:lnTo>
                    <a:pt x="11599" y="3118"/>
                  </a:lnTo>
                  <a:lnTo>
                    <a:pt x="11731" y="2896"/>
                  </a:lnTo>
                  <a:lnTo>
                    <a:pt x="11280" y="2663"/>
                  </a:lnTo>
                  <a:lnTo>
                    <a:pt x="11077" y="2570"/>
                  </a:lnTo>
                  <a:lnTo>
                    <a:pt x="10945" y="2570"/>
                  </a:lnTo>
                  <a:lnTo>
                    <a:pt x="10891" y="2386"/>
                  </a:lnTo>
                  <a:lnTo>
                    <a:pt x="10681" y="2256"/>
                  </a:lnTo>
                  <a:lnTo>
                    <a:pt x="10362" y="2256"/>
                  </a:lnTo>
                  <a:lnTo>
                    <a:pt x="10229" y="2110"/>
                  </a:lnTo>
                  <a:lnTo>
                    <a:pt x="10548" y="2072"/>
                  </a:lnTo>
                  <a:lnTo>
                    <a:pt x="9701" y="2072"/>
                  </a:lnTo>
                  <a:lnTo>
                    <a:pt x="9887" y="2110"/>
                  </a:lnTo>
                  <a:lnTo>
                    <a:pt x="9568" y="2202"/>
                  </a:lnTo>
                  <a:lnTo>
                    <a:pt x="9179" y="2164"/>
                  </a:lnTo>
                  <a:lnTo>
                    <a:pt x="9047" y="2072"/>
                  </a:lnTo>
                  <a:lnTo>
                    <a:pt x="8705" y="2072"/>
                  </a:lnTo>
                  <a:lnTo>
                    <a:pt x="8308" y="2072"/>
                  </a:lnTo>
                  <a:lnTo>
                    <a:pt x="8238" y="1925"/>
                  </a:lnTo>
                  <a:lnTo>
                    <a:pt x="7974" y="1833"/>
                  </a:lnTo>
                  <a:lnTo>
                    <a:pt x="7841" y="1833"/>
                  </a:lnTo>
                  <a:lnTo>
                    <a:pt x="7709" y="1654"/>
                  </a:lnTo>
                  <a:lnTo>
                    <a:pt x="7655" y="1795"/>
                  </a:lnTo>
                  <a:lnTo>
                    <a:pt x="7709" y="1887"/>
                  </a:lnTo>
                  <a:lnTo>
                    <a:pt x="7390" y="1925"/>
                  </a:lnTo>
                  <a:lnTo>
                    <a:pt x="7258" y="2017"/>
                  </a:lnTo>
                  <a:lnTo>
                    <a:pt x="7312" y="2256"/>
                  </a:lnTo>
                  <a:lnTo>
                    <a:pt x="7258" y="2440"/>
                  </a:lnTo>
                  <a:lnTo>
                    <a:pt x="7048" y="2440"/>
                  </a:lnTo>
                  <a:lnTo>
                    <a:pt x="6923" y="2256"/>
                  </a:lnTo>
                  <a:lnTo>
                    <a:pt x="7048" y="2110"/>
                  </a:lnTo>
                  <a:lnTo>
                    <a:pt x="7048" y="1925"/>
                  </a:lnTo>
                  <a:lnTo>
                    <a:pt x="7048" y="1833"/>
                  </a:lnTo>
                  <a:lnTo>
                    <a:pt x="7312" y="1654"/>
                  </a:lnTo>
                  <a:lnTo>
                    <a:pt x="7180" y="1562"/>
                  </a:lnTo>
                  <a:lnTo>
                    <a:pt x="6993" y="1654"/>
                  </a:lnTo>
                  <a:lnTo>
                    <a:pt x="6923" y="1746"/>
                  </a:lnTo>
                  <a:lnTo>
                    <a:pt x="6791" y="1795"/>
                  </a:lnTo>
                  <a:lnTo>
                    <a:pt x="6262" y="1887"/>
                  </a:lnTo>
                  <a:lnTo>
                    <a:pt x="6208" y="1979"/>
                  </a:lnTo>
                  <a:lnTo>
                    <a:pt x="6075" y="1925"/>
                  </a:lnTo>
                  <a:lnTo>
                    <a:pt x="5811" y="2072"/>
                  </a:lnTo>
                  <a:lnTo>
                    <a:pt x="5733" y="2294"/>
                  </a:lnTo>
                  <a:lnTo>
                    <a:pt x="5531" y="2348"/>
                  </a:lnTo>
                  <a:lnTo>
                    <a:pt x="5266" y="2533"/>
                  </a:lnTo>
                  <a:lnTo>
                    <a:pt x="5266" y="2711"/>
                  </a:lnTo>
                  <a:lnTo>
                    <a:pt x="5134" y="2533"/>
                  </a:lnTo>
                  <a:lnTo>
                    <a:pt x="5002" y="2478"/>
                  </a:lnTo>
                  <a:lnTo>
                    <a:pt x="4683" y="2348"/>
                  </a:lnTo>
                  <a:lnTo>
                    <a:pt x="4286" y="2294"/>
                  </a:lnTo>
                  <a:lnTo>
                    <a:pt x="4084" y="2386"/>
                  </a:lnTo>
                  <a:lnTo>
                    <a:pt x="3757" y="2478"/>
                  </a:lnTo>
                  <a:lnTo>
                    <a:pt x="3555" y="2386"/>
                  </a:lnTo>
                  <a:lnTo>
                    <a:pt x="3423" y="2386"/>
                  </a:lnTo>
                  <a:lnTo>
                    <a:pt x="3368" y="2294"/>
                  </a:lnTo>
                  <a:lnTo>
                    <a:pt x="3291" y="2256"/>
                  </a:lnTo>
                  <a:lnTo>
                    <a:pt x="3158" y="2202"/>
                  </a:lnTo>
                  <a:lnTo>
                    <a:pt x="3104" y="2110"/>
                  </a:lnTo>
                  <a:lnTo>
                    <a:pt x="2972" y="1979"/>
                  </a:lnTo>
                  <a:lnTo>
                    <a:pt x="2972" y="1795"/>
                  </a:lnTo>
                  <a:lnTo>
                    <a:pt x="2972" y="1562"/>
                  </a:lnTo>
                  <a:lnTo>
                    <a:pt x="3026" y="1339"/>
                  </a:lnTo>
                  <a:lnTo>
                    <a:pt x="3104" y="1155"/>
                  </a:lnTo>
                  <a:lnTo>
                    <a:pt x="3158" y="1009"/>
                  </a:lnTo>
                  <a:lnTo>
                    <a:pt x="3158" y="879"/>
                  </a:lnTo>
                  <a:lnTo>
                    <a:pt x="2839" y="824"/>
                  </a:lnTo>
                  <a:lnTo>
                    <a:pt x="2972" y="786"/>
                  </a:lnTo>
                  <a:lnTo>
                    <a:pt x="2894" y="694"/>
                  </a:lnTo>
                  <a:lnTo>
                    <a:pt x="2629" y="694"/>
                  </a:lnTo>
                  <a:lnTo>
                    <a:pt x="2373" y="640"/>
                  </a:lnTo>
                  <a:lnTo>
                    <a:pt x="1898" y="694"/>
                  </a:lnTo>
                  <a:lnTo>
                    <a:pt x="1501" y="694"/>
                  </a:lnTo>
                  <a:lnTo>
                    <a:pt x="1315" y="694"/>
                  </a:lnTo>
                  <a:lnTo>
                    <a:pt x="1245" y="694"/>
                  </a:lnTo>
                  <a:lnTo>
                    <a:pt x="1182" y="640"/>
                  </a:lnTo>
                  <a:lnTo>
                    <a:pt x="1315" y="553"/>
                  </a:lnTo>
                  <a:lnTo>
                    <a:pt x="1447" y="461"/>
                  </a:lnTo>
                  <a:lnTo>
                    <a:pt x="1501" y="277"/>
                  </a:lnTo>
                  <a:lnTo>
                    <a:pt x="1579" y="54"/>
                  </a:lnTo>
                  <a:lnTo>
                    <a:pt x="1501" y="0"/>
                  </a:lnTo>
                  <a:lnTo>
                    <a:pt x="1369" y="0"/>
                  </a:lnTo>
                  <a:lnTo>
                    <a:pt x="1182" y="146"/>
                  </a:lnTo>
                  <a:lnTo>
                    <a:pt x="583" y="146"/>
                  </a:lnTo>
                  <a:lnTo>
                    <a:pt x="451" y="325"/>
                  </a:lnTo>
                  <a:lnTo>
                    <a:pt x="716" y="510"/>
                  </a:lnTo>
                  <a:lnTo>
                    <a:pt x="661" y="602"/>
                  </a:lnTo>
                  <a:lnTo>
                    <a:pt x="264" y="602"/>
                  </a:lnTo>
                  <a:lnTo>
                    <a:pt x="54" y="786"/>
                  </a:lnTo>
                  <a:lnTo>
                    <a:pt x="132" y="879"/>
                  </a:lnTo>
                  <a:lnTo>
                    <a:pt x="0" y="971"/>
                  </a:lnTo>
                  <a:lnTo>
                    <a:pt x="319" y="1155"/>
                  </a:lnTo>
                  <a:lnTo>
                    <a:pt x="793" y="1193"/>
                  </a:lnTo>
                  <a:lnTo>
                    <a:pt x="1050" y="1285"/>
                  </a:lnTo>
                  <a:lnTo>
                    <a:pt x="1447" y="1339"/>
                  </a:lnTo>
                  <a:lnTo>
                    <a:pt x="1579" y="128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5" name="Freeform 5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04" y="3958"/>
              <a:ext cx="108" cy="62"/>
            </a:xfrm>
            <a:custGeom>
              <a:avLst/>
              <a:gdLst>
                <a:gd name="T0" fmla="*/ 47 w 20000"/>
                <a:gd name="T1" fmla="*/ 10 h 20000"/>
                <a:gd name="T2" fmla="*/ 50 w 20000"/>
                <a:gd name="T3" fmla="*/ 21 h 20000"/>
                <a:gd name="T4" fmla="*/ 75 w 20000"/>
                <a:gd name="T5" fmla="*/ 34 h 20000"/>
                <a:gd name="T6" fmla="*/ 91 w 20000"/>
                <a:gd name="T7" fmla="*/ 48 h 20000"/>
                <a:gd name="T8" fmla="*/ 109 w 20000"/>
                <a:gd name="T9" fmla="*/ 51 h 20000"/>
                <a:gd name="T10" fmla="*/ 88 w 20000"/>
                <a:gd name="T11" fmla="*/ 62 h 20000"/>
                <a:gd name="T12" fmla="*/ 68 w 20000"/>
                <a:gd name="T13" fmla="*/ 58 h 20000"/>
                <a:gd name="T14" fmla="*/ 50 w 20000"/>
                <a:gd name="T15" fmla="*/ 58 h 20000"/>
                <a:gd name="T16" fmla="*/ 30 w 20000"/>
                <a:gd name="T17" fmla="*/ 62 h 20000"/>
                <a:gd name="T18" fmla="*/ 0 w 20000"/>
                <a:gd name="T19" fmla="*/ 51 h 20000"/>
                <a:gd name="T20" fmla="*/ 40 w 20000"/>
                <a:gd name="T21" fmla="*/ 48 h 20000"/>
                <a:gd name="T22" fmla="*/ 23 w 20000"/>
                <a:gd name="T23" fmla="*/ 30 h 20000"/>
                <a:gd name="T24" fmla="*/ 30 w 20000"/>
                <a:gd name="T25" fmla="*/ 21 h 20000"/>
                <a:gd name="T26" fmla="*/ 16 w 20000"/>
                <a:gd name="T27" fmla="*/ 23 h 20000"/>
                <a:gd name="T28" fmla="*/ 16 w 20000"/>
                <a:gd name="T29" fmla="*/ 7 h 20000"/>
                <a:gd name="T30" fmla="*/ 23 w 20000"/>
                <a:gd name="T31" fmla="*/ 0 h 20000"/>
                <a:gd name="T32" fmla="*/ 37 w 20000"/>
                <a:gd name="T33" fmla="*/ 0 h 20000"/>
                <a:gd name="T34" fmla="*/ 47 w 20000"/>
                <a:gd name="T35" fmla="*/ 10 h 200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0000" h="20000">
                  <a:moveTo>
                    <a:pt x="8676" y="3117"/>
                  </a:moveTo>
                  <a:lnTo>
                    <a:pt x="9265" y="6623"/>
                  </a:lnTo>
                  <a:lnTo>
                    <a:pt x="13676" y="11039"/>
                  </a:lnTo>
                  <a:lnTo>
                    <a:pt x="16691" y="15455"/>
                  </a:lnTo>
                  <a:lnTo>
                    <a:pt x="19926" y="16364"/>
                  </a:lnTo>
                  <a:lnTo>
                    <a:pt x="16176" y="19870"/>
                  </a:lnTo>
                  <a:lnTo>
                    <a:pt x="12426" y="18571"/>
                  </a:lnTo>
                  <a:lnTo>
                    <a:pt x="9265" y="18571"/>
                  </a:lnTo>
                  <a:lnTo>
                    <a:pt x="5515" y="19870"/>
                  </a:lnTo>
                  <a:lnTo>
                    <a:pt x="0" y="16364"/>
                  </a:lnTo>
                  <a:lnTo>
                    <a:pt x="7426" y="15455"/>
                  </a:lnTo>
                  <a:lnTo>
                    <a:pt x="4265" y="9740"/>
                  </a:lnTo>
                  <a:lnTo>
                    <a:pt x="5515" y="6623"/>
                  </a:lnTo>
                  <a:lnTo>
                    <a:pt x="3015" y="7532"/>
                  </a:lnTo>
                  <a:lnTo>
                    <a:pt x="3015" y="2208"/>
                  </a:lnTo>
                  <a:lnTo>
                    <a:pt x="4265" y="0"/>
                  </a:lnTo>
                  <a:lnTo>
                    <a:pt x="6765" y="0"/>
                  </a:lnTo>
                  <a:lnTo>
                    <a:pt x="8676" y="311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6" name="Freeform 5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87" y="2625"/>
              <a:ext cx="6" cy="11"/>
            </a:xfrm>
            <a:custGeom>
              <a:avLst/>
              <a:gdLst>
                <a:gd name="T0" fmla="*/ 4 w 20000"/>
                <a:gd name="T1" fmla="*/ 11 h 20000"/>
                <a:gd name="T2" fmla="*/ 7 w 20000"/>
                <a:gd name="T3" fmla="*/ 7 h 20000"/>
                <a:gd name="T4" fmla="*/ 4 w 20000"/>
                <a:gd name="T5" fmla="*/ 0 h 20000"/>
                <a:gd name="T6" fmla="*/ 0 w 20000"/>
                <a:gd name="T7" fmla="*/ 0 h 20000"/>
                <a:gd name="T8" fmla="*/ 4 w 20000"/>
                <a:gd name="T9" fmla="*/ 11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1111" y="19231"/>
                  </a:moveTo>
                  <a:lnTo>
                    <a:pt x="18889" y="13077"/>
                  </a:lnTo>
                  <a:lnTo>
                    <a:pt x="11111" y="0"/>
                  </a:lnTo>
                  <a:lnTo>
                    <a:pt x="0" y="0"/>
                  </a:lnTo>
                  <a:lnTo>
                    <a:pt x="11111" y="1923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7" name="Freeform 6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806" y="3146"/>
              <a:ext cx="27" cy="24"/>
            </a:xfrm>
            <a:custGeom>
              <a:avLst/>
              <a:gdLst>
                <a:gd name="T0" fmla="*/ 21 w 20000"/>
                <a:gd name="T1" fmla="*/ 24 h 20000"/>
                <a:gd name="T2" fmla="*/ 28 w 20000"/>
                <a:gd name="T3" fmla="*/ 17 h 20000"/>
                <a:gd name="T4" fmla="*/ 10 w 20000"/>
                <a:gd name="T5" fmla="*/ 4 h 20000"/>
                <a:gd name="T6" fmla="*/ 0 w 20000"/>
                <a:gd name="T7" fmla="*/ 0 h 20000"/>
                <a:gd name="T8" fmla="*/ 0 w 20000"/>
                <a:gd name="T9" fmla="*/ 10 h 20000"/>
                <a:gd name="T10" fmla="*/ 14 w 20000"/>
                <a:gd name="T11" fmla="*/ 20 h 20000"/>
                <a:gd name="T12" fmla="*/ 17 w 20000"/>
                <a:gd name="T13" fmla="*/ 20 h 20000"/>
                <a:gd name="T14" fmla="*/ 21 w 20000"/>
                <a:gd name="T15" fmla="*/ 24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000" h="20000">
                  <a:moveTo>
                    <a:pt x="14783" y="19677"/>
                  </a:moveTo>
                  <a:lnTo>
                    <a:pt x="19710" y="14194"/>
                  </a:lnTo>
                  <a:lnTo>
                    <a:pt x="6957" y="3226"/>
                  </a:lnTo>
                  <a:lnTo>
                    <a:pt x="0" y="0"/>
                  </a:lnTo>
                  <a:lnTo>
                    <a:pt x="0" y="8710"/>
                  </a:lnTo>
                  <a:lnTo>
                    <a:pt x="9855" y="16452"/>
                  </a:lnTo>
                  <a:lnTo>
                    <a:pt x="11884" y="16452"/>
                  </a:lnTo>
                  <a:lnTo>
                    <a:pt x="14783" y="1967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8" name="Freeform 6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17" y="2642"/>
              <a:ext cx="21" cy="18"/>
            </a:xfrm>
            <a:custGeom>
              <a:avLst/>
              <a:gdLst>
                <a:gd name="T0" fmla="*/ 15 w 20000"/>
                <a:gd name="T1" fmla="*/ 18 h 20000"/>
                <a:gd name="T2" fmla="*/ 22 w 20000"/>
                <a:gd name="T3" fmla="*/ 18 h 20000"/>
                <a:gd name="T4" fmla="*/ 11 w 20000"/>
                <a:gd name="T5" fmla="*/ 4 h 20000"/>
                <a:gd name="T6" fmla="*/ 0 w 20000"/>
                <a:gd name="T7" fmla="*/ 0 h 20000"/>
                <a:gd name="T8" fmla="*/ 8 w 20000"/>
                <a:gd name="T9" fmla="*/ 18 h 20000"/>
                <a:gd name="T10" fmla="*/ 15 w 20000"/>
                <a:gd name="T11" fmla="*/ 18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13455" y="19556"/>
                  </a:moveTo>
                  <a:lnTo>
                    <a:pt x="19636" y="19556"/>
                  </a:lnTo>
                  <a:lnTo>
                    <a:pt x="9818" y="4444"/>
                  </a:lnTo>
                  <a:lnTo>
                    <a:pt x="0" y="0"/>
                  </a:lnTo>
                  <a:lnTo>
                    <a:pt x="6909" y="19556"/>
                  </a:lnTo>
                  <a:lnTo>
                    <a:pt x="13455" y="1955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59" name="Freeform 6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31" y="2497"/>
              <a:ext cx="113" cy="44"/>
            </a:xfrm>
            <a:custGeom>
              <a:avLst/>
              <a:gdLst>
                <a:gd name="T0" fmla="*/ 50 w 20000"/>
                <a:gd name="T1" fmla="*/ 3 h 20000"/>
                <a:gd name="T2" fmla="*/ 63 w 20000"/>
                <a:gd name="T3" fmla="*/ 3 h 20000"/>
                <a:gd name="T4" fmla="*/ 81 w 20000"/>
                <a:gd name="T5" fmla="*/ 7 h 20000"/>
                <a:gd name="T6" fmla="*/ 88 w 20000"/>
                <a:gd name="T7" fmla="*/ 14 h 20000"/>
                <a:gd name="T8" fmla="*/ 111 w 20000"/>
                <a:gd name="T9" fmla="*/ 20 h 20000"/>
                <a:gd name="T10" fmla="*/ 104 w 20000"/>
                <a:gd name="T11" fmla="*/ 30 h 20000"/>
                <a:gd name="T12" fmla="*/ 77 w 20000"/>
                <a:gd name="T13" fmla="*/ 30 h 20000"/>
                <a:gd name="T14" fmla="*/ 67 w 20000"/>
                <a:gd name="T15" fmla="*/ 30 h 20000"/>
                <a:gd name="T16" fmla="*/ 54 w 20000"/>
                <a:gd name="T17" fmla="*/ 44 h 20000"/>
                <a:gd name="T18" fmla="*/ 47 w 20000"/>
                <a:gd name="T19" fmla="*/ 34 h 20000"/>
                <a:gd name="T20" fmla="*/ 10 w 20000"/>
                <a:gd name="T21" fmla="*/ 34 h 20000"/>
                <a:gd name="T22" fmla="*/ 0 w 20000"/>
                <a:gd name="T23" fmla="*/ 30 h 20000"/>
                <a:gd name="T24" fmla="*/ 3 w 20000"/>
                <a:gd name="T25" fmla="*/ 20 h 20000"/>
                <a:gd name="T26" fmla="*/ 40 w 20000"/>
                <a:gd name="T27" fmla="*/ 23 h 20000"/>
                <a:gd name="T28" fmla="*/ 30 w 20000"/>
                <a:gd name="T29" fmla="*/ 16 h 20000"/>
                <a:gd name="T30" fmla="*/ 27 w 20000"/>
                <a:gd name="T31" fmla="*/ 10 h 20000"/>
                <a:gd name="T32" fmla="*/ 20 w 20000"/>
                <a:gd name="T33" fmla="*/ 0 h 20000"/>
                <a:gd name="T34" fmla="*/ 37 w 20000"/>
                <a:gd name="T35" fmla="*/ 0 h 20000"/>
                <a:gd name="T36" fmla="*/ 47 w 20000"/>
                <a:gd name="T37" fmla="*/ 3 h 20000"/>
                <a:gd name="T38" fmla="*/ 50 w 20000"/>
                <a:gd name="T39" fmla="*/ 3 h 200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000" h="20000">
                  <a:moveTo>
                    <a:pt x="9032" y="1273"/>
                  </a:moveTo>
                  <a:lnTo>
                    <a:pt x="11398" y="1273"/>
                  </a:lnTo>
                  <a:lnTo>
                    <a:pt x="14552" y="3091"/>
                  </a:lnTo>
                  <a:lnTo>
                    <a:pt x="15771" y="6182"/>
                  </a:lnTo>
                  <a:lnTo>
                    <a:pt x="19928" y="9273"/>
                  </a:lnTo>
                  <a:lnTo>
                    <a:pt x="18710" y="13636"/>
                  </a:lnTo>
                  <a:lnTo>
                    <a:pt x="13835" y="13636"/>
                  </a:lnTo>
                  <a:lnTo>
                    <a:pt x="12115" y="13636"/>
                  </a:lnTo>
                  <a:lnTo>
                    <a:pt x="9677" y="19818"/>
                  </a:lnTo>
                  <a:lnTo>
                    <a:pt x="8459" y="15273"/>
                  </a:lnTo>
                  <a:lnTo>
                    <a:pt x="1720" y="15273"/>
                  </a:lnTo>
                  <a:lnTo>
                    <a:pt x="0" y="13636"/>
                  </a:lnTo>
                  <a:lnTo>
                    <a:pt x="502" y="9273"/>
                  </a:lnTo>
                  <a:lnTo>
                    <a:pt x="7240" y="10545"/>
                  </a:lnTo>
                  <a:lnTo>
                    <a:pt x="5376" y="7455"/>
                  </a:lnTo>
                  <a:lnTo>
                    <a:pt x="4875" y="4364"/>
                  </a:lnTo>
                  <a:lnTo>
                    <a:pt x="3656" y="0"/>
                  </a:lnTo>
                  <a:lnTo>
                    <a:pt x="6595" y="0"/>
                  </a:lnTo>
                  <a:lnTo>
                    <a:pt x="8459" y="1273"/>
                  </a:lnTo>
                  <a:lnTo>
                    <a:pt x="9032" y="127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0" name="Freeform 6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62" y="2520"/>
              <a:ext cx="37" cy="13"/>
            </a:xfrm>
            <a:custGeom>
              <a:avLst/>
              <a:gdLst>
                <a:gd name="T0" fmla="*/ 20 w 20000"/>
                <a:gd name="T1" fmla="*/ 14 h 20000"/>
                <a:gd name="T2" fmla="*/ 35 w 20000"/>
                <a:gd name="T3" fmla="*/ 14 h 20000"/>
                <a:gd name="T4" fmla="*/ 27 w 20000"/>
                <a:gd name="T5" fmla="*/ 4 h 20000"/>
                <a:gd name="T6" fmla="*/ 7 w 20000"/>
                <a:gd name="T7" fmla="*/ 0 h 20000"/>
                <a:gd name="T8" fmla="*/ 0 w 20000"/>
                <a:gd name="T9" fmla="*/ 7 h 20000"/>
                <a:gd name="T10" fmla="*/ 7 w 20000"/>
                <a:gd name="T11" fmla="*/ 14 h 20000"/>
                <a:gd name="T12" fmla="*/ 20 w 20000"/>
                <a:gd name="T13" fmla="*/ 14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11591" y="19429"/>
                  </a:moveTo>
                  <a:lnTo>
                    <a:pt x="19773" y="19429"/>
                  </a:lnTo>
                  <a:lnTo>
                    <a:pt x="15227" y="5714"/>
                  </a:lnTo>
                  <a:lnTo>
                    <a:pt x="3864" y="0"/>
                  </a:lnTo>
                  <a:lnTo>
                    <a:pt x="0" y="9714"/>
                  </a:lnTo>
                  <a:lnTo>
                    <a:pt x="3864" y="19429"/>
                  </a:lnTo>
                  <a:lnTo>
                    <a:pt x="11591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1" name="Freeform 6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47" y="2429"/>
              <a:ext cx="194" cy="69"/>
            </a:xfrm>
            <a:custGeom>
              <a:avLst/>
              <a:gdLst>
                <a:gd name="T0" fmla="*/ 139 w 20000"/>
                <a:gd name="T1" fmla="*/ 55 h 20000"/>
                <a:gd name="T2" fmla="*/ 119 w 20000"/>
                <a:gd name="T3" fmla="*/ 48 h 20000"/>
                <a:gd name="T4" fmla="*/ 112 w 20000"/>
                <a:gd name="T5" fmla="*/ 30 h 20000"/>
                <a:gd name="T6" fmla="*/ 88 w 20000"/>
                <a:gd name="T7" fmla="*/ 30 h 20000"/>
                <a:gd name="T8" fmla="*/ 54 w 20000"/>
                <a:gd name="T9" fmla="*/ 17 h 20000"/>
                <a:gd name="T10" fmla="*/ 61 w 20000"/>
                <a:gd name="T11" fmla="*/ 14 h 20000"/>
                <a:gd name="T12" fmla="*/ 41 w 20000"/>
                <a:gd name="T13" fmla="*/ 10 h 20000"/>
                <a:gd name="T14" fmla="*/ 24 w 20000"/>
                <a:gd name="T15" fmla="*/ 23 h 20000"/>
                <a:gd name="T16" fmla="*/ 0 w 20000"/>
                <a:gd name="T17" fmla="*/ 23 h 20000"/>
                <a:gd name="T18" fmla="*/ 14 w 20000"/>
                <a:gd name="T19" fmla="*/ 17 h 20000"/>
                <a:gd name="T20" fmla="*/ 27 w 20000"/>
                <a:gd name="T21" fmla="*/ 7 h 20000"/>
                <a:gd name="T22" fmla="*/ 51 w 20000"/>
                <a:gd name="T23" fmla="*/ 0 h 20000"/>
                <a:gd name="T24" fmla="*/ 72 w 20000"/>
                <a:gd name="T25" fmla="*/ 0 h 20000"/>
                <a:gd name="T26" fmla="*/ 95 w 20000"/>
                <a:gd name="T27" fmla="*/ 7 h 20000"/>
                <a:gd name="T28" fmla="*/ 119 w 20000"/>
                <a:gd name="T29" fmla="*/ 21 h 20000"/>
                <a:gd name="T30" fmla="*/ 139 w 20000"/>
                <a:gd name="T31" fmla="*/ 30 h 20000"/>
                <a:gd name="T32" fmla="*/ 166 w 20000"/>
                <a:gd name="T33" fmla="*/ 44 h 20000"/>
                <a:gd name="T34" fmla="*/ 164 w 20000"/>
                <a:gd name="T35" fmla="*/ 51 h 20000"/>
                <a:gd name="T36" fmla="*/ 180 w 20000"/>
                <a:gd name="T37" fmla="*/ 55 h 20000"/>
                <a:gd name="T38" fmla="*/ 194 w 20000"/>
                <a:gd name="T39" fmla="*/ 62 h 20000"/>
                <a:gd name="T40" fmla="*/ 129 w 20000"/>
                <a:gd name="T41" fmla="*/ 69 h 20000"/>
                <a:gd name="T42" fmla="*/ 139 w 20000"/>
                <a:gd name="T43" fmla="*/ 55 h 200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0000" h="20000">
                  <a:moveTo>
                    <a:pt x="14351" y="15906"/>
                  </a:moveTo>
                  <a:lnTo>
                    <a:pt x="12247" y="13918"/>
                  </a:lnTo>
                  <a:lnTo>
                    <a:pt x="11546" y="8772"/>
                  </a:lnTo>
                  <a:lnTo>
                    <a:pt x="9072" y="8772"/>
                  </a:lnTo>
                  <a:lnTo>
                    <a:pt x="5567" y="4795"/>
                  </a:lnTo>
                  <a:lnTo>
                    <a:pt x="6268" y="3977"/>
                  </a:lnTo>
                  <a:lnTo>
                    <a:pt x="4206" y="2807"/>
                  </a:lnTo>
                  <a:lnTo>
                    <a:pt x="2474" y="6784"/>
                  </a:lnTo>
                  <a:lnTo>
                    <a:pt x="0" y="6784"/>
                  </a:lnTo>
                  <a:lnTo>
                    <a:pt x="1402" y="4795"/>
                  </a:lnTo>
                  <a:lnTo>
                    <a:pt x="2804" y="1988"/>
                  </a:lnTo>
                  <a:lnTo>
                    <a:pt x="5278" y="0"/>
                  </a:lnTo>
                  <a:lnTo>
                    <a:pt x="7381" y="0"/>
                  </a:lnTo>
                  <a:lnTo>
                    <a:pt x="9773" y="1988"/>
                  </a:lnTo>
                  <a:lnTo>
                    <a:pt x="12247" y="5965"/>
                  </a:lnTo>
                  <a:lnTo>
                    <a:pt x="14351" y="8772"/>
                  </a:lnTo>
                  <a:lnTo>
                    <a:pt x="17155" y="12749"/>
                  </a:lnTo>
                  <a:lnTo>
                    <a:pt x="16866" y="14737"/>
                  </a:lnTo>
                  <a:lnTo>
                    <a:pt x="18557" y="15906"/>
                  </a:lnTo>
                  <a:lnTo>
                    <a:pt x="19959" y="17895"/>
                  </a:lnTo>
                  <a:lnTo>
                    <a:pt x="13278" y="19883"/>
                  </a:lnTo>
                  <a:lnTo>
                    <a:pt x="14351" y="1590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2" name="Freeform 6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65" y="2612"/>
              <a:ext cx="4" cy="7"/>
            </a:xfrm>
            <a:custGeom>
              <a:avLst/>
              <a:gdLst>
                <a:gd name="T0" fmla="*/ 0 w 20000"/>
                <a:gd name="T1" fmla="*/ 0 h 20000"/>
                <a:gd name="T2" fmla="*/ 3 w 20000"/>
                <a:gd name="T3" fmla="*/ 0 h 20000"/>
                <a:gd name="T4" fmla="*/ 3 w 20000"/>
                <a:gd name="T5" fmla="*/ 3 h 20000"/>
                <a:gd name="T6" fmla="*/ 0 w 20000"/>
                <a:gd name="T7" fmla="*/ 7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0" y="0"/>
                  </a:moveTo>
                  <a:lnTo>
                    <a:pt x="17778" y="0"/>
                  </a:lnTo>
                  <a:lnTo>
                    <a:pt x="17778" y="7778"/>
                  </a:lnTo>
                  <a:lnTo>
                    <a:pt x="0" y="188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3" name="Freeform 6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066" y="3917"/>
              <a:ext cx="25" cy="21"/>
            </a:xfrm>
            <a:custGeom>
              <a:avLst/>
              <a:gdLst>
                <a:gd name="T0" fmla="*/ 7 w 20000"/>
                <a:gd name="T1" fmla="*/ 21 h 20000"/>
                <a:gd name="T2" fmla="*/ 18 w 20000"/>
                <a:gd name="T3" fmla="*/ 14 h 20000"/>
                <a:gd name="T4" fmla="*/ 25 w 20000"/>
                <a:gd name="T5" fmla="*/ 0 h 20000"/>
                <a:gd name="T6" fmla="*/ 4 w 20000"/>
                <a:gd name="T7" fmla="*/ 0 h 20000"/>
                <a:gd name="T8" fmla="*/ 0 w 20000"/>
                <a:gd name="T9" fmla="*/ 17 h 20000"/>
                <a:gd name="T10" fmla="*/ 7 w 20000"/>
                <a:gd name="T11" fmla="*/ 21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5484" y="19615"/>
                  </a:moveTo>
                  <a:lnTo>
                    <a:pt x="14194" y="13077"/>
                  </a:lnTo>
                  <a:lnTo>
                    <a:pt x="19677" y="0"/>
                  </a:lnTo>
                  <a:lnTo>
                    <a:pt x="3226" y="0"/>
                  </a:lnTo>
                  <a:lnTo>
                    <a:pt x="0" y="15769"/>
                  </a:lnTo>
                  <a:lnTo>
                    <a:pt x="5484" y="1961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4" name="Freeform 6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087" y="3914"/>
              <a:ext cx="31" cy="27"/>
            </a:xfrm>
            <a:custGeom>
              <a:avLst/>
              <a:gdLst>
                <a:gd name="T0" fmla="*/ 7 w 20000"/>
                <a:gd name="T1" fmla="*/ 27 h 20000"/>
                <a:gd name="T2" fmla="*/ 17 w 20000"/>
                <a:gd name="T3" fmla="*/ 17 h 20000"/>
                <a:gd name="T4" fmla="*/ 31 w 20000"/>
                <a:gd name="T5" fmla="*/ 11 h 20000"/>
                <a:gd name="T6" fmla="*/ 27 w 20000"/>
                <a:gd name="T7" fmla="*/ 7 h 20000"/>
                <a:gd name="T8" fmla="*/ 24 w 20000"/>
                <a:gd name="T9" fmla="*/ 0 h 20000"/>
                <a:gd name="T10" fmla="*/ 17 w 20000"/>
                <a:gd name="T11" fmla="*/ 0 h 20000"/>
                <a:gd name="T12" fmla="*/ 11 w 20000"/>
                <a:gd name="T13" fmla="*/ 0 h 20000"/>
                <a:gd name="T14" fmla="*/ 7 w 20000"/>
                <a:gd name="T15" fmla="*/ 11 h 20000"/>
                <a:gd name="T16" fmla="*/ 0 w 20000"/>
                <a:gd name="T17" fmla="*/ 20 h 20000"/>
                <a:gd name="T18" fmla="*/ 7 w 20000"/>
                <a:gd name="T19" fmla="*/ 27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000" h="20000">
                  <a:moveTo>
                    <a:pt x="4304" y="19710"/>
                  </a:moveTo>
                  <a:lnTo>
                    <a:pt x="11139" y="12464"/>
                  </a:lnTo>
                  <a:lnTo>
                    <a:pt x="19747" y="7826"/>
                  </a:lnTo>
                  <a:lnTo>
                    <a:pt x="17215" y="4928"/>
                  </a:lnTo>
                  <a:lnTo>
                    <a:pt x="15443" y="0"/>
                  </a:lnTo>
                  <a:lnTo>
                    <a:pt x="11139" y="0"/>
                  </a:lnTo>
                  <a:lnTo>
                    <a:pt x="6835" y="0"/>
                  </a:lnTo>
                  <a:lnTo>
                    <a:pt x="4304" y="7826"/>
                  </a:lnTo>
                  <a:lnTo>
                    <a:pt x="0" y="14783"/>
                  </a:lnTo>
                  <a:lnTo>
                    <a:pt x="4304" y="1971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5" name="Freeform 6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860" y="2524"/>
              <a:ext cx="31" cy="14"/>
            </a:xfrm>
            <a:custGeom>
              <a:avLst/>
              <a:gdLst>
                <a:gd name="T0" fmla="*/ 24 w 20000"/>
                <a:gd name="T1" fmla="*/ 14 h 20000"/>
                <a:gd name="T2" fmla="*/ 31 w 20000"/>
                <a:gd name="T3" fmla="*/ 7 h 20000"/>
                <a:gd name="T4" fmla="*/ 20 w 20000"/>
                <a:gd name="T5" fmla="*/ 3 h 20000"/>
                <a:gd name="T6" fmla="*/ 4 w 20000"/>
                <a:gd name="T7" fmla="*/ 0 h 20000"/>
                <a:gd name="T8" fmla="*/ 0 w 20000"/>
                <a:gd name="T9" fmla="*/ 10 h 20000"/>
                <a:gd name="T10" fmla="*/ 24 w 20000"/>
                <a:gd name="T11" fmla="*/ 14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15443" y="19429"/>
                  </a:moveTo>
                  <a:lnTo>
                    <a:pt x="19747" y="9714"/>
                  </a:lnTo>
                  <a:lnTo>
                    <a:pt x="12911" y="4000"/>
                  </a:lnTo>
                  <a:lnTo>
                    <a:pt x="2532" y="0"/>
                  </a:lnTo>
                  <a:lnTo>
                    <a:pt x="0" y="13714"/>
                  </a:lnTo>
                  <a:lnTo>
                    <a:pt x="15443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6" name="Freeform 6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48" y="2673"/>
              <a:ext cx="18" cy="12"/>
            </a:xfrm>
            <a:custGeom>
              <a:avLst/>
              <a:gdLst>
                <a:gd name="T0" fmla="*/ 14 w 20000"/>
                <a:gd name="T1" fmla="*/ 10 h 20000"/>
                <a:gd name="T2" fmla="*/ 18 w 20000"/>
                <a:gd name="T3" fmla="*/ 0 h 20000"/>
                <a:gd name="T4" fmla="*/ 7 w 20000"/>
                <a:gd name="T5" fmla="*/ 0 h 20000"/>
                <a:gd name="T6" fmla="*/ 7 w 20000"/>
                <a:gd name="T7" fmla="*/ 7 h 20000"/>
                <a:gd name="T8" fmla="*/ 0 w 20000"/>
                <a:gd name="T9" fmla="*/ 10 h 20000"/>
                <a:gd name="T10" fmla="*/ 14 w 20000"/>
                <a:gd name="T11" fmla="*/ 1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15111" y="19231"/>
                  </a:moveTo>
                  <a:lnTo>
                    <a:pt x="19556" y="0"/>
                  </a:lnTo>
                  <a:lnTo>
                    <a:pt x="7556" y="0"/>
                  </a:lnTo>
                  <a:lnTo>
                    <a:pt x="7556" y="13077"/>
                  </a:lnTo>
                  <a:lnTo>
                    <a:pt x="0" y="19231"/>
                  </a:lnTo>
                  <a:lnTo>
                    <a:pt x="15111" y="1923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7" name="Freeform 7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61" y="2594"/>
              <a:ext cx="7" cy="12"/>
            </a:xfrm>
            <a:custGeom>
              <a:avLst/>
              <a:gdLst>
                <a:gd name="T0" fmla="*/ 7 w 20000"/>
                <a:gd name="T1" fmla="*/ 12 h 20000"/>
                <a:gd name="T2" fmla="*/ 7 w 20000"/>
                <a:gd name="T3" fmla="*/ 4 h 20000"/>
                <a:gd name="T4" fmla="*/ 0 w 20000"/>
                <a:gd name="T5" fmla="*/ 0 h 20000"/>
                <a:gd name="T6" fmla="*/ 4 w 20000"/>
                <a:gd name="T7" fmla="*/ 12 h 20000"/>
                <a:gd name="T8" fmla="*/ 7 w 20000"/>
                <a:gd name="T9" fmla="*/ 12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8889" y="19286"/>
                  </a:moveTo>
                  <a:lnTo>
                    <a:pt x="18889" y="7143"/>
                  </a:lnTo>
                  <a:lnTo>
                    <a:pt x="0" y="0"/>
                  </a:lnTo>
                  <a:lnTo>
                    <a:pt x="11111" y="19286"/>
                  </a:lnTo>
                  <a:lnTo>
                    <a:pt x="18889" y="1928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8" name="Freeform 7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954" y="2564"/>
              <a:ext cx="11" cy="6"/>
            </a:xfrm>
            <a:custGeom>
              <a:avLst/>
              <a:gdLst>
                <a:gd name="T0" fmla="*/ 4 w 20000"/>
                <a:gd name="T1" fmla="*/ 8 h 20000"/>
                <a:gd name="T2" fmla="*/ 4 w 20000"/>
                <a:gd name="T3" fmla="*/ 3 h 20000"/>
                <a:gd name="T4" fmla="*/ 11 w 20000"/>
                <a:gd name="T5" fmla="*/ 3 h 20000"/>
                <a:gd name="T6" fmla="*/ 7 w 20000"/>
                <a:gd name="T7" fmla="*/ 0 h 20000"/>
                <a:gd name="T8" fmla="*/ 0 w 20000"/>
                <a:gd name="T9" fmla="*/ 3 h 20000"/>
                <a:gd name="T10" fmla="*/ 0 w 20000"/>
                <a:gd name="T11" fmla="*/ 8 h 20000"/>
                <a:gd name="T12" fmla="*/ 4 w 20000"/>
                <a:gd name="T13" fmla="*/ 8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7143" y="18889"/>
                  </a:moveTo>
                  <a:lnTo>
                    <a:pt x="7143" y="7778"/>
                  </a:lnTo>
                  <a:lnTo>
                    <a:pt x="19286" y="7778"/>
                  </a:lnTo>
                  <a:lnTo>
                    <a:pt x="12143" y="0"/>
                  </a:lnTo>
                  <a:lnTo>
                    <a:pt x="0" y="7778"/>
                  </a:lnTo>
                  <a:lnTo>
                    <a:pt x="0" y="18889"/>
                  </a:lnTo>
                  <a:lnTo>
                    <a:pt x="7143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69" name="Freeform 7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199" y="802"/>
              <a:ext cx="737" cy="812"/>
            </a:xfrm>
            <a:custGeom>
              <a:avLst/>
              <a:gdLst>
                <a:gd name="T0" fmla="*/ 261 w 20000"/>
                <a:gd name="T1" fmla="*/ 690 h 20000"/>
                <a:gd name="T2" fmla="*/ 312 w 20000"/>
                <a:gd name="T3" fmla="*/ 642 h 20000"/>
                <a:gd name="T4" fmla="*/ 335 w 20000"/>
                <a:gd name="T5" fmla="*/ 639 h 20000"/>
                <a:gd name="T6" fmla="*/ 407 w 20000"/>
                <a:gd name="T7" fmla="*/ 568 h 20000"/>
                <a:gd name="T8" fmla="*/ 543 w 20000"/>
                <a:gd name="T9" fmla="*/ 544 h 20000"/>
                <a:gd name="T10" fmla="*/ 502 w 20000"/>
                <a:gd name="T11" fmla="*/ 520 h 20000"/>
                <a:gd name="T12" fmla="*/ 519 w 20000"/>
                <a:gd name="T13" fmla="*/ 500 h 20000"/>
                <a:gd name="T14" fmla="*/ 509 w 20000"/>
                <a:gd name="T15" fmla="*/ 486 h 20000"/>
                <a:gd name="T16" fmla="*/ 550 w 20000"/>
                <a:gd name="T17" fmla="*/ 524 h 20000"/>
                <a:gd name="T18" fmla="*/ 560 w 20000"/>
                <a:gd name="T19" fmla="*/ 480 h 20000"/>
                <a:gd name="T20" fmla="*/ 577 w 20000"/>
                <a:gd name="T21" fmla="*/ 439 h 20000"/>
                <a:gd name="T22" fmla="*/ 620 w 20000"/>
                <a:gd name="T23" fmla="*/ 335 h 20000"/>
                <a:gd name="T24" fmla="*/ 641 w 20000"/>
                <a:gd name="T25" fmla="*/ 297 h 20000"/>
                <a:gd name="T26" fmla="*/ 624 w 20000"/>
                <a:gd name="T27" fmla="*/ 247 h 20000"/>
                <a:gd name="T28" fmla="*/ 638 w 20000"/>
                <a:gd name="T29" fmla="*/ 202 h 20000"/>
                <a:gd name="T30" fmla="*/ 692 w 20000"/>
                <a:gd name="T31" fmla="*/ 168 h 20000"/>
                <a:gd name="T32" fmla="*/ 692 w 20000"/>
                <a:gd name="T33" fmla="*/ 162 h 20000"/>
                <a:gd name="T34" fmla="*/ 737 w 20000"/>
                <a:gd name="T35" fmla="*/ 121 h 20000"/>
                <a:gd name="T36" fmla="*/ 654 w 20000"/>
                <a:gd name="T37" fmla="*/ 128 h 20000"/>
                <a:gd name="T38" fmla="*/ 614 w 20000"/>
                <a:gd name="T39" fmla="*/ 152 h 20000"/>
                <a:gd name="T40" fmla="*/ 634 w 20000"/>
                <a:gd name="T41" fmla="*/ 95 h 20000"/>
                <a:gd name="T42" fmla="*/ 573 w 20000"/>
                <a:gd name="T43" fmla="*/ 118 h 20000"/>
                <a:gd name="T44" fmla="*/ 506 w 20000"/>
                <a:gd name="T45" fmla="*/ 104 h 20000"/>
                <a:gd name="T46" fmla="*/ 607 w 20000"/>
                <a:gd name="T47" fmla="*/ 88 h 20000"/>
                <a:gd name="T48" fmla="*/ 654 w 20000"/>
                <a:gd name="T49" fmla="*/ 68 h 20000"/>
                <a:gd name="T50" fmla="*/ 580 w 20000"/>
                <a:gd name="T51" fmla="*/ 41 h 20000"/>
                <a:gd name="T52" fmla="*/ 539 w 20000"/>
                <a:gd name="T53" fmla="*/ 34 h 20000"/>
                <a:gd name="T54" fmla="*/ 584 w 20000"/>
                <a:gd name="T55" fmla="*/ 10 h 20000"/>
                <a:gd name="T56" fmla="*/ 414 w 20000"/>
                <a:gd name="T57" fmla="*/ 7 h 20000"/>
                <a:gd name="T58" fmla="*/ 458 w 20000"/>
                <a:gd name="T59" fmla="*/ 57 h 20000"/>
                <a:gd name="T60" fmla="*/ 424 w 20000"/>
                <a:gd name="T61" fmla="*/ 64 h 20000"/>
                <a:gd name="T62" fmla="*/ 393 w 20000"/>
                <a:gd name="T63" fmla="*/ 88 h 20000"/>
                <a:gd name="T64" fmla="*/ 346 w 20000"/>
                <a:gd name="T65" fmla="*/ 68 h 20000"/>
                <a:gd name="T66" fmla="*/ 251 w 20000"/>
                <a:gd name="T67" fmla="*/ 44 h 20000"/>
                <a:gd name="T68" fmla="*/ 245 w 20000"/>
                <a:gd name="T69" fmla="*/ 50 h 20000"/>
                <a:gd name="T70" fmla="*/ 197 w 20000"/>
                <a:gd name="T71" fmla="*/ 71 h 20000"/>
                <a:gd name="T72" fmla="*/ 180 w 20000"/>
                <a:gd name="T73" fmla="*/ 77 h 20000"/>
                <a:gd name="T74" fmla="*/ 115 w 20000"/>
                <a:gd name="T75" fmla="*/ 111 h 20000"/>
                <a:gd name="T76" fmla="*/ 146 w 20000"/>
                <a:gd name="T77" fmla="*/ 121 h 20000"/>
                <a:gd name="T78" fmla="*/ 146 w 20000"/>
                <a:gd name="T79" fmla="*/ 132 h 20000"/>
                <a:gd name="T80" fmla="*/ 99 w 20000"/>
                <a:gd name="T81" fmla="*/ 155 h 20000"/>
                <a:gd name="T82" fmla="*/ 44 w 20000"/>
                <a:gd name="T83" fmla="*/ 165 h 20000"/>
                <a:gd name="T84" fmla="*/ 7 w 20000"/>
                <a:gd name="T85" fmla="*/ 195 h 20000"/>
                <a:gd name="T86" fmla="*/ 41 w 20000"/>
                <a:gd name="T87" fmla="*/ 220 h 20000"/>
                <a:gd name="T88" fmla="*/ 31 w 20000"/>
                <a:gd name="T89" fmla="*/ 222 h 20000"/>
                <a:gd name="T90" fmla="*/ 20 w 20000"/>
                <a:gd name="T91" fmla="*/ 233 h 20000"/>
                <a:gd name="T92" fmla="*/ 18 w 20000"/>
                <a:gd name="T93" fmla="*/ 253 h 20000"/>
                <a:gd name="T94" fmla="*/ 31 w 20000"/>
                <a:gd name="T95" fmla="*/ 267 h 20000"/>
                <a:gd name="T96" fmla="*/ 95 w 20000"/>
                <a:gd name="T97" fmla="*/ 283 h 20000"/>
                <a:gd name="T98" fmla="*/ 119 w 20000"/>
                <a:gd name="T99" fmla="*/ 432 h 20000"/>
                <a:gd name="T100" fmla="*/ 119 w 20000"/>
                <a:gd name="T101" fmla="*/ 477 h 20000"/>
                <a:gd name="T102" fmla="*/ 106 w 20000"/>
                <a:gd name="T103" fmla="*/ 548 h 20000"/>
                <a:gd name="T104" fmla="*/ 119 w 20000"/>
                <a:gd name="T105" fmla="*/ 757 h 20000"/>
                <a:gd name="T106" fmla="*/ 193 w 20000"/>
                <a:gd name="T107" fmla="*/ 812 h 200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000" h="20000">
                  <a:moveTo>
                    <a:pt x="5249" y="19990"/>
                  </a:moveTo>
                  <a:lnTo>
                    <a:pt x="6269" y="18581"/>
                  </a:lnTo>
                  <a:lnTo>
                    <a:pt x="6638" y="17655"/>
                  </a:lnTo>
                  <a:lnTo>
                    <a:pt x="7082" y="16985"/>
                  </a:lnTo>
                  <a:lnTo>
                    <a:pt x="7267" y="16581"/>
                  </a:lnTo>
                  <a:lnTo>
                    <a:pt x="7636" y="16079"/>
                  </a:lnTo>
                  <a:lnTo>
                    <a:pt x="7918" y="15911"/>
                  </a:lnTo>
                  <a:lnTo>
                    <a:pt x="8471" y="15813"/>
                  </a:lnTo>
                  <a:lnTo>
                    <a:pt x="8547" y="15320"/>
                  </a:lnTo>
                  <a:lnTo>
                    <a:pt x="8839" y="15320"/>
                  </a:lnTo>
                  <a:lnTo>
                    <a:pt x="8655" y="15744"/>
                  </a:lnTo>
                  <a:lnTo>
                    <a:pt x="9100" y="15744"/>
                  </a:lnTo>
                  <a:lnTo>
                    <a:pt x="10043" y="15153"/>
                  </a:lnTo>
                  <a:lnTo>
                    <a:pt x="10781" y="14581"/>
                  </a:lnTo>
                  <a:lnTo>
                    <a:pt x="11150" y="14414"/>
                  </a:lnTo>
                  <a:lnTo>
                    <a:pt x="11041" y="13980"/>
                  </a:lnTo>
                  <a:lnTo>
                    <a:pt x="11410" y="14315"/>
                  </a:lnTo>
                  <a:lnTo>
                    <a:pt x="12430" y="14148"/>
                  </a:lnTo>
                  <a:lnTo>
                    <a:pt x="13536" y="13980"/>
                  </a:lnTo>
                  <a:lnTo>
                    <a:pt x="14740" y="13409"/>
                  </a:lnTo>
                  <a:lnTo>
                    <a:pt x="15184" y="13153"/>
                  </a:lnTo>
                  <a:lnTo>
                    <a:pt x="14002" y="12906"/>
                  </a:lnTo>
                  <a:lnTo>
                    <a:pt x="12690" y="12985"/>
                  </a:lnTo>
                  <a:lnTo>
                    <a:pt x="13612" y="12818"/>
                  </a:lnTo>
                  <a:lnTo>
                    <a:pt x="12874" y="12818"/>
                  </a:lnTo>
                  <a:lnTo>
                    <a:pt x="12983" y="12650"/>
                  </a:lnTo>
                  <a:lnTo>
                    <a:pt x="13243" y="12414"/>
                  </a:lnTo>
                  <a:lnTo>
                    <a:pt x="14089" y="12315"/>
                  </a:lnTo>
                  <a:lnTo>
                    <a:pt x="13612" y="12079"/>
                  </a:lnTo>
                  <a:lnTo>
                    <a:pt x="13059" y="11744"/>
                  </a:lnTo>
                  <a:lnTo>
                    <a:pt x="13167" y="11576"/>
                  </a:lnTo>
                  <a:lnTo>
                    <a:pt x="13818" y="11980"/>
                  </a:lnTo>
                  <a:lnTo>
                    <a:pt x="14262" y="12246"/>
                  </a:lnTo>
                  <a:lnTo>
                    <a:pt x="14555" y="12483"/>
                  </a:lnTo>
                  <a:lnTo>
                    <a:pt x="14555" y="12749"/>
                  </a:lnTo>
                  <a:lnTo>
                    <a:pt x="14924" y="12906"/>
                  </a:lnTo>
                  <a:lnTo>
                    <a:pt x="15000" y="12906"/>
                  </a:lnTo>
                  <a:lnTo>
                    <a:pt x="15477" y="12818"/>
                  </a:lnTo>
                  <a:lnTo>
                    <a:pt x="15477" y="12148"/>
                  </a:lnTo>
                  <a:lnTo>
                    <a:pt x="15184" y="11813"/>
                  </a:lnTo>
                  <a:lnTo>
                    <a:pt x="14631" y="11153"/>
                  </a:lnTo>
                  <a:lnTo>
                    <a:pt x="14447" y="10739"/>
                  </a:lnTo>
                  <a:lnTo>
                    <a:pt x="15108" y="10581"/>
                  </a:lnTo>
                  <a:lnTo>
                    <a:pt x="15662" y="10818"/>
                  </a:lnTo>
                  <a:lnTo>
                    <a:pt x="16388" y="10650"/>
                  </a:lnTo>
                  <a:lnTo>
                    <a:pt x="16833" y="9980"/>
                  </a:lnTo>
                  <a:lnTo>
                    <a:pt x="16941" y="9143"/>
                  </a:lnTo>
                  <a:lnTo>
                    <a:pt x="16833" y="8246"/>
                  </a:lnTo>
                  <a:lnTo>
                    <a:pt x="16388" y="8079"/>
                  </a:lnTo>
                  <a:lnTo>
                    <a:pt x="16649" y="7744"/>
                  </a:lnTo>
                  <a:lnTo>
                    <a:pt x="17495" y="7911"/>
                  </a:lnTo>
                  <a:lnTo>
                    <a:pt x="17386" y="7310"/>
                  </a:lnTo>
                  <a:lnTo>
                    <a:pt x="17017" y="7241"/>
                  </a:lnTo>
                  <a:lnTo>
                    <a:pt x="17310" y="7143"/>
                  </a:lnTo>
                  <a:lnTo>
                    <a:pt x="16833" y="6739"/>
                  </a:lnTo>
                  <a:lnTo>
                    <a:pt x="16941" y="6079"/>
                  </a:lnTo>
                  <a:lnTo>
                    <a:pt x="17570" y="5478"/>
                  </a:lnTo>
                  <a:lnTo>
                    <a:pt x="18330" y="4739"/>
                  </a:lnTo>
                  <a:lnTo>
                    <a:pt x="17679" y="4739"/>
                  </a:lnTo>
                  <a:lnTo>
                    <a:pt x="17310" y="4975"/>
                  </a:lnTo>
                  <a:lnTo>
                    <a:pt x="17310" y="4906"/>
                  </a:lnTo>
                  <a:lnTo>
                    <a:pt x="17570" y="4404"/>
                  </a:lnTo>
                  <a:lnTo>
                    <a:pt x="18514" y="4571"/>
                  </a:lnTo>
                  <a:lnTo>
                    <a:pt x="18774" y="4148"/>
                  </a:lnTo>
                  <a:lnTo>
                    <a:pt x="18330" y="4148"/>
                  </a:lnTo>
                  <a:lnTo>
                    <a:pt x="17570" y="4069"/>
                  </a:lnTo>
                  <a:lnTo>
                    <a:pt x="18124" y="4069"/>
                  </a:lnTo>
                  <a:lnTo>
                    <a:pt x="18774" y="3980"/>
                  </a:lnTo>
                  <a:lnTo>
                    <a:pt x="19328" y="3813"/>
                  </a:lnTo>
                  <a:lnTo>
                    <a:pt x="19252" y="3645"/>
                  </a:lnTo>
                  <a:lnTo>
                    <a:pt x="19881" y="3310"/>
                  </a:lnTo>
                  <a:lnTo>
                    <a:pt x="19989" y="2975"/>
                  </a:lnTo>
                  <a:lnTo>
                    <a:pt x="19328" y="2670"/>
                  </a:lnTo>
                  <a:lnTo>
                    <a:pt x="18590" y="2837"/>
                  </a:lnTo>
                  <a:lnTo>
                    <a:pt x="18330" y="3143"/>
                  </a:lnTo>
                  <a:lnTo>
                    <a:pt x="17755" y="3143"/>
                  </a:lnTo>
                  <a:lnTo>
                    <a:pt x="17755" y="2837"/>
                  </a:lnTo>
                  <a:lnTo>
                    <a:pt x="17570" y="2906"/>
                  </a:lnTo>
                  <a:lnTo>
                    <a:pt x="17310" y="3310"/>
                  </a:lnTo>
                  <a:lnTo>
                    <a:pt x="16649" y="3744"/>
                  </a:lnTo>
                  <a:lnTo>
                    <a:pt x="16204" y="4069"/>
                  </a:lnTo>
                  <a:lnTo>
                    <a:pt x="16941" y="3310"/>
                  </a:lnTo>
                  <a:lnTo>
                    <a:pt x="17202" y="2571"/>
                  </a:lnTo>
                  <a:lnTo>
                    <a:pt x="17202" y="2335"/>
                  </a:lnTo>
                  <a:lnTo>
                    <a:pt x="16573" y="2404"/>
                  </a:lnTo>
                  <a:lnTo>
                    <a:pt x="16475" y="2837"/>
                  </a:lnTo>
                  <a:lnTo>
                    <a:pt x="15738" y="3074"/>
                  </a:lnTo>
                  <a:lnTo>
                    <a:pt x="15553" y="2906"/>
                  </a:lnTo>
                  <a:lnTo>
                    <a:pt x="16291" y="2571"/>
                  </a:lnTo>
                  <a:lnTo>
                    <a:pt x="16204" y="2335"/>
                  </a:lnTo>
                  <a:lnTo>
                    <a:pt x="15000" y="2335"/>
                  </a:lnTo>
                  <a:lnTo>
                    <a:pt x="13720" y="2571"/>
                  </a:lnTo>
                  <a:lnTo>
                    <a:pt x="13612" y="2502"/>
                  </a:lnTo>
                  <a:lnTo>
                    <a:pt x="15000" y="2069"/>
                  </a:lnTo>
                  <a:lnTo>
                    <a:pt x="15922" y="2069"/>
                  </a:lnTo>
                  <a:lnTo>
                    <a:pt x="16475" y="2167"/>
                  </a:lnTo>
                  <a:lnTo>
                    <a:pt x="16757" y="2000"/>
                  </a:lnTo>
                  <a:lnTo>
                    <a:pt x="17126" y="2000"/>
                  </a:lnTo>
                  <a:lnTo>
                    <a:pt x="17310" y="1901"/>
                  </a:lnTo>
                  <a:lnTo>
                    <a:pt x="17755" y="1665"/>
                  </a:lnTo>
                  <a:lnTo>
                    <a:pt x="17017" y="1409"/>
                  </a:lnTo>
                  <a:lnTo>
                    <a:pt x="16757" y="1330"/>
                  </a:lnTo>
                  <a:lnTo>
                    <a:pt x="16757" y="906"/>
                  </a:lnTo>
                  <a:lnTo>
                    <a:pt x="15738" y="1005"/>
                  </a:lnTo>
                  <a:lnTo>
                    <a:pt x="14555" y="1005"/>
                  </a:lnTo>
                  <a:lnTo>
                    <a:pt x="13612" y="1163"/>
                  </a:lnTo>
                  <a:lnTo>
                    <a:pt x="14002" y="906"/>
                  </a:lnTo>
                  <a:lnTo>
                    <a:pt x="14631" y="837"/>
                  </a:lnTo>
                  <a:lnTo>
                    <a:pt x="15553" y="739"/>
                  </a:lnTo>
                  <a:lnTo>
                    <a:pt x="16291" y="739"/>
                  </a:lnTo>
                  <a:lnTo>
                    <a:pt x="16573" y="571"/>
                  </a:lnTo>
                  <a:lnTo>
                    <a:pt x="15846" y="236"/>
                  </a:lnTo>
                  <a:lnTo>
                    <a:pt x="14447" y="0"/>
                  </a:lnTo>
                  <a:lnTo>
                    <a:pt x="13167" y="167"/>
                  </a:lnTo>
                  <a:lnTo>
                    <a:pt x="11518" y="167"/>
                  </a:lnTo>
                  <a:lnTo>
                    <a:pt x="11226" y="167"/>
                  </a:lnTo>
                  <a:lnTo>
                    <a:pt x="11410" y="571"/>
                  </a:lnTo>
                  <a:lnTo>
                    <a:pt x="12148" y="739"/>
                  </a:lnTo>
                  <a:lnTo>
                    <a:pt x="12430" y="1074"/>
                  </a:lnTo>
                  <a:lnTo>
                    <a:pt x="12430" y="1409"/>
                  </a:lnTo>
                  <a:lnTo>
                    <a:pt x="11963" y="1005"/>
                  </a:lnTo>
                  <a:lnTo>
                    <a:pt x="11041" y="739"/>
                  </a:lnTo>
                  <a:lnTo>
                    <a:pt x="11594" y="1576"/>
                  </a:lnTo>
                  <a:lnTo>
                    <a:pt x="11518" y="1576"/>
                  </a:lnTo>
                  <a:lnTo>
                    <a:pt x="11226" y="1409"/>
                  </a:lnTo>
                  <a:lnTo>
                    <a:pt x="10781" y="1665"/>
                  </a:lnTo>
                  <a:lnTo>
                    <a:pt x="10857" y="2000"/>
                  </a:lnTo>
                  <a:lnTo>
                    <a:pt x="10672" y="2167"/>
                  </a:lnTo>
                  <a:lnTo>
                    <a:pt x="10228" y="1498"/>
                  </a:lnTo>
                  <a:lnTo>
                    <a:pt x="9490" y="906"/>
                  </a:lnTo>
                  <a:lnTo>
                    <a:pt x="9306" y="1241"/>
                  </a:lnTo>
                  <a:lnTo>
                    <a:pt x="9393" y="1665"/>
                  </a:lnTo>
                  <a:lnTo>
                    <a:pt x="9306" y="1744"/>
                  </a:lnTo>
                  <a:lnTo>
                    <a:pt x="8547" y="1498"/>
                  </a:lnTo>
                  <a:lnTo>
                    <a:pt x="8471" y="906"/>
                  </a:lnTo>
                  <a:lnTo>
                    <a:pt x="6822" y="1074"/>
                  </a:lnTo>
                  <a:lnTo>
                    <a:pt x="7191" y="2069"/>
                  </a:lnTo>
                  <a:lnTo>
                    <a:pt x="7082" y="2069"/>
                  </a:lnTo>
                  <a:lnTo>
                    <a:pt x="6638" y="1576"/>
                  </a:lnTo>
                  <a:lnTo>
                    <a:pt x="6638" y="1241"/>
                  </a:lnTo>
                  <a:lnTo>
                    <a:pt x="6269" y="1163"/>
                  </a:lnTo>
                  <a:lnTo>
                    <a:pt x="5792" y="1901"/>
                  </a:lnTo>
                  <a:lnTo>
                    <a:pt x="5531" y="2000"/>
                  </a:lnTo>
                  <a:lnTo>
                    <a:pt x="5347" y="1744"/>
                  </a:lnTo>
                  <a:lnTo>
                    <a:pt x="5065" y="1744"/>
                  </a:lnTo>
                  <a:lnTo>
                    <a:pt x="5065" y="2236"/>
                  </a:lnTo>
                  <a:lnTo>
                    <a:pt x="4978" y="2236"/>
                  </a:lnTo>
                  <a:lnTo>
                    <a:pt x="4881" y="1901"/>
                  </a:lnTo>
                  <a:lnTo>
                    <a:pt x="4403" y="2000"/>
                  </a:lnTo>
                  <a:lnTo>
                    <a:pt x="4035" y="2236"/>
                  </a:lnTo>
                  <a:lnTo>
                    <a:pt x="3406" y="2571"/>
                  </a:lnTo>
                  <a:lnTo>
                    <a:pt x="3124" y="2739"/>
                  </a:lnTo>
                  <a:lnTo>
                    <a:pt x="3037" y="2906"/>
                  </a:lnTo>
                  <a:lnTo>
                    <a:pt x="3308" y="2906"/>
                  </a:lnTo>
                  <a:lnTo>
                    <a:pt x="3406" y="3074"/>
                  </a:lnTo>
                  <a:lnTo>
                    <a:pt x="3959" y="2975"/>
                  </a:lnTo>
                  <a:lnTo>
                    <a:pt x="4143" y="2906"/>
                  </a:lnTo>
                  <a:lnTo>
                    <a:pt x="4143" y="2975"/>
                  </a:lnTo>
                  <a:lnTo>
                    <a:pt x="3677" y="3074"/>
                  </a:lnTo>
                  <a:lnTo>
                    <a:pt x="3959" y="3241"/>
                  </a:lnTo>
                  <a:lnTo>
                    <a:pt x="3590" y="3310"/>
                  </a:lnTo>
                  <a:lnTo>
                    <a:pt x="3492" y="3576"/>
                  </a:lnTo>
                  <a:lnTo>
                    <a:pt x="2863" y="3911"/>
                  </a:lnTo>
                  <a:lnTo>
                    <a:pt x="2679" y="3813"/>
                  </a:lnTo>
                  <a:lnTo>
                    <a:pt x="2310" y="3813"/>
                  </a:lnTo>
                  <a:lnTo>
                    <a:pt x="1757" y="3911"/>
                  </a:lnTo>
                  <a:lnTo>
                    <a:pt x="1757" y="3980"/>
                  </a:lnTo>
                  <a:lnTo>
                    <a:pt x="1204" y="4069"/>
                  </a:lnTo>
                  <a:lnTo>
                    <a:pt x="738" y="4069"/>
                  </a:lnTo>
                  <a:lnTo>
                    <a:pt x="184" y="4148"/>
                  </a:lnTo>
                  <a:lnTo>
                    <a:pt x="0" y="4571"/>
                  </a:lnTo>
                  <a:lnTo>
                    <a:pt x="184" y="4808"/>
                  </a:lnTo>
                  <a:lnTo>
                    <a:pt x="553" y="5074"/>
                  </a:lnTo>
                  <a:lnTo>
                    <a:pt x="922" y="5143"/>
                  </a:lnTo>
                  <a:lnTo>
                    <a:pt x="651" y="5241"/>
                  </a:lnTo>
                  <a:lnTo>
                    <a:pt x="1106" y="5409"/>
                  </a:lnTo>
                  <a:lnTo>
                    <a:pt x="1573" y="5409"/>
                  </a:lnTo>
                  <a:lnTo>
                    <a:pt x="1941" y="5310"/>
                  </a:lnTo>
                  <a:lnTo>
                    <a:pt x="1649" y="5744"/>
                  </a:lnTo>
                  <a:lnTo>
                    <a:pt x="835" y="5478"/>
                  </a:lnTo>
                  <a:lnTo>
                    <a:pt x="108" y="5478"/>
                  </a:lnTo>
                  <a:lnTo>
                    <a:pt x="0" y="5813"/>
                  </a:lnTo>
                  <a:lnTo>
                    <a:pt x="477" y="5645"/>
                  </a:lnTo>
                  <a:lnTo>
                    <a:pt x="553" y="5744"/>
                  </a:lnTo>
                  <a:lnTo>
                    <a:pt x="184" y="5980"/>
                  </a:lnTo>
                  <a:lnTo>
                    <a:pt x="553" y="6079"/>
                  </a:lnTo>
                  <a:lnTo>
                    <a:pt x="835" y="6079"/>
                  </a:lnTo>
                  <a:lnTo>
                    <a:pt x="477" y="6236"/>
                  </a:lnTo>
                  <a:lnTo>
                    <a:pt x="108" y="6315"/>
                  </a:lnTo>
                  <a:lnTo>
                    <a:pt x="369" y="6739"/>
                  </a:lnTo>
                  <a:lnTo>
                    <a:pt x="922" y="6975"/>
                  </a:lnTo>
                  <a:lnTo>
                    <a:pt x="835" y="6571"/>
                  </a:lnTo>
                  <a:lnTo>
                    <a:pt x="1204" y="6650"/>
                  </a:lnTo>
                  <a:lnTo>
                    <a:pt x="1388" y="6906"/>
                  </a:lnTo>
                  <a:lnTo>
                    <a:pt x="1941" y="6739"/>
                  </a:lnTo>
                  <a:lnTo>
                    <a:pt x="2570" y="6975"/>
                  </a:lnTo>
                  <a:lnTo>
                    <a:pt x="3308" y="7409"/>
                  </a:lnTo>
                  <a:lnTo>
                    <a:pt x="3590" y="8148"/>
                  </a:lnTo>
                  <a:lnTo>
                    <a:pt x="3774" y="10315"/>
                  </a:lnTo>
                  <a:lnTo>
                    <a:pt x="3221" y="10650"/>
                  </a:lnTo>
                  <a:lnTo>
                    <a:pt x="3037" y="11153"/>
                  </a:lnTo>
                  <a:lnTo>
                    <a:pt x="3774" y="11310"/>
                  </a:lnTo>
                  <a:lnTo>
                    <a:pt x="4328" y="12148"/>
                  </a:lnTo>
                  <a:lnTo>
                    <a:pt x="3221" y="11744"/>
                  </a:lnTo>
                  <a:lnTo>
                    <a:pt x="4035" y="12414"/>
                  </a:lnTo>
                  <a:lnTo>
                    <a:pt x="3959" y="13153"/>
                  </a:lnTo>
                  <a:lnTo>
                    <a:pt x="3492" y="13409"/>
                  </a:lnTo>
                  <a:lnTo>
                    <a:pt x="2863" y="13488"/>
                  </a:lnTo>
                  <a:lnTo>
                    <a:pt x="2386" y="14414"/>
                  </a:lnTo>
                  <a:lnTo>
                    <a:pt x="2495" y="15655"/>
                  </a:lnTo>
                  <a:lnTo>
                    <a:pt x="2679" y="17251"/>
                  </a:lnTo>
                  <a:lnTo>
                    <a:pt x="3221" y="18650"/>
                  </a:lnTo>
                  <a:lnTo>
                    <a:pt x="3677" y="19251"/>
                  </a:lnTo>
                  <a:lnTo>
                    <a:pt x="4328" y="19251"/>
                  </a:lnTo>
                  <a:lnTo>
                    <a:pt x="4881" y="19911"/>
                  </a:lnTo>
                  <a:lnTo>
                    <a:pt x="5249" y="1999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0" name="Freeform 7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665" y="1671"/>
              <a:ext cx="1661" cy="1192"/>
            </a:xfrm>
            <a:custGeom>
              <a:avLst/>
              <a:gdLst>
                <a:gd name="T0" fmla="*/ 1240 w 20000"/>
                <a:gd name="T1" fmla="*/ 1100 h 20000"/>
                <a:gd name="T2" fmla="*/ 1198 w 20000"/>
                <a:gd name="T3" fmla="*/ 964 h 20000"/>
                <a:gd name="T4" fmla="*/ 1283 w 20000"/>
                <a:gd name="T5" fmla="*/ 1022 h 20000"/>
                <a:gd name="T6" fmla="*/ 1351 w 20000"/>
                <a:gd name="T7" fmla="*/ 1009 h 20000"/>
                <a:gd name="T8" fmla="*/ 1344 w 20000"/>
                <a:gd name="T9" fmla="*/ 914 h 20000"/>
                <a:gd name="T10" fmla="*/ 1317 w 20000"/>
                <a:gd name="T11" fmla="*/ 806 h 20000"/>
                <a:gd name="T12" fmla="*/ 1375 w 20000"/>
                <a:gd name="T13" fmla="*/ 822 h 20000"/>
                <a:gd name="T14" fmla="*/ 1443 w 20000"/>
                <a:gd name="T15" fmla="*/ 775 h 20000"/>
                <a:gd name="T16" fmla="*/ 1521 w 20000"/>
                <a:gd name="T17" fmla="*/ 718 h 20000"/>
                <a:gd name="T18" fmla="*/ 1544 w 20000"/>
                <a:gd name="T19" fmla="*/ 643 h 20000"/>
                <a:gd name="T20" fmla="*/ 1521 w 20000"/>
                <a:gd name="T21" fmla="*/ 606 h 20000"/>
                <a:gd name="T22" fmla="*/ 1514 w 20000"/>
                <a:gd name="T23" fmla="*/ 546 h 20000"/>
                <a:gd name="T24" fmla="*/ 1487 w 20000"/>
                <a:gd name="T25" fmla="*/ 440 h 20000"/>
                <a:gd name="T26" fmla="*/ 1477 w 20000"/>
                <a:gd name="T27" fmla="*/ 359 h 20000"/>
                <a:gd name="T28" fmla="*/ 1541 w 20000"/>
                <a:gd name="T29" fmla="*/ 379 h 20000"/>
                <a:gd name="T30" fmla="*/ 1571 w 20000"/>
                <a:gd name="T31" fmla="*/ 420 h 20000"/>
                <a:gd name="T32" fmla="*/ 1606 w 20000"/>
                <a:gd name="T33" fmla="*/ 451 h 20000"/>
                <a:gd name="T34" fmla="*/ 1613 w 20000"/>
                <a:gd name="T35" fmla="*/ 512 h 20000"/>
                <a:gd name="T36" fmla="*/ 1647 w 20000"/>
                <a:gd name="T37" fmla="*/ 491 h 20000"/>
                <a:gd name="T38" fmla="*/ 1606 w 20000"/>
                <a:gd name="T39" fmla="*/ 370 h 20000"/>
                <a:gd name="T40" fmla="*/ 1640 w 20000"/>
                <a:gd name="T41" fmla="*/ 275 h 20000"/>
                <a:gd name="T42" fmla="*/ 1582 w 20000"/>
                <a:gd name="T43" fmla="*/ 122 h 20000"/>
                <a:gd name="T44" fmla="*/ 1402 w 20000"/>
                <a:gd name="T45" fmla="*/ 4 h 20000"/>
                <a:gd name="T46" fmla="*/ 1321 w 20000"/>
                <a:gd name="T47" fmla="*/ 126 h 20000"/>
                <a:gd name="T48" fmla="*/ 1022 w 20000"/>
                <a:gd name="T49" fmla="*/ 95 h 20000"/>
                <a:gd name="T50" fmla="*/ 910 w 20000"/>
                <a:gd name="T51" fmla="*/ 142 h 20000"/>
                <a:gd name="T52" fmla="*/ 591 w 20000"/>
                <a:gd name="T53" fmla="*/ 95 h 20000"/>
                <a:gd name="T54" fmla="*/ 224 w 20000"/>
                <a:gd name="T55" fmla="*/ 288 h 20000"/>
                <a:gd name="T56" fmla="*/ 255 w 20000"/>
                <a:gd name="T57" fmla="*/ 338 h 20000"/>
                <a:gd name="T58" fmla="*/ 326 w 20000"/>
                <a:gd name="T59" fmla="*/ 417 h 20000"/>
                <a:gd name="T60" fmla="*/ 323 w 20000"/>
                <a:gd name="T61" fmla="*/ 505 h 20000"/>
                <a:gd name="T62" fmla="*/ 200 w 20000"/>
                <a:gd name="T63" fmla="*/ 460 h 20000"/>
                <a:gd name="T64" fmla="*/ 139 w 20000"/>
                <a:gd name="T65" fmla="*/ 491 h 20000"/>
                <a:gd name="T66" fmla="*/ 34 w 20000"/>
                <a:gd name="T67" fmla="*/ 514 h 20000"/>
                <a:gd name="T68" fmla="*/ 7 w 20000"/>
                <a:gd name="T69" fmla="*/ 596 h 20000"/>
                <a:gd name="T70" fmla="*/ 44 w 20000"/>
                <a:gd name="T71" fmla="*/ 724 h 20000"/>
                <a:gd name="T72" fmla="*/ 164 w 20000"/>
                <a:gd name="T73" fmla="*/ 907 h 20000"/>
                <a:gd name="T74" fmla="*/ 262 w 20000"/>
                <a:gd name="T75" fmla="*/ 951 h 20000"/>
                <a:gd name="T76" fmla="*/ 404 w 20000"/>
                <a:gd name="T77" fmla="*/ 876 h 20000"/>
                <a:gd name="T78" fmla="*/ 442 w 20000"/>
                <a:gd name="T79" fmla="*/ 768 h 20000"/>
                <a:gd name="T80" fmla="*/ 326 w 20000"/>
                <a:gd name="T81" fmla="*/ 761 h 20000"/>
                <a:gd name="T82" fmla="*/ 282 w 20000"/>
                <a:gd name="T83" fmla="*/ 724 h 20000"/>
                <a:gd name="T84" fmla="*/ 238 w 20000"/>
                <a:gd name="T85" fmla="*/ 654 h 20000"/>
                <a:gd name="T86" fmla="*/ 276 w 20000"/>
                <a:gd name="T87" fmla="*/ 636 h 20000"/>
                <a:gd name="T88" fmla="*/ 384 w 20000"/>
                <a:gd name="T89" fmla="*/ 701 h 20000"/>
                <a:gd name="T90" fmla="*/ 544 w 20000"/>
                <a:gd name="T91" fmla="*/ 738 h 20000"/>
                <a:gd name="T92" fmla="*/ 618 w 20000"/>
                <a:gd name="T93" fmla="*/ 775 h 20000"/>
                <a:gd name="T94" fmla="*/ 696 w 20000"/>
                <a:gd name="T95" fmla="*/ 792 h 20000"/>
                <a:gd name="T96" fmla="*/ 737 w 20000"/>
                <a:gd name="T97" fmla="*/ 958 h 20000"/>
                <a:gd name="T98" fmla="*/ 835 w 20000"/>
                <a:gd name="T99" fmla="*/ 1022 h 20000"/>
                <a:gd name="T100" fmla="*/ 863 w 20000"/>
                <a:gd name="T101" fmla="*/ 907 h 20000"/>
                <a:gd name="T102" fmla="*/ 948 w 20000"/>
                <a:gd name="T103" fmla="*/ 829 h 20000"/>
                <a:gd name="T104" fmla="*/ 995 w 20000"/>
                <a:gd name="T105" fmla="*/ 799 h 20000"/>
                <a:gd name="T106" fmla="*/ 1015 w 20000"/>
                <a:gd name="T107" fmla="*/ 775 h 20000"/>
                <a:gd name="T108" fmla="*/ 1080 w 20000"/>
                <a:gd name="T109" fmla="*/ 856 h 20000"/>
                <a:gd name="T110" fmla="*/ 1127 w 20000"/>
                <a:gd name="T111" fmla="*/ 907 h 20000"/>
                <a:gd name="T112" fmla="*/ 1164 w 20000"/>
                <a:gd name="T113" fmla="*/ 951 h 20000"/>
                <a:gd name="T114" fmla="*/ 1175 w 20000"/>
                <a:gd name="T115" fmla="*/ 1066 h 20000"/>
                <a:gd name="T116" fmla="*/ 1229 w 20000"/>
                <a:gd name="T117" fmla="*/ 1158 h 200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0000" h="20000">
                  <a:moveTo>
                    <a:pt x="15252" y="19926"/>
                  </a:moveTo>
                  <a:lnTo>
                    <a:pt x="15290" y="19993"/>
                  </a:lnTo>
                  <a:lnTo>
                    <a:pt x="15333" y="19926"/>
                  </a:lnTo>
                  <a:lnTo>
                    <a:pt x="15372" y="19812"/>
                  </a:lnTo>
                  <a:lnTo>
                    <a:pt x="15415" y="19926"/>
                  </a:lnTo>
                  <a:lnTo>
                    <a:pt x="15333" y="19537"/>
                  </a:lnTo>
                  <a:lnTo>
                    <a:pt x="15252" y="19470"/>
                  </a:lnTo>
                  <a:lnTo>
                    <a:pt x="15252" y="19356"/>
                  </a:lnTo>
                  <a:lnTo>
                    <a:pt x="15208" y="19195"/>
                  </a:lnTo>
                  <a:lnTo>
                    <a:pt x="15208" y="18906"/>
                  </a:lnTo>
                  <a:lnTo>
                    <a:pt x="14929" y="18450"/>
                  </a:lnTo>
                  <a:lnTo>
                    <a:pt x="14833" y="18221"/>
                  </a:lnTo>
                  <a:lnTo>
                    <a:pt x="14717" y="18221"/>
                  </a:lnTo>
                  <a:lnTo>
                    <a:pt x="14592" y="18174"/>
                  </a:lnTo>
                  <a:lnTo>
                    <a:pt x="14510" y="17718"/>
                  </a:lnTo>
                  <a:lnTo>
                    <a:pt x="14471" y="17718"/>
                  </a:lnTo>
                  <a:lnTo>
                    <a:pt x="14428" y="17490"/>
                  </a:lnTo>
                  <a:lnTo>
                    <a:pt x="14313" y="17544"/>
                  </a:lnTo>
                  <a:lnTo>
                    <a:pt x="14264" y="17201"/>
                  </a:lnTo>
                  <a:lnTo>
                    <a:pt x="14313" y="17087"/>
                  </a:lnTo>
                  <a:lnTo>
                    <a:pt x="14346" y="16812"/>
                  </a:lnTo>
                  <a:lnTo>
                    <a:pt x="14428" y="16584"/>
                  </a:lnTo>
                  <a:lnTo>
                    <a:pt x="14428" y="16403"/>
                  </a:lnTo>
                  <a:lnTo>
                    <a:pt x="14428" y="16174"/>
                  </a:lnTo>
                  <a:lnTo>
                    <a:pt x="14635" y="16128"/>
                  </a:lnTo>
                  <a:lnTo>
                    <a:pt x="14592" y="16356"/>
                  </a:lnTo>
                  <a:lnTo>
                    <a:pt x="14799" y="16403"/>
                  </a:lnTo>
                  <a:lnTo>
                    <a:pt x="15011" y="16584"/>
                  </a:lnTo>
                  <a:lnTo>
                    <a:pt x="15093" y="16698"/>
                  </a:lnTo>
                  <a:lnTo>
                    <a:pt x="15093" y="16812"/>
                  </a:lnTo>
                  <a:lnTo>
                    <a:pt x="15175" y="16926"/>
                  </a:lnTo>
                  <a:lnTo>
                    <a:pt x="15208" y="16859"/>
                  </a:lnTo>
                  <a:lnTo>
                    <a:pt x="15252" y="16926"/>
                  </a:lnTo>
                  <a:lnTo>
                    <a:pt x="15252" y="17040"/>
                  </a:lnTo>
                  <a:lnTo>
                    <a:pt x="15290" y="17040"/>
                  </a:lnTo>
                  <a:lnTo>
                    <a:pt x="15415" y="17087"/>
                  </a:lnTo>
                  <a:lnTo>
                    <a:pt x="15454" y="17148"/>
                  </a:lnTo>
                  <a:lnTo>
                    <a:pt x="15497" y="17148"/>
                  </a:lnTo>
                  <a:lnTo>
                    <a:pt x="15536" y="17262"/>
                  </a:lnTo>
                  <a:lnTo>
                    <a:pt x="15497" y="17315"/>
                  </a:lnTo>
                  <a:lnTo>
                    <a:pt x="15497" y="17651"/>
                  </a:lnTo>
                  <a:lnTo>
                    <a:pt x="15661" y="17490"/>
                  </a:lnTo>
                  <a:lnTo>
                    <a:pt x="15777" y="17490"/>
                  </a:lnTo>
                  <a:lnTo>
                    <a:pt x="15777" y="17262"/>
                  </a:lnTo>
                  <a:lnTo>
                    <a:pt x="15858" y="17376"/>
                  </a:lnTo>
                  <a:lnTo>
                    <a:pt x="15907" y="17201"/>
                  </a:lnTo>
                  <a:lnTo>
                    <a:pt x="15940" y="17148"/>
                  </a:lnTo>
                  <a:lnTo>
                    <a:pt x="16152" y="17040"/>
                  </a:lnTo>
                  <a:lnTo>
                    <a:pt x="16186" y="16926"/>
                  </a:lnTo>
                  <a:lnTo>
                    <a:pt x="16268" y="16926"/>
                  </a:lnTo>
                  <a:lnTo>
                    <a:pt x="16393" y="16812"/>
                  </a:lnTo>
                  <a:lnTo>
                    <a:pt x="16475" y="16631"/>
                  </a:lnTo>
                  <a:lnTo>
                    <a:pt x="16431" y="16584"/>
                  </a:lnTo>
                  <a:lnTo>
                    <a:pt x="16475" y="16470"/>
                  </a:lnTo>
                  <a:lnTo>
                    <a:pt x="16431" y="16403"/>
                  </a:lnTo>
                  <a:lnTo>
                    <a:pt x="16431" y="16356"/>
                  </a:lnTo>
                  <a:lnTo>
                    <a:pt x="16475" y="16289"/>
                  </a:lnTo>
                  <a:lnTo>
                    <a:pt x="16431" y="16242"/>
                  </a:lnTo>
                  <a:lnTo>
                    <a:pt x="16431" y="16128"/>
                  </a:lnTo>
                  <a:lnTo>
                    <a:pt x="16316" y="15671"/>
                  </a:lnTo>
                  <a:lnTo>
                    <a:pt x="16316" y="15497"/>
                  </a:lnTo>
                  <a:lnTo>
                    <a:pt x="16268" y="15497"/>
                  </a:lnTo>
                  <a:lnTo>
                    <a:pt x="16186" y="15336"/>
                  </a:lnTo>
                  <a:lnTo>
                    <a:pt x="16104" y="15221"/>
                  </a:lnTo>
                  <a:lnTo>
                    <a:pt x="16070" y="15154"/>
                  </a:lnTo>
                  <a:lnTo>
                    <a:pt x="15988" y="15107"/>
                  </a:lnTo>
                  <a:lnTo>
                    <a:pt x="15777" y="14812"/>
                  </a:lnTo>
                  <a:lnTo>
                    <a:pt x="15695" y="14584"/>
                  </a:lnTo>
                  <a:lnTo>
                    <a:pt x="15536" y="14309"/>
                  </a:lnTo>
                  <a:lnTo>
                    <a:pt x="15579" y="14020"/>
                  </a:lnTo>
                  <a:lnTo>
                    <a:pt x="15661" y="13973"/>
                  </a:lnTo>
                  <a:lnTo>
                    <a:pt x="15695" y="13906"/>
                  </a:lnTo>
                  <a:lnTo>
                    <a:pt x="15695" y="13745"/>
                  </a:lnTo>
                  <a:lnTo>
                    <a:pt x="15777" y="13631"/>
                  </a:lnTo>
                  <a:lnTo>
                    <a:pt x="15858" y="13631"/>
                  </a:lnTo>
                  <a:lnTo>
                    <a:pt x="15858" y="13517"/>
                  </a:lnTo>
                  <a:lnTo>
                    <a:pt x="15940" y="13517"/>
                  </a:lnTo>
                  <a:lnTo>
                    <a:pt x="15988" y="13450"/>
                  </a:lnTo>
                  <a:lnTo>
                    <a:pt x="16070" y="13450"/>
                  </a:lnTo>
                  <a:lnTo>
                    <a:pt x="16070" y="13336"/>
                  </a:lnTo>
                  <a:lnTo>
                    <a:pt x="16104" y="13336"/>
                  </a:lnTo>
                  <a:lnTo>
                    <a:pt x="16186" y="13403"/>
                  </a:lnTo>
                  <a:lnTo>
                    <a:pt x="16268" y="13450"/>
                  </a:lnTo>
                  <a:lnTo>
                    <a:pt x="16316" y="13336"/>
                  </a:lnTo>
                  <a:lnTo>
                    <a:pt x="16431" y="13450"/>
                  </a:lnTo>
                  <a:lnTo>
                    <a:pt x="16350" y="13517"/>
                  </a:lnTo>
                  <a:lnTo>
                    <a:pt x="16393" y="13631"/>
                  </a:lnTo>
                  <a:lnTo>
                    <a:pt x="16431" y="13859"/>
                  </a:lnTo>
                  <a:lnTo>
                    <a:pt x="16557" y="13792"/>
                  </a:lnTo>
                  <a:lnTo>
                    <a:pt x="16475" y="13678"/>
                  </a:lnTo>
                  <a:lnTo>
                    <a:pt x="16513" y="13517"/>
                  </a:lnTo>
                  <a:lnTo>
                    <a:pt x="16513" y="13564"/>
                  </a:lnTo>
                  <a:lnTo>
                    <a:pt x="16639" y="13517"/>
                  </a:lnTo>
                  <a:lnTo>
                    <a:pt x="16754" y="13450"/>
                  </a:lnTo>
                  <a:lnTo>
                    <a:pt x="16836" y="13403"/>
                  </a:lnTo>
                  <a:lnTo>
                    <a:pt x="16918" y="13336"/>
                  </a:lnTo>
                  <a:lnTo>
                    <a:pt x="16918" y="13289"/>
                  </a:lnTo>
                  <a:lnTo>
                    <a:pt x="16966" y="13336"/>
                  </a:lnTo>
                  <a:lnTo>
                    <a:pt x="17173" y="13221"/>
                  </a:lnTo>
                  <a:lnTo>
                    <a:pt x="17130" y="12946"/>
                  </a:lnTo>
                  <a:lnTo>
                    <a:pt x="17255" y="13107"/>
                  </a:lnTo>
                  <a:lnTo>
                    <a:pt x="17375" y="13000"/>
                  </a:lnTo>
                  <a:lnTo>
                    <a:pt x="17419" y="13060"/>
                  </a:lnTo>
                  <a:lnTo>
                    <a:pt x="17452" y="13000"/>
                  </a:lnTo>
                  <a:lnTo>
                    <a:pt x="17534" y="13060"/>
                  </a:lnTo>
                  <a:lnTo>
                    <a:pt x="17582" y="13000"/>
                  </a:lnTo>
                  <a:lnTo>
                    <a:pt x="17746" y="12946"/>
                  </a:lnTo>
                  <a:lnTo>
                    <a:pt x="17828" y="12658"/>
                  </a:lnTo>
                  <a:lnTo>
                    <a:pt x="17862" y="12658"/>
                  </a:lnTo>
                  <a:lnTo>
                    <a:pt x="17944" y="12611"/>
                  </a:lnTo>
                  <a:lnTo>
                    <a:pt x="18074" y="12430"/>
                  </a:lnTo>
                  <a:lnTo>
                    <a:pt x="18026" y="12383"/>
                  </a:lnTo>
                  <a:lnTo>
                    <a:pt x="18156" y="12315"/>
                  </a:lnTo>
                  <a:lnTo>
                    <a:pt x="18233" y="12201"/>
                  </a:lnTo>
                  <a:lnTo>
                    <a:pt x="18314" y="12040"/>
                  </a:lnTo>
                  <a:lnTo>
                    <a:pt x="18314" y="11926"/>
                  </a:lnTo>
                  <a:lnTo>
                    <a:pt x="18314" y="11765"/>
                  </a:lnTo>
                  <a:lnTo>
                    <a:pt x="18353" y="11651"/>
                  </a:lnTo>
                  <a:lnTo>
                    <a:pt x="18314" y="11584"/>
                  </a:lnTo>
                  <a:lnTo>
                    <a:pt x="18314" y="11537"/>
                  </a:lnTo>
                  <a:lnTo>
                    <a:pt x="18396" y="11537"/>
                  </a:lnTo>
                  <a:lnTo>
                    <a:pt x="18478" y="11242"/>
                  </a:lnTo>
                  <a:lnTo>
                    <a:pt x="18560" y="10966"/>
                  </a:lnTo>
                  <a:lnTo>
                    <a:pt x="18594" y="10906"/>
                  </a:lnTo>
                  <a:lnTo>
                    <a:pt x="18594" y="10966"/>
                  </a:lnTo>
                  <a:lnTo>
                    <a:pt x="18676" y="10906"/>
                  </a:lnTo>
                  <a:lnTo>
                    <a:pt x="18594" y="10852"/>
                  </a:lnTo>
                  <a:lnTo>
                    <a:pt x="18594" y="10792"/>
                  </a:lnTo>
                  <a:lnTo>
                    <a:pt x="18642" y="10792"/>
                  </a:lnTo>
                  <a:lnTo>
                    <a:pt x="18642" y="10678"/>
                  </a:lnTo>
                  <a:lnTo>
                    <a:pt x="18594" y="10631"/>
                  </a:lnTo>
                  <a:lnTo>
                    <a:pt x="18676" y="10631"/>
                  </a:lnTo>
                  <a:lnTo>
                    <a:pt x="18676" y="10517"/>
                  </a:lnTo>
                  <a:lnTo>
                    <a:pt x="18594" y="10517"/>
                  </a:lnTo>
                  <a:lnTo>
                    <a:pt x="18676" y="10403"/>
                  </a:lnTo>
                  <a:lnTo>
                    <a:pt x="18642" y="10336"/>
                  </a:lnTo>
                  <a:lnTo>
                    <a:pt x="18517" y="10221"/>
                  </a:lnTo>
                  <a:lnTo>
                    <a:pt x="18353" y="10336"/>
                  </a:lnTo>
                  <a:lnTo>
                    <a:pt x="18353" y="10221"/>
                  </a:lnTo>
                  <a:lnTo>
                    <a:pt x="18271" y="10289"/>
                  </a:lnTo>
                  <a:lnTo>
                    <a:pt x="18314" y="10174"/>
                  </a:lnTo>
                  <a:lnTo>
                    <a:pt x="18435" y="10174"/>
                  </a:lnTo>
                  <a:lnTo>
                    <a:pt x="18478" y="10060"/>
                  </a:lnTo>
                  <a:lnTo>
                    <a:pt x="18594" y="9993"/>
                  </a:lnTo>
                  <a:lnTo>
                    <a:pt x="18435" y="9765"/>
                  </a:lnTo>
                  <a:lnTo>
                    <a:pt x="18314" y="9604"/>
                  </a:lnTo>
                  <a:lnTo>
                    <a:pt x="18233" y="9604"/>
                  </a:lnTo>
                  <a:lnTo>
                    <a:pt x="18271" y="9544"/>
                  </a:lnTo>
                  <a:lnTo>
                    <a:pt x="18353" y="9604"/>
                  </a:lnTo>
                  <a:lnTo>
                    <a:pt x="18560" y="9658"/>
                  </a:lnTo>
                  <a:lnTo>
                    <a:pt x="18478" y="9544"/>
                  </a:lnTo>
                  <a:lnTo>
                    <a:pt x="18353" y="9376"/>
                  </a:lnTo>
                  <a:lnTo>
                    <a:pt x="18314" y="9201"/>
                  </a:lnTo>
                  <a:lnTo>
                    <a:pt x="18233" y="9154"/>
                  </a:lnTo>
                  <a:lnTo>
                    <a:pt x="18074" y="8698"/>
                  </a:lnTo>
                  <a:lnTo>
                    <a:pt x="17828" y="8517"/>
                  </a:lnTo>
                  <a:lnTo>
                    <a:pt x="17828" y="8356"/>
                  </a:lnTo>
                  <a:lnTo>
                    <a:pt x="17944" y="8067"/>
                  </a:lnTo>
                  <a:lnTo>
                    <a:pt x="18107" y="7785"/>
                  </a:lnTo>
                  <a:lnTo>
                    <a:pt x="18074" y="7725"/>
                  </a:lnTo>
                  <a:lnTo>
                    <a:pt x="18271" y="7564"/>
                  </a:lnTo>
                  <a:lnTo>
                    <a:pt x="18396" y="7611"/>
                  </a:lnTo>
                  <a:lnTo>
                    <a:pt x="18396" y="7383"/>
                  </a:lnTo>
                  <a:lnTo>
                    <a:pt x="18271" y="7383"/>
                  </a:lnTo>
                  <a:lnTo>
                    <a:pt x="18156" y="7383"/>
                  </a:lnTo>
                  <a:lnTo>
                    <a:pt x="17992" y="7268"/>
                  </a:lnTo>
                  <a:lnTo>
                    <a:pt x="17910" y="7383"/>
                  </a:lnTo>
                  <a:lnTo>
                    <a:pt x="17780" y="7564"/>
                  </a:lnTo>
                  <a:lnTo>
                    <a:pt x="17698" y="7611"/>
                  </a:lnTo>
                  <a:lnTo>
                    <a:pt x="17616" y="7497"/>
                  </a:lnTo>
                  <a:lnTo>
                    <a:pt x="17582" y="7336"/>
                  </a:lnTo>
                  <a:lnTo>
                    <a:pt x="17452" y="7221"/>
                  </a:lnTo>
                  <a:lnTo>
                    <a:pt x="17375" y="7268"/>
                  </a:lnTo>
                  <a:lnTo>
                    <a:pt x="17294" y="7040"/>
                  </a:lnTo>
                  <a:lnTo>
                    <a:pt x="17255" y="6765"/>
                  </a:lnTo>
                  <a:lnTo>
                    <a:pt x="17419" y="6765"/>
                  </a:lnTo>
                  <a:lnTo>
                    <a:pt x="17501" y="6705"/>
                  </a:lnTo>
                  <a:lnTo>
                    <a:pt x="17534" y="6537"/>
                  </a:lnTo>
                  <a:lnTo>
                    <a:pt x="17664" y="6362"/>
                  </a:lnTo>
                  <a:lnTo>
                    <a:pt x="17780" y="6020"/>
                  </a:lnTo>
                  <a:lnTo>
                    <a:pt x="17944" y="5906"/>
                  </a:lnTo>
                  <a:lnTo>
                    <a:pt x="18107" y="6087"/>
                  </a:lnTo>
                  <a:lnTo>
                    <a:pt x="17992" y="6423"/>
                  </a:lnTo>
                  <a:lnTo>
                    <a:pt x="18026" y="6537"/>
                  </a:lnTo>
                  <a:lnTo>
                    <a:pt x="18107" y="6591"/>
                  </a:lnTo>
                  <a:lnTo>
                    <a:pt x="18074" y="6651"/>
                  </a:lnTo>
                  <a:lnTo>
                    <a:pt x="18074" y="6705"/>
                  </a:lnTo>
                  <a:lnTo>
                    <a:pt x="17992" y="6812"/>
                  </a:lnTo>
                  <a:lnTo>
                    <a:pt x="18026" y="6879"/>
                  </a:lnTo>
                  <a:lnTo>
                    <a:pt x="18156" y="6705"/>
                  </a:lnTo>
                  <a:lnTo>
                    <a:pt x="18271" y="6537"/>
                  </a:lnTo>
                  <a:lnTo>
                    <a:pt x="18396" y="6423"/>
                  </a:lnTo>
                  <a:lnTo>
                    <a:pt x="18560" y="6362"/>
                  </a:lnTo>
                  <a:lnTo>
                    <a:pt x="18642" y="6423"/>
                  </a:lnTo>
                  <a:lnTo>
                    <a:pt x="18676" y="6423"/>
                  </a:lnTo>
                  <a:lnTo>
                    <a:pt x="18676" y="6362"/>
                  </a:lnTo>
                  <a:lnTo>
                    <a:pt x="18806" y="6423"/>
                  </a:lnTo>
                  <a:lnTo>
                    <a:pt x="18839" y="6423"/>
                  </a:lnTo>
                  <a:lnTo>
                    <a:pt x="18888" y="6477"/>
                  </a:lnTo>
                  <a:lnTo>
                    <a:pt x="18839" y="6591"/>
                  </a:lnTo>
                  <a:lnTo>
                    <a:pt x="18839" y="6765"/>
                  </a:lnTo>
                  <a:lnTo>
                    <a:pt x="18921" y="6812"/>
                  </a:lnTo>
                  <a:lnTo>
                    <a:pt x="18888" y="6812"/>
                  </a:lnTo>
                  <a:lnTo>
                    <a:pt x="18839" y="6879"/>
                  </a:lnTo>
                  <a:lnTo>
                    <a:pt x="18806" y="7040"/>
                  </a:lnTo>
                  <a:lnTo>
                    <a:pt x="18921" y="7040"/>
                  </a:lnTo>
                  <a:lnTo>
                    <a:pt x="18888" y="7154"/>
                  </a:lnTo>
                  <a:lnTo>
                    <a:pt x="18969" y="7154"/>
                  </a:lnTo>
                  <a:lnTo>
                    <a:pt x="19013" y="7221"/>
                  </a:lnTo>
                  <a:lnTo>
                    <a:pt x="19013" y="7107"/>
                  </a:lnTo>
                  <a:lnTo>
                    <a:pt x="19051" y="7107"/>
                  </a:lnTo>
                  <a:lnTo>
                    <a:pt x="19133" y="7221"/>
                  </a:lnTo>
                  <a:lnTo>
                    <a:pt x="19258" y="7154"/>
                  </a:lnTo>
                  <a:lnTo>
                    <a:pt x="19258" y="7221"/>
                  </a:lnTo>
                  <a:lnTo>
                    <a:pt x="19176" y="7221"/>
                  </a:lnTo>
                  <a:lnTo>
                    <a:pt x="19215" y="7268"/>
                  </a:lnTo>
                  <a:lnTo>
                    <a:pt x="19258" y="7383"/>
                  </a:lnTo>
                  <a:lnTo>
                    <a:pt x="19297" y="7450"/>
                  </a:lnTo>
                  <a:lnTo>
                    <a:pt x="19340" y="7564"/>
                  </a:lnTo>
                  <a:lnTo>
                    <a:pt x="19215" y="7497"/>
                  </a:lnTo>
                  <a:lnTo>
                    <a:pt x="19215" y="7564"/>
                  </a:lnTo>
                  <a:lnTo>
                    <a:pt x="19258" y="7611"/>
                  </a:lnTo>
                  <a:lnTo>
                    <a:pt x="19340" y="7839"/>
                  </a:lnTo>
                  <a:lnTo>
                    <a:pt x="19374" y="7899"/>
                  </a:lnTo>
                  <a:lnTo>
                    <a:pt x="19374" y="7953"/>
                  </a:lnTo>
                  <a:lnTo>
                    <a:pt x="19340" y="8013"/>
                  </a:lnTo>
                  <a:lnTo>
                    <a:pt x="19340" y="8067"/>
                  </a:lnTo>
                  <a:lnTo>
                    <a:pt x="19374" y="8128"/>
                  </a:lnTo>
                  <a:lnTo>
                    <a:pt x="19340" y="8181"/>
                  </a:lnTo>
                  <a:lnTo>
                    <a:pt x="19374" y="8403"/>
                  </a:lnTo>
                  <a:lnTo>
                    <a:pt x="19422" y="8356"/>
                  </a:lnTo>
                  <a:lnTo>
                    <a:pt x="19422" y="8584"/>
                  </a:lnTo>
                  <a:lnTo>
                    <a:pt x="19504" y="8517"/>
                  </a:lnTo>
                  <a:lnTo>
                    <a:pt x="19538" y="8470"/>
                  </a:lnTo>
                  <a:lnTo>
                    <a:pt x="19586" y="8517"/>
                  </a:lnTo>
                  <a:lnTo>
                    <a:pt x="19620" y="8470"/>
                  </a:lnTo>
                  <a:lnTo>
                    <a:pt x="19586" y="8403"/>
                  </a:lnTo>
                  <a:lnTo>
                    <a:pt x="19620" y="8356"/>
                  </a:lnTo>
                  <a:lnTo>
                    <a:pt x="19668" y="8403"/>
                  </a:lnTo>
                  <a:lnTo>
                    <a:pt x="19668" y="8356"/>
                  </a:lnTo>
                  <a:lnTo>
                    <a:pt x="19701" y="8242"/>
                  </a:lnTo>
                  <a:lnTo>
                    <a:pt x="19701" y="8289"/>
                  </a:lnTo>
                  <a:lnTo>
                    <a:pt x="19783" y="8356"/>
                  </a:lnTo>
                  <a:lnTo>
                    <a:pt x="19783" y="8242"/>
                  </a:lnTo>
                  <a:lnTo>
                    <a:pt x="19831" y="8242"/>
                  </a:lnTo>
                  <a:lnTo>
                    <a:pt x="19913" y="8242"/>
                  </a:lnTo>
                  <a:lnTo>
                    <a:pt x="19947" y="8067"/>
                  </a:lnTo>
                  <a:lnTo>
                    <a:pt x="19947" y="7899"/>
                  </a:lnTo>
                  <a:lnTo>
                    <a:pt x="19913" y="7839"/>
                  </a:lnTo>
                  <a:lnTo>
                    <a:pt x="19913" y="7564"/>
                  </a:lnTo>
                  <a:lnTo>
                    <a:pt x="19750" y="7221"/>
                  </a:lnTo>
                  <a:lnTo>
                    <a:pt x="19538" y="6765"/>
                  </a:lnTo>
                  <a:lnTo>
                    <a:pt x="19504" y="6765"/>
                  </a:lnTo>
                  <a:lnTo>
                    <a:pt x="19340" y="6591"/>
                  </a:lnTo>
                  <a:lnTo>
                    <a:pt x="19258" y="6477"/>
                  </a:lnTo>
                  <a:lnTo>
                    <a:pt x="19297" y="6477"/>
                  </a:lnTo>
                  <a:lnTo>
                    <a:pt x="19297" y="6362"/>
                  </a:lnTo>
                  <a:lnTo>
                    <a:pt x="19340" y="6201"/>
                  </a:lnTo>
                  <a:lnTo>
                    <a:pt x="19456" y="6134"/>
                  </a:lnTo>
                  <a:lnTo>
                    <a:pt x="19456" y="6087"/>
                  </a:lnTo>
                  <a:lnTo>
                    <a:pt x="19538" y="5973"/>
                  </a:lnTo>
                  <a:lnTo>
                    <a:pt x="19586" y="5906"/>
                  </a:lnTo>
                  <a:lnTo>
                    <a:pt x="19668" y="5792"/>
                  </a:lnTo>
                  <a:lnTo>
                    <a:pt x="19620" y="5564"/>
                  </a:lnTo>
                  <a:lnTo>
                    <a:pt x="19586" y="5564"/>
                  </a:lnTo>
                  <a:lnTo>
                    <a:pt x="19620" y="5336"/>
                  </a:lnTo>
                  <a:lnTo>
                    <a:pt x="19668" y="5174"/>
                  </a:lnTo>
                  <a:lnTo>
                    <a:pt x="19701" y="5114"/>
                  </a:lnTo>
                  <a:lnTo>
                    <a:pt x="19701" y="5060"/>
                  </a:lnTo>
                  <a:lnTo>
                    <a:pt x="19701" y="4946"/>
                  </a:lnTo>
                  <a:lnTo>
                    <a:pt x="19750" y="4611"/>
                  </a:lnTo>
                  <a:lnTo>
                    <a:pt x="19586" y="3926"/>
                  </a:lnTo>
                  <a:lnTo>
                    <a:pt x="19701" y="3698"/>
                  </a:lnTo>
                  <a:lnTo>
                    <a:pt x="19947" y="3812"/>
                  </a:lnTo>
                  <a:lnTo>
                    <a:pt x="19947" y="2839"/>
                  </a:lnTo>
                  <a:lnTo>
                    <a:pt x="19995" y="2725"/>
                  </a:lnTo>
                  <a:lnTo>
                    <a:pt x="19995" y="2450"/>
                  </a:lnTo>
                  <a:lnTo>
                    <a:pt x="19995" y="2161"/>
                  </a:lnTo>
                  <a:lnTo>
                    <a:pt x="19831" y="2268"/>
                  </a:lnTo>
                  <a:lnTo>
                    <a:pt x="19620" y="2383"/>
                  </a:lnTo>
                  <a:lnTo>
                    <a:pt x="19538" y="2564"/>
                  </a:lnTo>
                  <a:lnTo>
                    <a:pt x="19340" y="2611"/>
                  </a:lnTo>
                  <a:lnTo>
                    <a:pt x="19258" y="2611"/>
                  </a:lnTo>
                  <a:lnTo>
                    <a:pt x="19051" y="2047"/>
                  </a:lnTo>
                  <a:lnTo>
                    <a:pt x="18724" y="1819"/>
                  </a:lnTo>
                  <a:lnTo>
                    <a:pt x="18594" y="1819"/>
                  </a:lnTo>
                  <a:lnTo>
                    <a:pt x="18396" y="1819"/>
                  </a:lnTo>
                  <a:lnTo>
                    <a:pt x="18314" y="1705"/>
                  </a:lnTo>
                  <a:lnTo>
                    <a:pt x="18233" y="1544"/>
                  </a:lnTo>
                  <a:lnTo>
                    <a:pt x="18107" y="1201"/>
                  </a:lnTo>
                  <a:lnTo>
                    <a:pt x="17944" y="973"/>
                  </a:lnTo>
                  <a:lnTo>
                    <a:pt x="17582" y="228"/>
                  </a:lnTo>
                  <a:lnTo>
                    <a:pt x="17501" y="181"/>
                  </a:lnTo>
                  <a:lnTo>
                    <a:pt x="17375" y="114"/>
                  </a:lnTo>
                  <a:lnTo>
                    <a:pt x="17130" y="67"/>
                  </a:lnTo>
                  <a:lnTo>
                    <a:pt x="17014" y="0"/>
                  </a:lnTo>
                  <a:lnTo>
                    <a:pt x="16884" y="67"/>
                  </a:lnTo>
                  <a:lnTo>
                    <a:pt x="16513" y="295"/>
                  </a:lnTo>
                  <a:lnTo>
                    <a:pt x="16431" y="570"/>
                  </a:lnTo>
                  <a:lnTo>
                    <a:pt x="16513" y="570"/>
                  </a:lnTo>
                  <a:lnTo>
                    <a:pt x="16595" y="685"/>
                  </a:lnTo>
                  <a:lnTo>
                    <a:pt x="16639" y="792"/>
                  </a:lnTo>
                  <a:lnTo>
                    <a:pt x="16557" y="1362"/>
                  </a:lnTo>
                  <a:lnTo>
                    <a:pt x="16513" y="1705"/>
                  </a:lnTo>
                  <a:lnTo>
                    <a:pt x="16595" y="1879"/>
                  </a:lnTo>
                  <a:lnTo>
                    <a:pt x="16393" y="2161"/>
                  </a:lnTo>
                  <a:lnTo>
                    <a:pt x="16234" y="2107"/>
                  </a:lnTo>
                  <a:lnTo>
                    <a:pt x="16152" y="2107"/>
                  </a:lnTo>
                  <a:lnTo>
                    <a:pt x="15907" y="2107"/>
                  </a:lnTo>
                  <a:lnTo>
                    <a:pt x="15536" y="1933"/>
                  </a:lnTo>
                  <a:lnTo>
                    <a:pt x="15415" y="2336"/>
                  </a:lnTo>
                  <a:lnTo>
                    <a:pt x="14963" y="2564"/>
                  </a:lnTo>
                  <a:lnTo>
                    <a:pt x="14674" y="2564"/>
                  </a:lnTo>
                  <a:lnTo>
                    <a:pt x="14553" y="2564"/>
                  </a:lnTo>
                  <a:lnTo>
                    <a:pt x="14394" y="2450"/>
                  </a:lnTo>
                  <a:lnTo>
                    <a:pt x="14346" y="2336"/>
                  </a:lnTo>
                  <a:lnTo>
                    <a:pt x="13985" y="2161"/>
                  </a:lnTo>
                  <a:lnTo>
                    <a:pt x="13821" y="2107"/>
                  </a:lnTo>
                  <a:lnTo>
                    <a:pt x="13451" y="2268"/>
                  </a:lnTo>
                  <a:lnTo>
                    <a:pt x="13253" y="2268"/>
                  </a:lnTo>
                  <a:lnTo>
                    <a:pt x="12959" y="1819"/>
                  </a:lnTo>
                  <a:lnTo>
                    <a:pt x="12309" y="1591"/>
                  </a:lnTo>
                  <a:lnTo>
                    <a:pt x="12309" y="1705"/>
                  </a:lnTo>
                  <a:lnTo>
                    <a:pt x="12227" y="1879"/>
                  </a:lnTo>
                  <a:lnTo>
                    <a:pt x="12179" y="1933"/>
                  </a:lnTo>
                  <a:lnTo>
                    <a:pt x="12261" y="2221"/>
                  </a:lnTo>
                  <a:lnTo>
                    <a:pt x="12309" y="2383"/>
                  </a:lnTo>
                  <a:lnTo>
                    <a:pt x="12391" y="2564"/>
                  </a:lnTo>
                  <a:lnTo>
                    <a:pt x="12015" y="2611"/>
                  </a:lnTo>
                  <a:lnTo>
                    <a:pt x="11736" y="2611"/>
                  </a:lnTo>
                  <a:lnTo>
                    <a:pt x="11572" y="2564"/>
                  </a:lnTo>
                  <a:lnTo>
                    <a:pt x="11529" y="2383"/>
                  </a:lnTo>
                  <a:lnTo>
                    <a:pt x="11283" y="2450"/>
                  </a:lnTo>
                  <a:lnTo>
                    <a:pt x="11202" y="2336"/>
                  </a:lnTo>
                  <a:lnTo>
                    <a:pt x="10956" y="2383"/>
                  </a:lnTo>
                  <a:lnTo>
                    <a:pt x="10831" y="2497"/>
                  </a:lnTo>
                  <a:lnTo>
                    <a:pt x="10792" y="2564"/>
                  </a:lnTo>
                  <a:lnTo>
                    <a:pt x="10667" y="2725"/>
                  </a:lnTo>
                  <a:lnTo>
                    <a:pt x="10667" y="2839"/>
                  </a:lnTo>
                  <a:lnTo>
                    <a:pt x="10388" y="3020"/>
                  </a:lnTo>
                  <a:lnTo>
                    <a:pt x="10340" y="3134"/>
                  </a:lnTo>
                  <a:lnTo>
                    <a:pt x="10224" y="3181"/>
                  </a:lnTo>
                  <a:lnTo>
                    <a:pt x="9853" y="3067"/>
                  </a:lnTo>
                  <a:lnTo>
                    <a:pt x="9492" y="2839"/>
                  </a:lnTo>
                  <a:lnTo>
                    <a:pt x="8919" y="2725"/>
                  </a:lnTo>
                  <a:lnTo>
                    <a:pt x="8466" y="2107"/>
                  </a:lnTo>
                  <a:lnTo>
                    <a:pt x="7768" y="1477"/>
                  </a:lnTo>
                  <a:lnTo>
                    <a:pt x="7113" y="1591"/>
                  </a:lnTo>
                  <a:lnTo>
                    <a:pt x="6660" y="1087"/>
                  </a:lnTo>
                  <a:lnTo>
                    <a:pt x="6092" y="1315"/>
                  </a:lnTo>
                  <a:lnTo>
                    <a:pt x="5485" y="1248"/>
                  </a:lnTo>
                  <a:lnTo>
                    <a:pt x="4575" y="1477"/>
                  </a:lnTo>
                  <a:lnTo>
                    <a:pt x="4411" y="2611"/>
                  </a:lnTo>
                  <a:lnTo>
                    <a:pt x="4575" y="3134"/>
                  </a:lnTo>
                  <a:lnTo>
                    <a:pt x="3236" y="2906"/>
                  </a:lnTo>
                  <a:lnTo>
                    <a:pt x="2750" y="2725"/>
                  </a:lnTo>
                  <a:lnTo>
                    <a:pt x="2292" y="2839"/>
                  </a:lnTo>
                  <a:lnTo>
                    <a:pt x="2052" y="3859"/>
                  </a:lnTo>
                  <a:lnTo>
                    <a:pt x="2249" y="3859"/>
                  </a:lnTo>
                  <a:lnTo>
                    <a:pt x="2490" y="4832"/>
                  </a:lnTo>
                  <a:lnTo>
                    <a:pt x="2702" y="4832"/>
                  </a:lnTo>
                  <a:lnTo>
                    <a:pt x="2865" y="4725"/>
                  </a:lnTo>
                  <a:lnTo>
                    <a:pt x="2947" y="4611"/>
                  </a:lnTo>
                  <a:lnTo>
                    <a:pt x="3154" y="4544"/>
                  </a:lnTo>
                  <a:lnTo>
                    <a:pt x="3236" y="4658"/>
                  </a:lnTo>
                  <a:lnTo>
                    <a:pt x="3434" y="4611"/>
                  </a:lnTo>
                  <a:lnTo>
                    <a:pt x="3434" y="5114"/>
                  </a:lnTo>
                  <a:lnTo>
                    <a:pt x="3564" y="5221"/>
                  </a:lnTo>
                  <a:lnTo>
                    <a:pt x="3154" y="5289"/>
                  </a:lnTo>
                  <a:lnTo>
                    <a:pt x="3072" y="5403"/>
                  </a:lnTo>
                  <a:lnTo>
                    <a:pt x="3193" y="5564"/>
                  </a:lnTo>
                  <a:lnTo>
                    <a:pt x="3072" y="5564"/>
                  </a:lnTo>
                  <a:lnTo>
                    <a:pt x="2947" y="5564"/>
                  </a:lnTo>
                  <a:lnTo>
                    <a:pt x="3072" y="5678"/>
                  </a:lnTo>
                  <a:lnTo>
                    <a:pt x="3236" y="6134"/>
                  </a:lnTo>
                  <a:lnTo>
                    <a:pt x="3352" y="6134"/>
                  </a:lnTo>
                  <a:lnTo>
                    <a:pt x="3482" y="6201"/>
                  </a:lnTo>
                  <a:lnTo>
                    <a:pt x="3482" y="6309"/>
                  </a:lnTo>
                  <a:lnTo>
                    <a:pt x="3482" y="6591"/>
                  </a:lnTo>
                  <a:lnTo>
                    <a:pt x="3597" y="6812"/>
                  </a:lnTo>
                  <a:lnTo>
                    <a:pt x="3564" y="6591"/>
                  </a:lnTo>
                  <a:lnTo>
                    <a:pt x="3646" y="6423"/>
                  </a:lnTo>
                  <a:lnTo>
                    <a:pt x="3761" y="6477"/>
                  </a:lnTo>
                  <a:lnTo>
                    <a:pt x="3843" y="6705"/>
                  </a:lnTo>
                  <a:lnTo>
                    <a:pt x="3973" y="6812"/>
                  </a:lnTo>
                  <a:lnTo>
                    <a:pt x="3973" y="6926"/>
                  </a:lnTo>
                  <a:lnTo>
                    <a:pt x="3925" y="6993"/>
                  </a:lnTo>
                  <a:lnTo>
                    <a:pt x="3761" y="6926"/>
                  </a:lnTo>
                  <a:lnTo>
                    <a:pt x="3646" y="6926"/>
                  </a:lnTo>
                  <a:lnTo>
                    <a:pt x="3597" y="6926"/>
                  </a:lnTo>
                  <a:lnTo>
                    <a:pt x="3646" y="7336"/>
                  </a:lnTo>
                  <a:lnTo>
                    <a:pt x="3761" y="7268"/>
                  </a:lnTo>
                  <a:lnTo>
                    <a:pt x="3843" y="7383"/>
                  </a:lnTo>
                  <a:lnTo>
                    <a:pt x="3727" y="7383"/>
                  </a:lnTo>
                  <a:lnTo>
                    <a:pt x="3727" y="7497"/>
                  </a:lnTo>
                  <a:lnTo>
                    <a:pt x="3925" y="7678"/>
                  </a:lnTo>
                  <a:lnTo>
                    <a:pt x="3973" y="8242"/>
                  </a:lnTo>
                  <a:lnTo>
                    <a:pt x="4007" y="8403"/>
                  </a:lnTo>
                  <a:lnTo>
                    <a:pt x="3891" y="8470"/>
                  </a:lnTo>
                  <a:lnTo>
                    <a:pt x="3891" y="8403"/>
                  </a:lnTo>
                  <a:lnTo>
                    <a:pt x="3973" y="8356"/>
                  </a:lnTo>
                  <a:lnTo>
                    <a:pt x="3925" y="8356"/>
                  </a:lnTo>
                  <a:lnTo>
                    <a:pt x="3679" y="8470"/>
                  </a:lnTo>
                  <a:lnTo>
                    <a:pt x="3352" y="8403"/>
                  </a:lnTo>
                  <a:lnTo>
                    <a:pt x="3154" y="8242"/>
                  </a:lnTo>
                  <a:lnTo>
                    <a:pt x="2991" y="8181"/>
                  </a:lnTo>
                  <a:lnTo>
                    <a:pt x="2832" y="7899"/>
                  </a:lnTo>
                  <a:lnTo>
                    <a:pt x="2865" y="7839"/>
                  </a:lnTo>
                  <a:lnTo>
                    <a:pt x="2702" y="7725"/>
                  </a:lnTo>
                  <a:lnTo>
                    <a:pt x="2702" y="7450"/>
                  </a:lnTo>
                  <a:lnTo>
                    <a:pt x="2490" y="7611"/>
                  </a:lnTo>
                  <a:lnTo>
                    <a:pt x="2413" y="7725"/>
                  </a:lnTo>
                  <a:lnTo>
                    <a:pt x="2129" y="7678"/>
                  </a:lnTo>
                  <a:lnTo>
                    <a:pt x="2003" y="7497"/>
                  </a:lnTo>
                  <a:lnTo>
                    <a:pt x="1970" y="7383"/>
                  </a:lnTo>
                  <a:lnTo>
                    <a:pt x="1970" y="7497"/>
                  </a:lnTo>
                  <a:lnTo>
                    <a:pt x="1888" y="7497"/>
                  </a:lnTo>
                  <a:lnTo>
                    <a:pt x="1970" y="7785"/>
                  </a:lnTo>
                  <a:lnTo>
                    <a:pt x="2003" y="7953"/>
                  </a:lnTo>
                  <a:lnTo>
                    <a:pt x="2003" y="8013"/>
                  </a:lnTo>
                  <a:lnTo>
                    <a:pt x="2052" y="8181"/>
                  </a:lnTo>
                  <a:lnTo>
                    <a:pt x="2085" y="8356"/>
                  </a:lnTo>
                  <a:lnTo>
                    <a:pt x="2003" y="8356"/>
                  </a:lnTo>
                  <a:lnTo>
                    <a:pt x="1806" y="8289"/>
                  </a:lnTo>
                  <a:lnTo>
                    <a:pt x="1676" y="8242"/>
                  </a:lnTo>
                  <a:lnTo>
                    <a:pt x="1560" y="8356"/>
                  </a:lnTo>
                  <a:lnTo>
                    <a:pt x="1512" y="8289"/>
                  </a:lnTo>
                  <a:lnTo>
                    <a:pt x="1430" y="8356"/>
                  </a:lnTo>
                  <a:lnTo>
                    <a:pt x="1348" y="8356"/>
                  </a:lnTo>
                  <a:lnTo>
                    <a:pt x="1233" y="8356"/>
                  </a:lnTo>
                  <a:lnTo>
                    <a:pt x="1069" y="8517"/>
                  </a:lnTo>
                  <a:lnTo>
                    <a:pt x="910" y="8517"/>
                  </a:lnTo>
                  <a:lnTo>
                    <a:pt x="746" y="8470"/>
                  </a:lnTo>
                  <a:lnTo>
                    <a:pt x="616" y="8517"/>
                  </a:lnTo>
                  <a:lnTo>
                    <a:pt x="491" y="8517"/>
                  </a:lnTo>
                  <a:lnTo>
                    <a:pt x="453" y="8470"/>
                  </a:lnTo>
                  <a:lnTo>
                    <a:pt x="409" y="8470"/>
                  </a:lnTo>
                  <a:lnTo>
                    <a:pt x="409" y="8631"/>
                  </a:lnTo>
                  <a:lnTo>
                    <a:pt x="409" y="8698"/>
                  </a:lnTo>
                  <a:lnTo>
                    <a:pt x="371" y="8745"/>
                  </a:lnTo>
                  <a:lnTo>
                    <a:pt x="289" y="8812"/>
                  </a:lnTo>
                  <a:lnTo>
                    <a:pt x="246" y="8745"/>
                  </a:lnTo>
                  <a:lnTo>
                    <a:pt x="212" y="8926"/>
                  </a:lnTo>
                  <a:lnTo>
                    <a:pt x="246" y="9040"/>
                  </a:lnTo>
                  <a:lnTo>
                    <a:pt x="246" y="9154"/>
                  </a:lnTo>
                  <a:lnTo>
                    <a:pt x="246" y="9262"/>
                  </a:lnTo>
                  <a:lnTo>
                    <a:pt x="212" y="9376"/>
                  </a:lnTo>
                  <a:lnTo>
                    <a:pt x="164" y="9544"/>
                  </a:lnTo>
                  <a:lnTo>
                    <a:pt x="130" y="9658"/>
                  </a:lnTo>
                  <a:lnTo>
                    <a:pt x="130" y="9765"/>
                  </a:lnTo>
                  <a:lnTo>
                    <a:pt x="82" y="9993"/>
                  </a:lnTo>
                  <a:lnTo>
                    <a:pt x="48" y="10174"/>
                  </a:lnTo>
                  <a:lnTo>
                    <a:pt x="0" y="10221"/>
                  </a:lnTo>
                  <a:lnTo>
                    <a:pt x="48" y="10336"/>
                  </a:lnTo>
                  <a:lnTo>
                    <a:pt x="0" y="10450"/>
                  </a:lnTo>
                  <a:lnTo>
                    <a:pt x="82" y="10631"/>
                  </a:lnTo>
                  <a:lnTo>
                    <a:pt x="130" y="10792"/>
                  </a:lnTo>
                  <a:lnTo>
                    <a:pt x="130" y="11020"/>
                  </a:lnTo>
                  <a:lnTo>
                    <a:pt x="130" y="11195"/>
                  </a:lnTo>
                  <a:lnTo>
                    <a:pt x="82" y="11423"/>
                  </a:lnTo>
                  <a:lnTo>
                    <a:pt x="164" y="11423"/>
                  </a:lnTo>
                  <a:lnTo>
                    <a:pt x="246" y="11470"/>
                  </a:lnTo>
                  <a:lnTo>
                    <a:pt x="371" y="11765"/>
                  </a:lnTo>
                  <a:lnTo>
                    <a:pt x="535" y="12154"/>
                  </a:lnTo>
                  <a:lnTo>
                    <a:pt x="698" y="12430"/>
                  </a:lnTo>
                  <a:lnTo>
                    <a:pt x="650" y="12497"/>
                  </a:lnTo>
                  <a:lnTo>
                    <a:pt x="746" y="12658"/>
                  </a:lnTo>
                  <a:lnTo>
                    <a:pt x="910" y="12772"/>
                  </a:lnTo>
                  <a:lnTo>
                    <a:pt x="1108" y="13289"/>
                  </a:lnTo>
                  <a:lnTo>
                    <a:pt x="1108" y="13403"/>
                  </a:lnTo>
                  <a:lnTo>
                    <a:pt x="1108" y="13631"/>
                  </a:lnTo>
                  <a:lnTo>
                    <a:pt x="1233" y="13906"/>
                  </a:lnTo>
                  <a:lnTo>
                    <a:pt x="1397" y="13973"/>
                  </a:lnTo>
                  <a:lnTo>
                    <a:pt x="1512" y="14248"/>
                  </a:lnTo>
                  <a:lnTo>
                    <a:pt x="1724" y="14698"/>
                  </a:lnTo>
                  <a:lnTo>
                    <a:pt x="1840" y="14879"/>
                  </a:lnTo>
                  <a:lnTo>
                    <a:pt x="1970" y="15221"/>
                  </a:lnTo>
                  <a:lnTo>
                    <a:pt x="1970" y="15336"/>
                  </a:lnTo>
                  <a:lnTo>
                    <a:pt x="1970" y="15497"/>
                  </a:lnTo>
                  <a:lnTo>
                    <a:pt x="2052" y="15785"/>
                  </a:lnTo>
                  <a:lnTo>
                    <a:pt x="2085" y="16128"/>
                  </a:lnTo>
                  <a:lnTo>
                    <a:pt x="2129" y="16289"/>
                  </a:lnTo>
                  <a:lnTo>
                    <a:pt x="2210" y="16356"/>
                  </a:lnTo>
                  <a:lnTo>
                    <a:pt x="2374" y="16356"/>
                  </a:lnTo>
                  <a:lnTo>
                    <a:pt x="2490" y="16356"/>
                  </a:lnTo>
                  <a:lnTo>
                    <a:pt x="2490" y="16242"/>
                  </a:lnTo>
                  <a:lnTo>
                    <a:pt x="2620" y="16174"/>
                  </a:lnTo>
                  <a:lnTo>
                    <a:pt x="2909" y="16128"/>
                  </a:lnTo>
                  <a:lnTo>
                    <a:pt x="3111" y="15953"/>
                  </a:lnTo>
                  <a:lnTo>
                    <a:pt x="3154" y="15953"/>
                  </a:lnTo>
                  <a:lnTo>
                    <a:pt x="3270" y="15953"/>
                  </a:lnTo>
                  <a:lnTo>
                    <a:pt x="3352" y="15785"/>
                  </a:lnTo>
                  <a:lnTo>
                    <a:pt x="3482" y="15725"/>
                  </a:lnTo>
                  <a:lnTo>
                    <a:pt x="4007" y="15450"/>
                  </a:lnTo>
                  <a:lnTo>
                    <a:pt x="4007" y="15383"/>
                  </a:lnTo>
                  <a:lnTo>
                    <a:pt x="4050" y="15221"/>
                  </a:lnTo>
                  <a:lnTo>
                    <a:pt x="4214" y="15107"/>
                  </a:lnTo>
                  <a:lnTo>
                    <a:pt x="4329" y="15040"/>
                  </a:lnTo>
                  <a:lnTo>
                    <a:pt x="4541" y="14993"/>
                  </a:lnTo>
                  <a:lnTo>
                    <a:pt x="4623" y="14993"/>
                  </a:lnTo>
                  <a:lnTo>
                    <a:pt x="4657" y="14926"/>
                  </a:lnTo>
                  <a:lnTo>
                    <a:pt x="4657" y="14765"/>
                  </a:lnTo>
                  <a:lnTo>
                    <a:pt x="4869" y="14698"/>
                  </a:lnTo>
                  <a:lnTo>
                    <a:pt x="4912" y="14651"/>
                  </a:lnTo>
                  <a:lnTo>
                    <a:pt x="4912" y="14537"/>
                  </a:lnTo>
                  <a:lnTo>
                    <a:pt x="4994" y="14423"/>
                  </a:lnTo>
                  <a:lnTo>
                    <a:pt x="5191" y="14362"/>
                  </a:lnTo>
                  <a:lnTo>
                    <a:pt x="5158" y="14195"/>
                  </a:lnTo>
                  <a:lnTo>
                    <a:pt x="5191" y="14020"/>
                  </a:lnTo>
                  <a:lnTo>
                    <a:pt x="5240" y="13859"/>
                  </a:lnTo>
                  <a:lnTo>
                    <a:pt x="5273" y="13906"/>
                  </a:lnTo>
                  <a:lnTo>
                    <a:pt x="5321" y="13906"/>
                  </a:lnTo>
                  <a:lnTo>
                    <a:pt x="5485" y="13564"/>
                  </a:lnTo>
                  <a:lnTo>
                    <a:pt x="5567" y="13221"/>
                  </a:lnTo>
                  <a:lnTo>
                    <a:pt x="5485" y="13174"/>
                  </a:lnTo>
                  <a:lnTo>
                    <a:pt x="5321" y="12886"/>
                  </a:lnTo>
                  <a:lnTo>
                    <a:pt x="5191" y="12832"/>
                  </a:lnTo>
                  <a:lnTo>
                    <a:pt x="4912" y="12718"/>
                  </a:lnTo>
                  <a:lnTo>
                    <a:pt x="4753" y="12383"/>
                  </a:lnTo>
                  <a:lnTo>
                    <a:pt x="4753" y="12201"/>
                  </a:lnTo>
                  <a:lnTo>
                    <a:pt x="4753" y="12107"/>
                  </a:lnTo>
                  <a:lnTo>
                    <a:pt x="4705" y="12040"/>
                  </a:lnTo>
                  <a:lnTo>
                    <a:pt x="4657" y="12154"/>
                  </a:lnTo>
                  <a:lnTo>
                    <a:pt x="4541" y="12315"/>
                  </a:lnTo>
                  <a:lnTo>
                    <a:pt x="4411" y="12544"/>
                  </a:lnTo>
                  <a:lnTo>
                    <a:pt x="4329" y="12658"/>
                  </a:lnTo>
                  <a:lnTo>
                    <a:pt x="4214" y="12718"/>
                  </a:lnTo>
                  <a:lnTo>
                    <a:pt x="3973" y="12718"/>
                  </a:lnTo>
                  <a:lnTo>
                    <a:pt x="3925" y="12772"/>
                  </a:lnTo>
                  <a:lnTo>
                    <a:pt x="3809" y="12772"/>
                  </a:lnTo>
                  <a:lnTo>
                    <a:pt x="3761" y="12718"/>
                  </a:lnTo>
                  <a:lnTo>
                    <a:pt x="3727" y="12658"/>
                  </a:lnTo>
                  <a:lnTo>
                    <a:pt x="3727" y="12544"/>
                  </a:lnTo>
                  <a:lnTo>
                    <a:pt x="3727" y="12383"/>
                  </a:lnTo>
                  <a:lnTo>
                    <a:pt x="3727" y="12201"/>
                  </a:lnTo>
                  <a:lnTo>
                    <a:pt x="3646" y="12107"/>
                  </a:lnTo>
                  <a:lnTo>
                    <a:pt x="3597" y="12201"/>
                  </a:lnTo>
                  <a:lnTo>
                    <a:pt x="3564" y="12268"/>
                  </a:lnTo>
                  <a:lnTo>
                    <a:pt x="3597" y="12544"/>
                  </a:lnTo>
                  <a:lnTo>
                    <a:pt x="3516" y="12383"/>
                  </a:lnTo>
                  <a:lnTo>
                    <a:pt x="3434" y="12268"/>
                  </a:lnTo>
                  <a:lnTo>
                    <a:pt x="3400" y="12154"/>
                  </a:lnTo>
                  <a:lnTo>
                    <a:pt x="3352" y="12040"/>
                  </a:lnTo>
                  <a:lnTo>
                    <a:pt x="3400" y="12040"/>
                  </a:lnTo>
                  <a:lnTo>
                    <a:pt x="3400" y="11993"/>
                  </a:lnTo>
                  <a:lnTo>
                    <a:pt x="3352" y="11812"/>
                  </a:lnTo>
                  <a:lnTo>
                    <a:pt x="3270" y="11765"/>
                  </a:lnTo>
                  <a:lnTo>
                    <a:pt x="3193" y="11651"/>
                  </a:lnTo>
                  <a:lnTo>
                    <a:pt x="3193" y="11584"/>
                  </a:lnTo>
                  <a:lnTo>
                    <a:pt x="3111" y="11584"/>
                  </a:lnTo>
                  <a:lnTo>
                    <a:pt x="3111" y="11470"/>
                  </a:lnTo>
                  <a:lnTo>
                    <a:pt x="3029" y="11423"/>
                  </a:lnTo>
                  <a:lnTo>
                    <a:pt x="2991" y="11242"/>
                  </a:lnTo>
                  <a:lnTo>
                    <a:pt x="2909" y="11020"/>
                  </a:lnTo>
                  <a:lnTo>
                    <a:pt x="2865" y="10966"/>
                  </a:lnTo>
                  <a:lnTo>
                    <a:pt x="2947" y="10906"/>
                  </a:lnTo>
                  <a:lnTo>
                    <a:pt x="2947" y="10852"/>
                  </a:lnTo>
                  <a:lnTo>
                    <a:pt x="2909" y="10852"/>
                  </a:lnTo>
                  <a:lnTo>
                    <a:pt x="2865" y="10792"/>
                  </a:lnTo>
                  <a:lnTo>
                    <a:pt x="2947" y="10792"/>
                  </a:lnTo>
                  <a:lnTo>
                    <a:pt x="2991" y="10792"/>
                  </a:lnTo>
                  <a:lnTo>
                    <a:pt x="3072" y="10792"/>
                  </a:lnTo>
                  <a:lnTo>
                    <a:pt x="3072" y="10631"/>
                  </a:lnTo>
                  <a:lnTo>
                    <a:pt x="3111" y="10631"/>
                  </a:lnTo>
                  <a:lnTo>
                    <a:pt x="3111" y="10678"/>
                  </a:lnTo>
                  <a:lnTo>
                    <a:pt x="3236" y="10792"/>
                  </a:lnTo>
                  <a:lnTo>
                    <a:pt x="3318" y="10678"/>
                  </a:lnTo>
                  <a:lnTo>
                    <a:pt x="3352" y="10792"/>
                  </a:lnTo>
                  <a:lnTo>
                    <a:pt x="3434" y="11020"/>
                  </a:lnTo>
                  <a:lnTo>
                    <a:pt x="3516" y="11081"/>
                  </a:lnTo>
                  <a:lnTo>
                    <a:pt x="3564" y="11195"/>
                  </a:lnTo>
                  <a:lnTo>
                    <a:pt x="3679" y="11470"/>
                  </a:lnTo>
                  <a:lnTo>
                    <a:pt x="3843" y="11537"/>
                  </a:lnTo>
                  <a:lnTo>
                    <a:pt x="3925" y="11651"/>
                  </a:lnTo>
                  <a:lnTo>
                    <a:pt x="4050" y="11765"/>
                  </a:lnTo>
                  <a:lnTo>
                    <a:pt x="4214" y="11879"/>
                  </a:lnTo>
                  <a:lnTo>
                    <a:pt x="4378" y="11926"/>
                  </a:lnTo>
                  <a:lnTo>
                    <a:pt x="4459" y="11879"/>
                  </a:lnTo>
                  <a:lnTo>
                    <a:pt x="4541" y="11812"/>
                  </a:lnTo>
                  <a:lnTo>
                    <a:pt x="4623" y="11765"/>
                  </a:lnTo>
                  <a:lnTo>
                    <a:pt x="4753" y="11698"/>
                  </a:lnTo>
                  <a:lnTo>
                    <a:pt x="4869" y="11879"/>
                  </a:lnTo>
                  <a:lnTo>
                    <a:pt x="4951" y="12154"/>
                  </a:lnTo>
                  <a:lnTo>
                    <a:pt x="5191" y="12201"/>
                  </a:lnTo>
                  <a:lnTo>
                    <a:pt x="5403" y="12268"/>
                  </a:lnTo>
                  <a:lnTo>
                    <a:pt x="5601" y="12268"/>
                  </a:lnTo>
                  <a:lnTo>
                    <a:pt x="5813" y="12315"/>
                  </a:lnTo>
                  <a:lnTo>
                    <a:pt x="5928" y="12383"/>
                  </a:lnTo>
                  <a:lnTo>
                    <a:pt x="6053" y="12315"/>
                  </a:lnTo>
                  <a:lnTo>
                    <a:pt x="6217" y="12315"/>
                  </a:lnTo>
                  <a:lnTo>
                    <a:pt x="6381" y="12268"/>
                  </a:lnTo>
                  <a:lnTo>
                    <a:pt x="6463" y="12315"/>
                  </a:lnTo>
                  <a:lnTo>
                    <a:pt x="6545" y="12383"/>
                  </a:lnTo>
                  <a:lnTo>
                    <a:pt x="6545" y="12315"/>
                  </a:lnTo>
                  <a:lnTo>
                    <a:pt x="6790" y="12268"/>
                  </a:lnTo>
                  <a:lnTo>
                    <a:pt x="6872" y="12201"/>
                  </a:lnTo>
                  <a:lnTo>
                    <a:pt x="6954" y="12268"/>
                  </a:lnTo>
                  <a:lnTo>
                    <a:pt x="6997" y="12430"/>
                  </a:lnTo>
                  <a:lnTo>
                    <a:pt x="7079" y="12430"/>
                  </a:lnTo>
                  <a:lnTo>
                    <a:pt x="7113" y="12544"/>
                  </a:lnTo>
                  <a:lnTo>
                    <a:pt x="7161" y="12718"/>
                  </a:lnTo>
                  <a:lnTo>
                    <a:pt x="7359" y="12832"/>
                  </a:lnTo>
                  <a:lnTo>
                    <a:pt x="7407" y="12772"/>
                  </a:lnTo>
                  <a:lnTo>
                    <a:pt x="7440" y="12772"/>
                  </a:lnTo>
                  <a:lnTo>
                    <a:pt x="7407" y="12832"/>
                  </a:lnTo>
                  <a:lnTo>
                    <a:pt x="7440" y="13000"/>
                  </a:lnTo>
                  <a:lnTo>
                    <a:pt x="7652" y="13174"/>
                  </a:lnTo>
                  <a:lnTo>
                    <a:pt x="7811" y="13060"/>
                  </a:lnTo>
                  <a:lnTo>
                    <a:pt x="7811" y="13174"/>
                  </a:lnTo>
                  <a:lnTo>
                    <a:pt x="7604" y="13289"/>
                  </a:lnTo>
                  <a:lnTo>
                    <a:pt x="7522" y="13289"/>
                  </a:lnTo>
                  <a:lnTo>
                    <a:pt x="7811" y="13678"/>
                  </a:lnTo>
                  <a:lnTo>
                    <a:pt x="7975" y="13792"/>
                  </a:lnTo>
                  <a:lnTo>
                    <a:pt x="8221" y="13678"/>
                  </a:lnTo>
                  <a:lnTo>
                    <a:pt x="8254" y="13517"/>
                  </a:lnTo>
                  <a:lnTo>
                    <a:pt x="8172" y="13450"/>
                  </a:lnTo>
                  <a:lnTo>
                    <a:pt x="8254" y="13403"/>
                  </a:lnTo>
                  <a:lnTo>
                    <a:pt x="8254" y="13289"/>
                  </a:lnTo>
                  <a:lnTo>
                    <a:pt x="8384" y="13289"/>
                  </a:lnTo>
                  <a:lnTo>
                    <a:pt x="8384" y="13336"/>
                  </a:lnTo>
                  <a:lnTo>
                    <a:pt x="8302" y="13336"/>
                  </a:lnTo>
                  <a:lnTo>
                    <a:pt x="8336" y="13450"/>
                  </a:lnTo>
                  <a:lnTo>
                    <a:pt x="8384" y="13517"/>
                  </a:lnTo>
                  <a:lnTo>
                    <a:pt x="8336" y="13564"/>
                  </a:lnTo>
                  <a:lnTo>
                    <a:pt x="8336" y="13631"/>
                  </a:lnTo>
                  <a:lnTo>
                    <a:pt x="8384" y="13745"/>
                  </a:lnTo>
                  <a:lnTo>
                    <a:pt x="8384" y="13973"/>
                  </a:lnTo>
                  <a:lnTo>
                    <a:pt x="8418" y="14362"/>
                  </a:lnTo>
                  <a:lnTo>
                    <a:pt x="8466" y="14584"/>
                  </a:lnTo>
                  <a:lnTo>
                    <a:pt x="8664" y="15450"/>
                  </a:lnTo>
                  <a:lnTo>
                    <a:pt x="8794" y="15725"/>
                  </a:lnTo>
                  <a:lnTo>
                    <a:pt x="8871" y="16067"/>
                  </a:lnTo>
                  <a:lnTo>
                    <a:pt x="9034" y="16517"/>
                  </a:lnTo>
                  <a:lnTo>
                    <a:pt x="9164" y="16812"/>
                  </a:lnTo>
                  <a:lnTo>
                    <a:pt x="9328" y="17315"/>
                  </a:lnTo>
                  <a:lnTo>
                    <a:pt x="9280" y="17262"/>
                  </a:lnTo>
                  <a:lnTo>
                    <a:pt x="9574" y="17832"/>
                  </a:lnTo>
                  <a:lnTo>
                    <a:pt x="9689" y="17718"/>
                  </a:lnTo>
                  <a:lnTo>
                    <a:pt x="9689" y="17604"/>
                  </a:lnTo>
                  <a:lnTo>
                    <a:pt x="9771" y="17490"/>
                  </a:lnTo>
                  <a:lnTo>
                    <a:pt x="9930" y="17490"/>
                  </a:lnTo>
                  <a:lnTo>
                    <a:pt x="9978" y="17430"/>
                  </a:lnTo>
                  <a:lnTo>
                    <a:pt x="9853" y="17376"/>
                  </a:lnTo>
                  <a:lnTo>
                    <a:pt x="9930" y="17148"/>
                  </a:lnTo>
                  <a:lnTo>
                    <a:pt x="10060" y="17148"/>
                  </a:lnTo>
                  <a:lnTo>
                    <a:pt x="10012" y="16698"/>
                  </a:lnTo>
                  <a:lnTo>
                    <a:pt x="10060" y="16517"/>
                  </a:lnTo>
                  <a:lnTo>
                    <a:pt x="10142" y="16289"/>
                  </a:lnTo>
                  <a:lnTo>
                    <a:pt x="10060" y="16128"/>
                  </a:lnTo>
                  <a:lnTo>
                    <a:pt x="10094" y="16128"/>
                  </a:lnTo>
                  <a:lnTo>
                    <a:pt x="10094" y="15953"/>
                  </a:lnTo>
                  <a:lnTo>
                    <a:pt x="10094" y="15839"/>
                  </a:lnTo>
                  <a:lnTo>
                    <a:pt x="10060" y="15671"/>
                  </a:lnTo>
                  <a:lnTo>
                    <a:pt x="10094" y="15450"/>
                  </a:lnTo>
                  <a:lnTo>
                    <a:pt x="10176" y="15383"/>
                  </a:lnTo>
                  <a:lnTo>
                    <a:pt x="10224" y="15383"/>
                  </a:lnTo>
                  <a:lnTo>
                    <a:pt x="10306" y="15268"/>
                  </a:lnTo>
                  <a:lnTo>
                    <a:pt x="10388" y="15221"/>
                  </a:lnTo>
                  <a:lnTo>
                    <a:pt x="10551" y="15107"/>
                  </a:lnTo>
                  <a:lnTo>
                    <a:pt x="10503" y="15040"/>
                  </a:lnTo>
                  <a:lnTo>
                    <a:pt x="10585" y="14926"/>
                  </a:lnTo>
                  <a:lnTo>
                    <a:pt x="10749" y="14698"/>
                  </a:lnTo>
                  <a:lnTo>
                    <a:pt x="10922" y="14537"/>
                  </a:lnTo>
                  <a:lnTo>
                    <a:pt x="11120" y="14134"/>
                  </a:lnTo>
                  <a:lnTo>
                    <a:pt x="11086" y="14134"/>
                  </a:lnTo>
                  <a:lnTo>
                    <a:pt x="11168" y="14087"/>
                  </a:lnTo>
                  <a:lnTo>
                    <a:pt x="11168" y="14134"/>
                  </a:lnTo>
                  <a:lnTo>
                    <a:pt x="11332" y="14087"/>
                  </a:lnTo>
                  <a:lnTo>
                    <a:pt x="11365" y="13973"/>
                  </a:lnTo>
                  <a:lnTo>
                    <a:pt x="11413" y="13906"/>
                  </a:lnTo>
                  <a:lnTo>
                    <a:pt x="11447" y="13792"/>
                  </a:lnTo>
                  <a:lnTo>
                    <a:pt x="11413" y="13631"/>
                  </a:lnTo>
                  <a:lnTo>
                    <a:pt x="11413" y="13564"/>
                  </a:lnTo>
                  <a:lnTo>
                    <a:pt x="11490" y="13517"/>
                  </a:lnTo>
                  <a:lnTo>
                    <a:pt x="11654" y="13403"/>
                  </a:lnTo>
                  <a:lnTo>
                    <a:pt x="11654" y="13289"/>
                  </a:lnTo>
                  <a:lnTo>
                    <a:pt x="11693" y="13289"/>
                  </a:lnTo>
                  <a:lnTo>
                    <a:pt x="11693" y="13450"/>
                  </a:lnTo>
                  <a:lnTo>
                    <a:pt x="11736" y="13517"/>
                  </a:lnTo>
                  <a:lnTo>
                    <a:pt x="11818" y="13336"/>
                  </a:lnTo>
                  <a:lnTo>
                    <a:pt x="11818" y="13450"/>
                  </a:lnTo>
                  <a:lnTo>
                    <a:pt x="11934" y="13403"/>
                  </a:lnTo>
                  <a:lnTo>
                    <a:pt x="11982" y="13403"/>
                  </a:lnTo>
                  <a:lnTo>
                    <a:pt x="12064" y="13403"/>
                  </a:lnTo>
                  <a:lnTo>
                    <a:pt x="12015" y="13289"/>
                  </a:lnTo>
                  <a:lnTo>
                    <a:pt x="12064" y="13221"/>
                  </a:lnTo>
                  <a:lnTo>
                    <a:pt x="12064" y="13289"/>
                  </a:lnTo>
                  <a:lnTo>
                    <a:pt x="12145" y="13403"/>
                  </a:lnTo>
                  <a:lnTo>
                    <a:pt x="12179" y="13221"/>
                  </a:lnTo>
                  <a:lnTo>
                    <a:pt x="12145" y="13107"/>
                  </a:lnTo>
                  <a:lnTo>
                    <a:pt x="12179" y="13060"/>
                  </a:lnTo>
                  <a:lnTo>
                    <a:pt x="12145" y="12886"/>
                  </a:lnTo>
                  <a:lnTo>
                    <a:pt x="12064" y="12886"/>
                  </a:lnTo>
                  <a:lnTo>
                    <a:pt x="12064" y="12772"/>
                  </a:lnTo>
                  <a:lnTo>
                    <a:pt x="12179" y="12832"/>
                  </a:lnTo>
                  <a:lnTo>
                    <a:pt x="12227" y="13000"/>
                  </a:lnTo>
                  <a:lnTo>
                    <a:pt x="12343" y="13060"/>
                  </a:lnTo>
                  <a:lnTo>
                    <a:pt x="12473" y="13221"/>
                  </a:lnTo>
                  <a:lnTo>
                    <a:pt x="12507" y="13450"/>
                  </a:lnTo>
                  <a:lnTo>
                    <a:pt x="12555" y="13631"/>
                  </a:lnTo>
                  <a:lnTo>
                    <a:pt x="12670" y="13859"/>
                  </a:lnTo>
                  <a:lnTo>
                    <a:pt x="12714" y="13859"/>
                  </a:lnTo>
                  <a:lnTo>
                    <a:pt x="12796" y="13906"/>
                  </a:lnTo>
                  <a:lnTo>
                    <a:pt x="12834" y="13973"/>
                  </a:lnTo>
                  <a:lnTo>
                    <a:pt x="12877" y="14087"/>
                  </a:lnTo>
                  <a:lnTo>
                    <a:pt x="13007" y="14195"/>
                  </a:lnTo>
                  <a:lnTo>
                    <a:pt x="12959" y="14248"/>
                  </a:lnTo>
                  <a:lnTo>
                    <a:pt x="12877" y="14195"/>
                  </a:lnTo>
                  <a:lnTo>
                    <a:pt x="13007" y="14362"/>
                  </a:lnTo>
                  <a:lnTo>
                    <a:pt x="13007" y="14309"/>
                  </a:lnTo>
                  <a:lnTo>
                    <a:pt x="13123" y="14537"/>
                  </a:lnTo>
                  <a:lnTo>
                    <a:pt x="13171" y="14698"/>
                  </a:lnTo>
                  <a:lnTo>
                    <a:pt x="13123" y="14993"/>
                  </a:lnTo>
                  <a:lnTo>
                    <a:pt x="13123" y="15336"/>
                  </a:lnTo>
                  <a:lnTo>
                    <a:pt x="13205" y="15268"/>
                  </a:lnTo>
                  <a:lnTo>
                    <a:pt x="13205" y="15336"/>
                  </a:lnTo>
                  <a:lnTo>
                    <a:pt x="13287" y="15336"/>
                  </a:lnTo>
                  <a:lnTo>
                    <a:pt x="13335" y="15268"/>
                  </a:lnTo>
                  <a:lnTo>
                    <a:pt x="13287" y="15336"/>
                  </a:lnTo>
                  <a:lnTo>
                    <a:pt x="13369" y="15383"/>
                  </a:lnTo>
                  <a:lnTo>
                    <a:pt x="13412" y="15336"/>
                  </a:lnTo>
                  <a:lnTo>
                    <a:pt x="13576" y="15221"/>
                  </a:lnTo>
                  <a:lnTo>
                    <a:pt x="13658" y="15107"/>
                  </a:lnTo>
                  <a:lnTo>
                    <a:pt x="13658" y="14926"/>
                  </a:lnTo>
                  <a:lnTo>
                    <a:pt x="13691" y="14879"/>
                  </a:lnTo>
                  <a:lnTo>
                    <a:pt x="13739" y="14993"/>
                  </a:lnTo>
                  <a:lnTo>
                    <a:pt x="13773" y="15107"/>
                  </a:lnTo>
                  <a:lnTo>
                    <a:pt x="13855" y="15107"/>
                  </a:lnTo>
                  <a:lnTo>
                    <a:pt x="13855" y="15268"/>
                  </a:lnTo>
                  <a:lnTo>
                    <a:pt x="13903" y="15497"/>
                  </a:lnTo>
                  <a:lnTo>
                    <a:pt x="13937" y="15785"/>
                  </a:lnTo>
                  <a:lnTo>
                    <a:pt x="13985" y="16067"/>
                  </a:lnTo>
                  <a:lnTo>
                    <a:pt x="14019" y="16067"/>
                  </a:lnTo>
                  <a:lnTo>
                    <a:pt x="14019" y="15953"/>
                  </a:lnTo>
                  <a:lnTo>
                    <a:pt x="14149" y="16289"/>
                  </a:lnTo>
                  <a:lnTo>
                    <a:pt x="14149" y="16584"/>
                  </a:lnTo>
                  <a:lnTo>
                    <a:pt x="14101" y="16631"/>
                  </a:lnTo>
                  <a:lnTo>
                    <a:pt x="14149" y="16631"/>
                  </a:lnTo>
                  <a:lnTo>
                    <a:pt x="14149" y="16926"/>
                  </a:lnTo>
                  <a:lnTo>
                    <a:pt x="14101" y="17040"/>
                  </a:lnTo>
                  <a:lnTo>
                    <a:pt x="14149" y="17201"/>
                  </a:lnTo>
                  <a:lnTo>
                    <a:pt x="14149" y="17262"/>
                  </a:lnTo>
                  <a:lnTo>
                    <a:pt x="14101" y="17376"/>
                  </a:lnTo>
                  <a:lnTo>
                    <a:pt x="14067" y="17604"/>
                  </a:lnTo>
                  <a:lnTo>
                    <a:pt x="14101" y="17832"/>
                  </a:lnTo>
                  <a:lnTo>
                    <a:pt x="14149" y="17879"/>
                  </a:lnTo>
                  <a:lnTo>
                    <a:pt x="14149" y="17765"/>
                  </a:lnTo>
                  <a:lnTo>
                    <a:pt x="14183" y="17718"/>
                  </a:lnTo>
                  <a:lnTo>
                    <a:pt x="14231" y="17832"/>
                  </a:lnTo>
                  <a:lnTo>
                    <a:pt x="14346" y="18060"/>
                  </a:lnTo>
                  <a:lnTo>
                    <a:pt x="14428" y="18174"/>
                  </a:lnTo>
                  <a:lnTo>
                    <a:pt x="14510" y="18336"/>
                  </a:lnTo>
                  <a:lnTo>
                    <a:pt x="14553" y="18564"/>
                  </a:lnTo>
                  <a:lnTo>
                    <a:pt x="14592" y="18792"/>
                  </a:lnTo>
                  <a:lnTo>
                    <a:pt x="14635" y="18852"/>
                  </a:lnTo>
                  <a:lnTo>
                    <a:pt x="14635" y="19020"/>
                  </a:lnTo>
                  <a:lnTo>
                    <a:pt x="14635" y="19128"/>
                  </a:lnTo>
                  <a:lnTo>
                    <a:pt x="14756" y="19309"/>
                  </a:lnTo>
                  <a:lnTo>
                    <a:pt x="14799" y="19423"/>
                  </a:lnTo>
                  <a:lnTo>
                    <a:pt x="14963" y="19651"/>
                  </a:lnTo>
                  <a:lnTo>
                    <a:pt x="15126" y="19765"/>
                  </a:lnTo>
                  <a:lnTo>
                    <a:pt x="15252" y="1992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1" name="Freeform 7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030" y="2754"/>
              <a:ext cx="187" cy="207"/>
            </a:xfrm>
            <a:custGeom>
              <a:avLst/>
              <a:gdLst>
                <a:gd name="T0" fmla="*/ 112 w 20000"/>
                <a:gd name="T1" fmla="*/ 40 h 20000"/>
                <a:gd name="T2" fmla="*/ 123 w 20000"/>
                <a:gd name="T3" fmla="*/ 27 h 20000"/>
                <a:gd name="T4" fmla="*/ 132 w 20000"/>
                <a:gd name="T5" fmla="*/ 14 h 20000"/>
                <a:gd name="T6" fmla="*/ 143 w 20000"/>
                <a:gd name="T7" fmla="*/ 3 h 20000"/>
                <a:gd name="T8" fmla="*/ 146 w 20000"/>
                <a:gd name="T9" fmla="*/ 3 h 20000"/>
                <a:gd name="T10" fmla="*/ 150 w 20000"/>
                <a:gd name="T11" fmla="*/ 10 h 20000"/>
                <a:gd name="T12" fmla="*/ 157 w 20000"/>
                <a:gd name="T13" fmla="*/ 16 h 20000"/>
                <a:gd name="T14" fmla="*/ 163 w 20000"/>
                <a:gd name="T15" fmla="*/ 20 h 20000"/>
                <a:gd name="T16" fmla="*/ 159 w 20000"/>
                <a:gd name="T17" fmla="*/ 27 h 20000"/>
                <a:gd name="T18" fmla="*/ 170 w 20000"/>
                <a:gd name="T19" fmla="*/ 23 h 20000"/>
                <a:gd name="T20" fmla="*/ 187 w 20000"/>
                <a:gd name="T21" fmla="*/ 30 h 20000"/>
                <a:gd name="T22" fmla="*/ 180 w 20000"/>
                <a:gd name="T23" fmla="*/ 37 h 20000"/>
                <a:gd name="T24" fmla="*/ 170 w 20000"/>
                <a:gd name="T25" fmla="*/ 40 h 20000"/>
                <a:gd name="T26" fmla="*/ 177 w 20000"/>
                <a:gd name="T27" fmla="*/ 50 h 20000"/>
                <a:gd name="T28" fmla="*/ 159 w 20000"/>
                <a:gd name="T29" fmla="*/ 50 h 20000"/>
                <a:gd name="T30" fmla="*/ 159 w 20000"/>
                <a:gd name="T31" fmla="*/ 61 h 20000"/>
                <a:gd name="T32" fmla="*/ 157 w 20000"/>
                <a:gd name="T33" fmla="*/ 67 h 20000"/>
                <a:gd name="T34" fmla="*/ 153 w 20000"/>
                <a:gd name="T35" fmla="*/ 70 h 20000"/>
                <a:gd name="T36" fmla="*/ 159 w 20000"/>
                <a:gd name="T37" fmla="*/ 77 h 20000"/>
                <a:gd name="T38" fmla="*/ 163 w 20000"/>
                <a:gd name="T39" fmla="*/ 88 h 20000"/>
                <a:gd name="T40" fmla="*/ 166 w 20000"/>
                <a:gd name="T41" fmla="*/ 97 h 20000"/>
                <a:gd name="T42" fmla="*/ 183 w 20000"/>
                <a:gd name="T43" fmla="*/ 111 h 20000"/>
                <a:gd name="T44" fmla="*/ 163 w 20000"/>
                <a:gd name="T45" fmla="*/ 118 h 20000"/>
                <a:gd name="T46" fmla="*/ 153 w 20000"/>
                <a:gd name="T47" fmla="*/ 135 h 20000"/>
                <a:gd name="T48" fmla="*/ 143 w 20000"/>
                <a:gd name="T49" fmla="*/ 155 h 20000"/>
                <a:gd name="T50" fmla="*/ 136 w 20000"/>
                <a:gd name="T51" fmla="*/ 165 h 20000"/>
                <a:gd name="T52" fmla="*/ 125 w 20000"/>
                <a:gd name="T53" fmla="*/ 196 h 20000"/>
                <a:gd name="T54" fmla="*/ 99 w 20000"/>
                <a:gd name="T55" fmla="*/ 192 h 20000"/>
                <a:gd name="T56" fmla="*/ 85 w 20000"/>
                <a:gd name="T57" fmla="*/ 196 h 20000"/>
                <a:gd name="T58" fmla="*/ 82 w 20000"/>
                <a:gd name="T59" fmla="*/ 189 h 20000"/>
                <a:gd name="T60" fmla="*/ 72 w 20000"/>
                <a:gd name="T61" fmla="*/ 189 h 20000"/>
                <a:gd name="T62" fmla="*/ 62 w 20000"/>
                <a:gd name="T63" fmla="*/ 189 h 20000"/>
                <a:gd name="T64" fmla="*/ 51 w 20000"/>
                <a:gd name="T65" fmla="*/ 185 h 20000"/>
                <a:gd name="T66" fmla="*/ 34 w 20000"/>
                <a:gd name="T67" fmla="*/ 185 h 20000"/>
                <a:gd name="T68" fmla="*/ 24 w 20000"/>
                <a:gd name="T69" fmla="*/ 185 h 20000"/>
                <a:gd name="T70" fmla="*/ 24 w 20000"/>
                <a:gd name="T71" fmla="*/ 165 h 20000"/>
                <a:gd name="T72" fmla="*/ 14 w 20000"/>
                <a:gd name="T73" fmla="*/ 145 h 20000"/>
                <a:gd name="T74" fmla="*/ 7 w 20000"/>
                <a:gd name="T75" fmla="*/ 145 h 20000"/>
                <a:gd name="T76" fmla="*/ 4 w 20000"/>
                <a:gd name="T77" fmla="*/ 138 h 20000"/>
                <a:gd name="T78" fmla="*/ 0 w 20000"/>
                <a:gd name="T79" fmla="*/ 125 h 20000"/>
                <a:gd name="T80" fmla="*/ 4 w 20000"/>
                <a:gd name="T81" fmla="*/ 104 h 20000"/>
                <a:gd name="T82" fmla="*/ 11 w 20000"/>
                <a:gd name="T83" fmla="*/ 95 h 20000"/>
                <a:gd name="T84" fmla="*/ 18 w 20000"/>
                <a:gd name="T85" fmla="*/ 97 h 20000"/>
                <a:gd name="T86" fmla="*/ 34 w 20000"/>
                <a:gd name="T87" fmla="*/ 101 h 20000"/>
                <a:gd name="T88" fmla="*/ 41 w 20000"/>
                <a:gd name="T89" fmla="*/ 91 h 20000"/>
                <a:gd name="T90" fmla="*/ 55 w 20000"/>
                <a:gd name="T91" fmla="*/ 77 h 20000"/>
                <a:gd name="T92" fmla="*/ 96 w 20000"/>
                <a:gd name="T93" fmla="*/ 47 h 20000"/>
                <a:gd name="T94" fmla="*/ 109 w 20000"/>
                <a:gd name="T95" fmla="*/ 37 h 2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0000" h="20000">
                  <a:moveTo>
                    <a:pt x="11667" y="4225"/>
                  </a:moveTo>
                  <a:lnTo>
                    <a:pt x="11966" y="3915"/>
                  </a:lnTo>
                  <a:lnTo>
                    <a:pt x="12393" y="2907"/>
                  </a:lnTo>
                  <a:lnTo>
                    <a:pt x="13120" y="2636"/>
                  </a:lnTo>
                  <a:lnTo>
                    <a:pt x="13419" y="2907"/>
                  </a:lnTo>
                  <a:lnTo>
                    <a:pt x="14145" y="1318"/>
                  </a:lnTo>
                  <a:lnTo>
                    <a:pt x="14872" y="0"/>
                  </a:lnTo>
                  <a:lnTo>
                    <a:pt x="15299" y="271"/>
                  </a:lnTo>
                  <a:lnTo>
                    <a:pt x="15299" y="930"/>
                  </a:lnTo>
                  <a:lnTo>
                    <a:pt x="15598" y="271"/>
                  </a:lnTo>
                  <a:lnTo>
                    <a:pt x="16026" y="271"/>
                  </a:lnTo>
                  <a:lnTo>
                    <a:pt x="16026" y="930"/>
                  </a:lnTo>
                  <a:lnTo>
                    <a:pt x="16752" y="930"/>
                  </a:lnTo>
                  <a:lnTo>
                    <a:pt x="16752" y="1589"/>
                  </a:lnTo>
                  <a:lnTo>
                    <a:pt x="17051" y="1977"/>
                  </a:lnTo>
                  <a:lnTo>
                    <a:pt x="17479" y="1977"/>
                  </a:lnTo>
                  <a:lnTo>
                    <a:pt x="17479" y="2248"/>
                  </a:lnTo>
                  <a:lnTo>
                    <a:pt x="17051" y="2636"/>
                  </a:lnTo>
                  <a:lnTo>
                    <a:pt x="17778" y="2636"/>
                  </a:lnTo>
                  <a:lnTo>
                    <a:pt x="18162" y="2248"/>
                  </a:lnTo>
                  <a:lnTo>
                    <a:pt x="19231" y="2907"/>
                  </a:lnTo>
                  <a:lnTo>
                    <a:pt x="19957" y="2907"/>
                  </a:lnTo>
                  <a:lnTo>
                    <a:pt x="19957" y="3566"/>
                  </a:lnTo>
                  <a:lnTo>
                    <a:pt x="19231" y="3566"/>
                  </a:lnTo>
                  <a:lnTo>
                    <a:pt x="18504" y="3915"/>
                  </a:lnTo>
                  <a:lnTo>
                    <a:pt x="18162" y="3915"/>
                  </a:lnTo>
                  <a:lnTo>
                    <a:pt x="17778" y="3915"/>
                  </a:lnTo>
                  <a:lnTo>
                    <a:pt x="18889" y="4884"/>
                  </a:lnTo>
                  <a:lnTo>
                    <a:pt x="17479" y="5233"/>
                  </a:lnTo>
                  <a:lnTo>
                    <a:pt x="17051" y="4884"/>
                  </a:lnTo>
                  <a:lnTo>
                    <a:pt x="16752" y="5233"/>
                  </a:lnTo>
                  <a:lnTo>
                    <a:pt x="17051" y="5891"/>
                  </a:lnTo>
                  <a:lnTo>
                    <a:pt x="17051" y="6163"/>
                  </a:lnTo>
                  <a:lnTo>
                    <a:pt x="16752" y="6550"/>
                  </a:lnTo>
                  <a:lnTo>
                    <a:pt x="16752" y="6822"/>
                  </a:lnTo>
                  <a:lnTo>
                    <a:pt x="16325" y="6822"/>
                  </a:lnTo>
                  <a:lnTo>
                    <a:pt x="16325" y="7209"/>
                  </a:lnTo>
                  <a:lnTo>
                    <a:pt x="17051" y="7481"/>
                  </a:lnTo>
                  <a:lnTo>
                    <a:pt x="17479" y="8140"/>
                  </a:lnTo>
                  <a:lnTo>
                    <a:pt x="17479" y="8527"/>
                  </a:lnTo>
                  <a:lnTo>
                    <a:pt x="17051" y="9186"/>
                  </a:lnTo>
                  <a:lnTo>
                    <a:pt x="17778" y="9457"/>
                  </a:lnTo>
                  <a:lnTo>
                    <a:pt x="18889" y="10504"/>
                  </a:lnTo>
                  <a:lnTo>
                    <a:pt x="19615" y="10775"/>
                  </a:lnTo>
                  <a:lnTo>
                    <a:pt x="19231" y="11124"/>
                  </a:lnTo>
                  <a:lnTo>
                    <a:pt x="17479" y="11434"/>
                  </a:lnTo>
                  <a:lnTo>
                    <a:pt x="16752" y="11783"/>
                  </a:lnTo>
                  <a:lnTo>
                    <a:pt x="16325" y="13101"/>
                  </a:lnTo>
                  <a:lnTo>
                    <a:pt x="16752" y="14031"/>
                  </a:lnTo>
                  <a:lnTo>
                    <a:pt x="15299" y="15078"/>
                  </a:lnTo>
                  <a:lnTo>
                    <a:pt x="14145" y="15736"/>
                  </a:lnTo>
                  <a:lnTo>
                    <a:pt x="14573" y="16008"/>
                  </a:lnTo>
                  <a:lnTo>
                    <a:pt x="14145" y="17713"/>
                  </a:lnTo>
                  <a:lnTo>
                    <a:pt x="13419" y="18992"/>
                  </a:lnTo>
                  <a:lnTo>
                    <a:pt x="10940" y="19961"/>
                  </a:lnTo>
                  <a:lnTo>
                    <a:pt x="10556" y="18643"/>
                  </a:lnTo>
                  <a:lnTo>
                    <a:pt x="9829" y="18643"/>
                  </a:lnTo>
                  <a:lnTo>
                    <a:pt x="9103" y="18992"/>
                  </a:lnTo>
                  <a:lnTo>
                    <a:pt x="9103" y="17984"/>
                  </a:lnTo>
                  <a:lnTo>
                    <a:pt x="8761" y="18372"/>
                  </a:lnTo>
                  <a:lnTo>
                    <a:pt x="8077" y="17984"/>
                  </a:lnTo>
                  <a:lnTo>
                    <a:pt x="7650" y="18372"/>
                  </a:lnTo>
                  <a:lnTo>
                    <a:pt x="6923" y="18643"/>
                  </a:lnTo>
                  <a:lnTo>
                    <a:pt x="6624" y="18372"/>
                  </a:lnTo>
                  <a:lnTo>
                    <a:pt x="5897" y="18992"/>
                  </a:lnTo>
                  <a:lnTo>
                    <a:pt x="5470" y="17984"/>
                  </a:lnTo>
                  <a:lnTo>
                    <a:pt x="4744" y="17713"/>
                  </a:lnTo>
                  <a:lnTo>
                    <a:pt x="3632" y="17984"/>
                  </a:lnTo>
                  <a:lnTo>
                    <a:pt x="3291" y="17713"/>
                  </a:lnTo>
                  <a:lnTo>
                    <a:pt x="2564" y="17984"/>
                  </a:lnTo>
                  <a:lnTo>
                    <a:pt x="2564" y="16667"/>
                  </a:lnTo>
                  <a:lnTo>
                    <a:pt x="2564" y="16008"/>
                  </a:lnTo>
                  <a:lnTo>
                    <a:pt x="2179" y="14690"/>
                  </a:lnTo>
                  <a:lnTo>
                    <a:pt x="1453" y="14031"/>
                  </a:lnTo>
                  <a:lnTo>
                    <a:pt x="726" y="14031"/>
                  </a:lnTo>
                  <a:lnTo>
                    <a:pt x="1154" y="13760"/>
                  </a:lnTo>
                  <a:lnTo>
                    <a:pt x="427" y="13372"/>
                  </a:lnTo>
                  <a:lnTo>
                    <a:pt x="726" y="12752"/>
                  </a:lnTo>
                  <a:lnTo>
                    <a:pt x="0" y="12093"/>
                  </a:lnTo>
                  <a:lnTo>
                    <a:pt x="0" y="11124"/>
                  </a:lnTo>
                  <a:lnTo>
                    <a:pt x="427" y="10116"/>
                  </a:lnTo>
                  <a:lnTo>
                    <a:pt x="726" y="9457"/>
                  </a:lnTo>
                  <a:lnTo>
                    <a:pt x="1154" y="9186"/>
                  </a:lnTo>
                  <a:lnTo>
                    <a:pt x="1453" y="9186"/>
                  </a:lnTo>
                  <a:lnTo>
                    <a:pt x="1880" y="9457"/>
                  </a:lnTo>
                  <a:lnTo>
                    <a:pt x="2906" y="9457"/>
                  </a:lnTo>
                  <a:lnTo>
                    <a:pt x="3632" y="9845"/>
                  </a:lnTo>
                  <a:lnTo>
                    <a:pt x="4017" y="9845"/>
                  </a:lnTo>
                  <a:lnTo>
                    <a:pt x="4359" y="8798"/>
                  </a:lnTo>
                  <a:lnTo>
                    <a:pt x="4744" y="7868"/>
                  </a:lnTo>
                  <a:lnTo>
                    <a:pt x="5897" y="7481"/>
                  </a:lnTo>
                  <a:lnTo>
                    <a:pt x="8077" y="6822"/>
                  </a:lnTo>
                  <a:lnTo>
                    <a:pt x="10214" y="4574"/>
                  </a:lnTo>
                  <a:lnTo>
                    <a:pt x="10556" y="4225"/>
                  </a:lnTo>
                  <a:lnTo>
                    <a:pt x="11667" y="3566"/>
                  </a:lnTo>
                  <a:lnTo>
                    <a:pt x="11667" y="422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2" name="Freeform 7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02" y="2388"/>
              <a:ext cx="32" cy="76"/>
            </a:xfrm>
            <a:custGeom>
              <a:avLst/>
              <a:gdLst>
                <a:gd name="T0" fmla="*/ 18 w 20000"/>
                <a:gd name="T1" fmla="*/ 76 h 20000"/>
                <a:gd name="T2" fmla="*/ 21 w 20000"/>
                <a:gd name="T3" fmla="*/ 62 h 20000"/>
                <a:gd name="T4" fmla="*/ 25 w 20000"/>
                <a:gd name="T5" fmla="*/ 48 h 20000"/>
                <a:gd name="T6" fmla="*/ 28 w 20000"/>
                <a:gd name="T7" fmla="*/ 23 h 20000"/>
                <a:gd name="T8" fmla="*/ 32 w 20000"/>
                <a:gd name="T9" fmla="*/ 17 h 20000"/>
                <a:gd name="T10" fmla="*/ 32 w 20000"/>
                <a:gd name="T11" fmla="*/ 7 h 20000"/>
                <a:gd name="T12" fmla="*/ 21 w 20000"/>
                <a:gd name="T13" fmla="*/ 0 h 20000"/>
                <a:gd name="T14" fmla="*/ 14 w 20000"/>
                <a:gd name="T15" fmla="*/ 7 h 20000"/>
                <a:gd name="T16" fmla="*/ 4 w 20000"/>
                <a:gd name="T17" fmla="*/ 30 h 20000"/>
                <a:gd name="T18" fmla="*/ 0 w 20000"/>
                <a:gd name="T19" fmla="*/ 37 h 20000"/>
                <a:gd name="T20" fmla="*/ 0 w 20000"/>
                <a:gd name="T21" fmla="*/ 48 h 20000"/>
                <a:gd name="T22" fmla="*/ 7 w 20000"/>
                <a:gd name="T23" fmla="*/ 62 h 20000"/>
                <a:gd name="T24" fmla="*/ 14 w 20000"/>
                <a:gd name="T25" fmla="*/ 69 h 20000"/>
                <a:gd name="T26" fmla="*/ 14 w 20000"/>
                <a:gd name="T27" fmla="*/ 76 h 20000"/>
                <a:gd name="T28" fmla="*/ 18 w 20000"/>
                <a:gd name="T29" fmla="*/ 76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000" h="20000">
                  <a:moveTo>
                    <a:pt x="11139" y="19894"/>
                  </a:moveTo>
                  <a:lnTo>
                    <a:pt x="12911" y="16277"/>
                  </a:lnTo>
                  <a:lnTo>
                    <a:pt x="15443" y="12660"/>
                  </a:lnTo>
                  <a:lnTo>
                    <a:pt x="17215" y="6170"/>
                  </a:lnTo>
                  <a:lnTo>
                    <a:pt x="19747" y="4362"/>
                  </a:lnTo>
                  <a:lnTo>
                    <a:pt x="19747" y="1809"/>
                  </a:lnTo>
                  <a:lnTo>
                    <a:pt x="12911" y="0"/>
                  </a:lnTo>
                  <a:lnTo>
                    <a:pt x="8608" y="1809"/>
                  </a:lnTo>
                  <a:lnTo>
                    <a:pt x="2532" y="7979"/>
                  </a:lnTo>
                  <a:lnTo>
                    <a:pt x="0" y="9787"/>
                  </a:lnTo>
                  <a:lnTo>
                    <a:pt x="0" y="12660"/>
                  </a:lnTo>
                  <a:lnTo>
                    <a:pt x="4304" y="16277"/>
                  </a:lnTo>
                  <a:lnTo>
                    <a:pt x="8608" y="18085"/>
                  </a:lnTo>
                  <a:lnTo>
                    <a:pt x="8608" y="19894"/>
                  </a:lnTo>
                  <a:lnTo>
                    <a:pt x="11139" y="19894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3" name="Freeform 7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28" y="3018"/>
              <a:ext cx="13" cy="19"/>
            </a:xfrm>
            <a:custGeom>
              <a:avLst/>
              <a:gdLst>
                <a:gd name="T0" fmla="*/ 4 w 20000"/>
                <a:gd name="T1" fmla="*/ 17 h 20000"/>
                <a:gd name="T2" fmla="*/ 14 w 20000"/>
                <a:gd name="T3" fmla="*/ 7 h 20000"/>
                <a:gd name="T4" fmla="*/ 10 w 20000"/>
                <a:gd name="T5" fmla="*/ 0 h 20000"/>
                <a:gd name="T6" fmla="*/ 0 w 20000"/>
                <a:gd name="T7" fmla="*/ 13 h 20000"/>
                <a:gd name="T8" fmla="*/ 4 w 20000"/>
                <a:gd name="T9" fmla="*/ 17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5714" y="19535"/>
                  </a:moveTo>
                  <a:lnTo>
                    <a:pt x="19429" y="7907"/>
                  </a:lnTo>
                  <a:lnTo>
                    <a:pt x="14857" y="0"/>
                  </a:lnTo>
                  <a:lnTo>
                    <a:pt x="0" y="15814"/>
                  </a:lnTo>
                  <a:lnTo>
                    <a:pt x="5714" y="1953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4" name="Freeform 7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791" y="2828"/>
              <a:ext cx="13" cy="13"/>
            </a:xfrm>
            <a:custGeom>
              <a:avLst/>
              <a:gdLst>
                <a:gd name="T0" fmla="*/ 14 w 20000"/>
                <a:gd name="T1" fmla="*/ 14 h 20000"/>
                <a:gd name="T2" fmla="*/ 14 w 20000"/>
                <a:gd name="T3" fmla="*/ 10 h 20000"/>
                <a:gd name="T4" fmla="*/ 0 w 20000"/>
                <a:gd name="T5" fmla="*/ 0 h 20000"/>
                <a:gd name="T6" fmla="*/ 0 w 20000"/>
                <a:gd name="T7" fmla="*/ 3 h 20000"/>
                <a:gd name="T8" fmla="*/ 14 w 20000"/>
                <a:gd name="T9" fmla="*/ 14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9429" y="19429"/>
                  </a:moveTo>
                  <a:lnTo>
                    <a:pt x="19429" y="13714"/>
                  </a:lnTo>
                  <a:lnTo>
                    <a:pt x="0" y="0"/>
                  </a:lnTo>
                  <a:lnTo>
                    <a:pt x="0" y="4000"/>
                  </a:lnTo>
                  <a:lnTo>
                    <a:pt x="19429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5" name="Freeform 7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820" y="2856"/>
              <a:ext cx="14" cy="20"/>
            </a:xfrm>
            <a:custGeom>
              <a:avLst/>
              <a:gdLst>
                <a:gd name="T0" fmla="*/ 10 w 20000"/>
                <a:gd name="T1" fmla="*/ 20 h 20000"/>
                <a:gd name="T2" fmla="*/ 14 w 20000"/>
                <a:gd name="T3" fmla="*/ 9 h 20000"/>
                <a:gd name="T4" fmla="*/ 3 w 20000"/>
                <a:gd name="T5" fmla="*/ 0 h 20000"/>
                <a:gd name="T6" fmla="*/ 0 w 20000"/>
                <a:gd name="T7" fmla="*/ 3 h 20000"/>
                <a:gd name="T8" fmla="*/ 10 w 20000"/>
                <a:gd name="T9" fmla="*/ 2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3714" y="19615"/>
                  </a:moveTo>
                  <a:lnTo>
                    <a:pt x="19429" y="9231"/>
                  </a:lnTo>
                  <a:lnTo>
                    <a:pt x="4000" y="0"/>
                  </a:lnTo>
                  <a:lnTo>
                    <a:pt x="0" y="2692"/>
                  </a:lnTo>
                  <a:lnTo>
                    <a:pt x="13714" y="1961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6" name="Freeform 7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42" y="2944"/>
              <a:ext cx="21" cy="14"/>
            </a:xfrm>
            <a:custGeom>
              <a:avLst/>
              <a:gdLst>
                <a:gd name="T0" fmla="*/ 11 w 20000"/>
                <a:gd name="T1" fmla="*/ 14 h 20000"/>
                <a:gd name="T2" fmla="*/ 21 w 20000"/>
                <a:gd name="T3" fmla="*/ 10 h 20000"/>
                <a:gd name="T4" fmla="*/ 17 w 20000"/>
                <a:gd name="T5" fmla="*/ 0 h 20000"/>
                <a:gd name="T6" fmla="*/ 0 w 20000"/>
                <a:gd name="T7" fmla="*/ 0 h 20000"/>
                <a:gd name="T8" fmla="*/ 0 w 20000"/>
                <a:gd name="T9" fmla="*/ 3 h 20000"/>
                <a:gd name="T10" fmla="*/ 11 w 20000"/>
                <a:gd name="T11" fmla="*/ 14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10385" y="19429"/>
                  </a:moveTo>
                  <a:lnTo>
                    <a:pt x="19615" y="13714"/>
                  </a:lnTo>
                  <a:lnTo>
                    <a:pt x="16538" y="0"/>
                  </a:lnTo>
                  <a:lnTo>
                    <a:pt x="0" y="0"/>
                  </a:lnTo>
                  <a:lnTo>
                    <a:pt x="0" y="4000"/>
                  </a:lnTo>
                  <a:lnTo>
                    <a:pt x="10385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7" name="Freeform 8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847" y="2903"/>
              <a:ext cx="10" cy="13"/>
            </a:xfrm>
            <a:custGeom>
              <a:avLst/>
              <a:gdLst>
                <a:gd name="T0" fmla="*/ 7 w 20000"/>
                <a:gd name="T1" fmla="*/ 14 h 20000"/>
                <a:gd name="T2" fmla="*/ 10 w 20000"/>
                <a:gd name="T3" fmla="*/ 10 h 20000"/>
                <a:gd name="T4" fmla="*/ 3 w 20000"/>
                <a:gd name="T5" fmla="*/ 0 h 20000"/>
                <a:gd name="T6" fmla="*/ 0 w 20000"/>
                <a:gd name="T7" fmla="*/ 0 h 20000"/>
                <a:gd name="T8" fmla="*/ 0 w 20000"/>
                <a:gd name="T9" fmla="*/ 3 h 20000"/>
                <a:gd name="T10" fmla="*/ 7 w 20000"/>
                <a:gd name="T11" fmla="*/ 14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13077" y="19429"/>
                  </a:moveTo>
                  <a:lnTo>
                    <a:pt x="19231" y="13714"/>
                  </a:lnTo>
                  <a:lnTo>
                    <a:pt x="5385" y="0"/>
                  </a:lnTo>
                  <a:lnTo>
                    <a:pt x="0" y="0"/>
                  </a:lnTo>
                  <a:lnTo>
                    <a:pt x="0" y="4000"/>
                  </a:lnTo>
                  <a:lnTo>
                    <a:pt x="13077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8" name="Freeform 8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46" y="3025"/>
              <a:ext cx="24" cy="21"/>
            </a:xfrm>
            <a:custGeom>
              <a:avLst/>
              <a:gdLst>
                <a:gd name="T0" fmla="*/ 7 w 20000"/>
                <a:gd name="T1" fmla="*/ 7 h 20000"/>
                <a:gd name="T2" fmla="*/ 20 w 20000"/>
                <a:gd name="T3" fmla="*/ 0 h 20000"/>
                <a:gd name="T4" fmla="*/ 24 w 20000"/>
                <a:gd name="T5" fmla="*/ 3 h 20000"/>
                <a:gd name="T6" fmla="*/ 24 w 20000"/>
                <a:gd name="T7" fmla="*/ 10 h 20000"/>
                <a:gd name="T8" fmla="*/ 17 w 20000"/>
                <a:gd name="T9" fmla="*/ 17 h 20000"/>
                <a:gd name="T10" fmla="*/ 0 w 20000"/>
                <a:gd name="T11" fmla="*/ 21 h 20000"/>
                <a:gd name="T12" fmla="*/ 7 w 20000"/>
                <a:gd name="T13" fmla="*/ 7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5763" y="6538"/>
                  </a:moveTo>
                  <a:lnTo>
                    <a:pt x="16949" y="0"/>
                  </a:lnTo>
                  <a:lnTo>
                    <a:pt x="19661" y="2692"/>
                  </a:lnTo>
                  <a:lnTo>
                    <a:pt x="19661" y="9231"/>
                  </a:lnTo>
                  <a:lnTo>
                    <a:pt x="13898" y="15769"/>
                  </a:lnTo>
                  <a:lnTo>
                    <a:pt x="0" y="19615"/>
                  </a:lnTo>
                  <a:lnTo>
                    <a:pt x="5763" y="6538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79" name="Freeform 8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01" y="3012"/>
              <a:ext cx="21" cy="6"/>
            </a:xfrm>
            <a:custGeom>
              <a:avLst/>
              <a:gdLst>
                <a:gd name="T0" fmla="*/ 11 w 20000"/>
                <a:gd name="T1" fmla="*/ 7 h 20000"/>
                <a:gd name="T2" fmla="*/ 14 w 20000"/>
                <a:gd name="T3" fmla="*/ 3 h 20000"/>
                <a:gd name="T4" fmla="*/ 17 w 20000"/>
                <a:gd name="T5" fmla="*/ 3 h 20000"/>
                <a:gd name="T6" fmla="*/ 21 w 20000"/>
                <a:gd name="T7" fmla="*/ 0 h 20000"/>
                <a:gd name="T8" fmla="*/ 0 w 20000"/>
                <a:gd name="T9" fmla="*/ 0 h 20000"/>
                <a:gd name="T10" fmla="*/ 0 w 20000"/>
                <a:gd name="T11" fmla="*/ 3 h 20000"/>
                <a:gd name="T12" fmla="*/ 11 w 20000"/>
                <a:gd name="T13" fmla="*/ 7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10385" y="18889"/>
                  </a:moveTo>
                  <a:lnTo>
                    <a:pt x="13077" y="7778"/>
                  </a:lnTo>
                  <a:lnTo>
                    <a:pt x="16538" y="7778"/>
                  </a:lnTo>
                  <a:lnTo>
                    <a:pt x="19615" y="0"/>
                  </a:lnTo>
                  <a:lnTo>
                    <a:pt x="0" y="0"/>
                  </a:lnTo>
                  <a:lnTo>
                    <a:pt x="0" y="7778"/>
                  </a:lnTo>
                  <a:lnTo>
                    <a:pt x="10385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0" name="Freeform 8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005" y="2933"/>
              <a:ext cx="13" cy="11"/>
            </a:xfrm>
            <a:custGeom>
              <a:avLst/>
              <a:gdLst>
                <a:gd name="T0" fmla="*/ 3 w 20000"/>
                <a:gd name="T1" fmla="*/ 0 h 20000"/>
                <a:gd name="T2" fmla="*/ 14 w 20000"/>
                <a:gd name="T3" fmla="*/ 0 h 20000"/>
                <a:gd name="T4" fmla="*/ 14 w 20000"/>
                <a:gd name="T5" fmla="*/ 11 h 20000"/>
                <a:gd name="T6" fmla="*/ 7 w 20000"/>
                <a:gd name="T7" fmla="*/ 7 h 20000"/>
                <a:gd name="T8" fmla="*/ 0 w 20000"/>
                <a:gd name="T9" fmla="*/ 11 h 20000"/>
                <a:gd name="T10" fmla="*/ 3 w 20000"/>
                <a:gd name="T11" fmla="*/ 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4000" y="0"/>
                  </a:moveTo>
                  <a:lnTo>
                    <a:pt x="19429" y="0"/>
                  </a:lnTo>
                  <a:lnTo>
                    <a:pt x="19429" y="19286"/>
                  </a:lnTo>
                  <a:lnTo>
                    <a:pt x="9714" y="12143"/>
                  </a:lnTo>
                  <a:lnTo>
                    <a:pt x="0" y="19286"/>
                  </a:lnTo>
                  <a:lnTo>
                    <a:pt x="4000" y="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1" name="Freeform 8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013" y="2808"/>
              <a:ext cx="12" cy="10"/>
            </a:xfrm>
            <a:custGeom>
              <a:avLst/>
              <a:gdLst>
                <a:gd name="T0" fmla="*/ 3 w 20000"/>
                <a:gd name="T1" fmla="*/ 10 h 20000"/>
                <a:gd name="T2" fmla="*/ 11 w 20000"/>
                <a:gd name="T3" fmla="*/ 10 h 20000"/>
                <a:gd name="T4" fmla="*/ 7 w 20000"/>
                <a:gd name="T5" fmla="*/ 3 h 20000"/>
                <a:gd name="T6" fmla="*/ 3 w 20000"/>
                <a:gd name="T7" fmla="*/ 0 h 20000"/>
                <a:gd name="T8" fmla="*/ 0 w 20000"/>
                <a:gd name="T9" fmla="*/ 3 h 20000"/>
                <a:gd name="T10" fmla="*/ 3 w 20000"/>
                <a:gd name="T11" fmla="*/ 10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5385" y="19231"/>
                  </a:moveTo>
                  <a:lnTo>
                    <a:pt x="19231" y="19231"/>
                  </a:lnTo>
                  <a:lnTo>
                    <a:pt x="13077" y="5385"/>
                  </a:lnTo>
                  <a:lnTo>
                    <a:pt x="5385" y="0"/>
                  </a:lnTo>
                  <a:lnTo>
                    <a:pt x="0" y="5385"/>
                  </a:lnTo>
                  <a:lnTo>
                    <a:pt x="5385" y="1923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2" name="Freeform 8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52" y="3038"/>
              <a:ext cx="14" cy="14"/>
            </a:xfrm>
            <a:custGeom>
              <a:avLst/>
              <a:gdLst>
                <a:gd name="T0" fmla="*/ 10 w 20000"/>
                <a:gd name="T1" fmla="*/ 14 h 20000"/>
                <a:gd name="T2" fmla="*/ 14 w 20000"/>
                <a:gd name="T3" fmla="*/ 0 h 20000"/>
                <a:gd name="T4" fmla="*/ 7 w 20000"/>
                <a:gd name="T5" fmla="*/ 0 h 20000"/>
                <a:gd name="T6" fmla="*/ 3 w 20000"/>
                <a:gd name="T7" fmla="*/ 3 h 20000"/>
                <a:gd name="T8" fmla="*/ 7 w 20000"/>
                <a:gd name="T9" fmla="*/ 10 h 20000"/>
                <a:gd name="T10" fmla="*/ 0 w 20000"/>
                <a:gd name="T11" fmla="*/ 7 h 20000"/>
                <a:gd name="T12" fmla="*/ 0 w 20000"/>
                <a:gd name="T13" fmla="*/ 10 h 20000"/>
                <a:gd name="T14" fmla="*/ 10 w 20000"/>
                <a:gd name="T15" fmla="*/ 14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000" h="20000">
                  <a:moveTo>
                    <a:pt x="13714" y="19429"/>
                  </a:moveTo>
                  <a:lnTo>
                    <a:pt x="19429" y="0"/>
                  </a:lnTo>
                  <a:lnTo>
                    <a:pt x="9714" y="0"/>
                  </a:lnTo>
                  <a:lnTo>
                    <a:pt x="4000" y="4000"/>
                  </a:lnTo>
                  <a:lnTo>
                    <a:pt x="9714" y="13714"/>
                  </a:lnTo>
                  <a:lnTo>
                    <a:pt x="0" y="9714"/>
                  </a:lnTo>
                  <a:lnTo>
                    <a:pt x="0" y="13714"/>
                  </a:lnTo>
                  <a:lnTo>
                    <a:pt x="13714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3" name="Freeform 8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28" y="3034"/>
              <a:ext cx="25" cy="12"/>
            </a:xfrm>
            <a:custGeom>
              <a:avLst/>
              <a:gdLst>
                <a:gd name="T0" fmla="*/ 14 w 20000"/>
                <a:gd name="T1" fmla="*/ 12 h 20000"/>
                <a:gd name="T2" fmla="*/ 14 w 20000"/>
                <a:gd name="T3" fmla="*/ 7 h 20000"/>
                <a:gd name="T4" fmla="*/ 25 w 20000"/>
                <a:gd name="T5" fmla="*/ 7 h 20000"/>
                <a:gd name="T6" fmla="*/ 14 w 20000"/>
                <a:gd name="T7" fmla="*/ 0 h 20000"/>
                <a:gd name="T8" fmla="*/ 7 w 20000"/>
                <a:gd name="T9" fmla="*/ 4 h 20000"/>
                <a:gd name="T10" fmla="*/ 0 w 20000"/>
                <a:gd name="T11" fmla="*/ 0 h 20000"/>
                <a:gd name="T12" fmla="*/ 0 w 20000"/>
                <a:gd name="T13" fmla="*/ 7 h 20000"/>
                <a:gd name="T14" fmla="*/ 7 w 20000"/>
                <a:gd name="T15" fmla="*/ 7 h 20000"/>
                <a:gd name="T16" fmla="*/ 14 w 20000"/>
                <a:gd name="T17" fmla="*/ 12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000" h="20000">
                  <a:moveTo>
                    <a:pt x="10968" y="19286"/>
                  </a:moveTo>
                  <a:lnTo>
                    <a:pt x="10968" y="12143"/>
                  </a:lnTo>
                  <a:lnTo>
                    <a:pt x="19677" y="12143"/>
                  </a:lnTo>
                  <a:lnTo>
                    <a:pt x="10968" y="0"/>
                  </a:lnTo>
                  <a:lnTo>
                    <a:pt x="5484" y="7143"/>
                  </a:lnTo>
                  <a:lnTo>
                    <a:pt x="0" y="0"/>
                  </a:lnTo>
                  <a:lnTo>
                    <a:pt x="0" y="12143"/>
                  </a:lnTo>
                  <a:lnTo>
                    <a:pt x="5484" y="12143"/>
                  </a:lnTo>
                  <a:lnTo>
                    <a:pt x="10968" y="1928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4" name="Freeform 8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09" y="3058"/>
              <a:ext cx="32" cy="21"/>
            </a:xfrm>
            <a:custGeom>
              <a:avLst/>
              <a:gdLst>
                <a:gd name="T0" fmla="*/ 25 w 20000"/>
                <a:gd name="T1" fmla="*/ 21 h 20000"/>
                <a:gd name="T2" fmla="*/ 28 w 20000"/>
                <a:gd name="T3" fmla="*/ 17 h 20000"/>
                <a:gd name="T4" fmla="*/ 32 w 20000"/>
                <a:gd name="T5" fmla="*/ 14 h 20000"/>
                <a:gd name="T6" fmla="*/ 28 w 20000"/>
                <a:gd name="T7" fmla="*/ 7 h 20000"/>
                <a:gd name="T8" fmla="*/ 21 w 20000"/>
                <a:gd name="T9" fmla="*/ 7 h 20000"/>
                <a:gd name="T10" fmla="*/ 18 w 20000"/>
                <a:gd name="T11" fmla="*/ 0 h 20000"/>
                <a:gd name="T12" fmla="*/ 11 w 20000"/>
                <a:gd name="T13" fmla="*/ 3 h 20000"/>
                <a:gd name="T14" fmla="*/ 0 w 20000"/>
                <a:gd name="T15" fmla="*/ 3 h 20000"/>
                <a:gd name="T16" fmla="*/ 0 w 20000"/>
                <a:gd name="T17" fmla="*/ 7 h 20000"/>
                <a:gd name="T18" fmla="*/ 7 w 20000"/>
                <a:gd name="T19" fmla="*/ 7 h 20000"/>
                <a:gd name="T20" fmla="*/ 18 w 20000"/>
                <a:gd name="T21" fmla="*/ 14 h 20000"/>
                <a:gd name="T22" fmla="*/ 25 w 20000"/>
                <a:gd name="T23" fmla="*/ 21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0000" h="20000">
                  <a:moveTo>
                    <a:pt x="15443" y="19615"/>
                  </a:moveTo>
                  <a:lnTo>
                    <a:pt x="17215" y="15769"/>
                  </a:lnTo>
                  <a:lnTo>
                    <a:pt x="19747" y="13077"/>
                  </a:lnTo>
                  <a:lnTo>
                    <a:pt x="17215" y="6538"/>
                  </a:lnTo>
                  <a:lnTo>
                    <a:pt x="12911" y="6538"/>
                  </a:lnTo>
                  <a:lnTo>
                    <a:pt x="11139" y="0"/>
                  </a:lnTo>
                  <a:lnTo>
                    <a:pt x="6835" y="2692"/>
                  </a:lnTo>
                  <a:lnTo>
                    <a:pt x="0" y="2692"/>
                  </a:lnTo>
                  <a:lnTo>
                    <a:pt x="0" y="6538"/>
                  </a:lnTo>
                  <a:lnTo>
                    <a:pt x="4304" y="6538"/>
                  </a:lnTo>
                  <a:lnTo>
                    <a:pt x="11139" y="13077"/>
                  </a:lnTo>
                  <a:lnTo>
                    <a:pt x="15443" y="1961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5" name="Freeform 8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961" y="2912"/>
              <a:ext cx="32" cy="30"/>
            </a:xfrm>
            <a:custGeom>
              <a:avLst/>
              <a:gdLst>
                <a:gd name="T0" fmla="*/ 31 w 20000"/>
                <a:gd name="T1" fmla="*/ 28 h 20000"/>
                <a:gd name="T2" fmla="*/ 27 w 20000"/>
                <a:gd name="T3" fmla="*/ 24 h 20000"/>
                <a:gd name="T4" fmla="*/ 31 w 20000"/>
                <a:gd name="T5" fmla="*/ 21 h 20000"/>
                <a:gd name="T6" fmla="*/ 20 w 20000"/>
                <a:gd name="T7" fmla="*/ 17 h 20000"/>
                <a:gd name="T8" fmla="*/ 20 w 20000"/>
                <a:gd name="T9" fmla="*/ 4 h 20000"/>
                <a:gd name="T10" fmla="*/ 17 w 20000"/>
                <a:gd name="T11" fmla="*/ 0 h 20000"/>
                <a:gd name="T12" fmla="*/ 13 w 20000"/>
                <a:gd name="T13" fmla="*/ 0 h 20000"/>
                <a:gd name="T14" fmla="*/ 13 w 20000"/>
                <a:gd name="T15" fmla="*/ 4 h 20000"/>
                <a:gd name="T16" fmla="*/ 11 w 20000"/>
                <a:gd name="T17" fmla="*/ 4 h 20000"/>
                <a:gd name="T18" fmla="*/ 11 w 20000"/>
                <a:gd name="T19" fmla="*/ 0 h 20000"/>
                <a:gd name="T20" fmla="*/ 7 w 20000"/>
                <a:gd name="T21" fmla="*/ 0 h 20000"/>
                <a:gd name="T22" fmla="*/ 7 w 20000"/>
                <a:gd name="T23" fmla="*/ 7 h 20000"/>
                <a:gd name="T24" fmla="*/ 0 w 20000"/>
                <a:gd name="T25" fmla="*/ 7 h 20000"/>
                <a:gd name="T26" fmla="*/ 7 w 20000"/>
                <a:gd name="T27" fmla="*/ 7 h 20000"/>
                <a:gd name="T28" fmla="*/ 13 w 20000"/>
                <a:gd name="T29" fmla="*/ 14 h 20000"/>
                <a:gd name="T30" fmla="*/ 17 w 20000"/>
                <a:gd name="T31" fmla="*/ 24 h 20000"/>
                <a:gd name="T32" fmla="*/ 31 w 20000"/>
                <a:gd name="T33" fmla="*/ 28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0000" h="20000">
                  <a:moveTo>
                    <a:pt x="19747" y="19710"/>
                  </a:moveTo>
                  <a:lnTo>
                    <a:pt x="17215" y="17391"/>
                  </a:lnTo>
                  <a:lnTo>
                    <a:pt x="19747" y="14783"/>
                  </a:lnTo>
                  <a:lnTo>
                    <a:pt x="12911" y="12464"/>
                  </a:lnTo>
                  <a:lnTo>
                    <a:pt x="12911" y="2899"/>
                  </a:lnTo>
                  <a:lnTo>
                    <a:pt x="11139" y="0"/>
                  </a:lnTo>
                  <a:lnTo>
                    <a:pt x="8608" y="0"/>
                  </a:lnTo>
                  <a:lnTo>
                    <a:pt x="8608" y="2899"/>
                  </a:lnTo>
                  <a:lnTo>
                    <a:pt x="6835" y="2899"/>
                  </a:lnTo>
                  <a:lnTo>
                    <a:pt x="6835" y="0"/>
                  </a:lnTo>
                  <a:lnTo>
                    <a:pt x="4304" y="0"/>
                  </a:lnTo>
                  <a:lnTo>
                    <a:pt x="4304" y="4928"/>
                  </a:lnTo>
                  <a:lnTo>
                    <a:pt x="0" y="4928"/>
                  </a:lnTo>
                  <a:lnTo>
                    <a:pt x="4304" y="4928"/>
                  </a:lnTo>
                  <a:lnTo>
                    <a:pt x="8608" y="9855"/>
                  </a:lnTo>
                  <a:lnTo>
                    <a:pt x="11139" y="17391"/>
                  </a:lnTo>
                  <a:lnTo>
                    <a:pt x="19747" y="1971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6" name="Freeform 8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88" y="3041"/>
              <a:ext cx="69" cy="39"/>
            </a:xfrm>
            <a:custGeom>
              <a:avLst/>
              <a:gdLst>
                <a:gd name="T0" fmla="*/ 11 w 20000"/>
                <a:gd name="T1" fmla="*/ 39 h 20000"/>
                <a:gd name="T2" fmla="*/ 14 w 20000"/>
                <a:gd name="T3" fmla="*/ 35 h 20000"/>
                <a:gd name="T4" fmla="*/ 17 w 20000"/>
                <a:gd name="T5" fmla="*/ 35 h 20000"/>
                <a:gd name="T6" fmla="*/ 27 w 20000"/>
                <a:gd name="T7" fmla="*/ 25 h 20000"/>
                <a:gd name="T8" fmla="*/ 27 w 20000"/>
                <a:gd name="T9" fmla="*/ 25 h 20000"/>
                <a:gd name="T10" fmla="*/ 54 w 20000"/>
                <a:gd name="T11" fmla="*/ 11 h 20000"/>
                <a:gd name="T12" fmla="*/ 61 w 20000"/>
                <a:gd name="T13" fmla="*/ 7 h 20000"/>
                <a:gd name="T14" fmla="*/ 65 w 20000"/>
                <a:gd name="T15" fmla="*/ 7 h 20000"/>
                <a:gd name="T16" fmla="*/ 72 w 20000"/>
                <a:gd name="T17" fmla="*/ 0 h 20000"/>
                <a:gd name="T18" fmla="*/ 51 w 20000"/>
                <a:gd name="T19" fmla="*/ 0 h 20000"/>
                <a:gd name="T20" fmla="*/ 34 w 20000"/>
                <a:gd name="T21" fmla="*/ 7 h 20000"/>
                <a:gd name="T22" fmla="*/ 27 w 20000"/>
                <a:gd name="T23" fmla="*/ 14 h 20000"/>
                <a:gd name="T24" fmla="*/ 17 w 20000"/>
                <a:gd name="T25" fmla="*/ 18 h 20000"/>
                <a:gd name="T26" fmla="*/ 7 w 20000"/>
                <a:gd name="T27" fmla="*/ 25 h 20000"/>
                <a:gd name="T28" fmla="*/ 4 w 20000"/>
                <a:gd name="T29" fmla="*/ 32 h 20000"/>
                <a:gd name="T30" fmla="*/ 0 w 20000"/>
                <a:gd name="T31" fmla="*/ 39 h 20000"/>
                <a:gd name="T32" fmla="*/ 11 w 20000"/>
                <a:gd name="T33" fmla="*/ 39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0000" h="20000">
                  <a:moveTo>
                    <a:pt x="3000" y="19792"/>
                  </a:moveTo>
                  <a:lnTo>
                    <a:pt x="3778" y="17708"/>
                  </a:lnTo>
                  <a:lnTo>
                    <a:pt x="4778" y="17708"/>
                  </a:lnTo>
                  <a:lnTo>
                    <a:pt x="7556" y="12708"/>
                  </a:lnTo>
                  <a:lnTo>
                    <a:pt x="15000" y="5625"/>
                  </a:lnTo>
                  <a:lnTo>
                    <a:pt x="16889" y="3542"/>
                  </a:lnTo>
                  <a:lnTo>
                    <a:pt x="18000" y="3542"/>
                  </a:lnTo>
                  <a:lnTo>
                    <a:pt x="19889" y="0"/>
                  </a:lnTo>
                  <a:lnTo>
                    <a:pt x="14222" y="0"/>
                  </a:lnTo>
                  <a:lnTo>
                    <a:pt x="9333" y="3542"/>
                  </a:lnTo>
                  <a:lnTo>
                    <a:pt x="7556" y="7083"/>
                  </a:lnTo>
                  <a:lnTo>
                    <a:pt x="4778" y="9167"/>
                  </a:lnTo>
                  <a:lnTo>
                    <a:pt x="1889" y="12708"/>
                  </a:lnTo>
                  <a:lnTo>
                    <a:pt x="1111" y="16250"/>
                  </a:lnTo>
                  <a:lnTo>
                    <a:pt x="0" y="19792"/>
                  </a:lnTo>
                  <a:lnTo>
                    <a:pt x="3000" y="1979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7" name="Freeform 9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23" y="3034"/>
              <a:ext cx="62" cy="18"/>
            </a:xfrm>
            <a:custGeom>
              <a:avLst/>
              <a:gdLst>
                <a:gd name="T0" fmla="*/ 28 w 20000"/>
                <a:gd name="T1" fmla="*/ 18 h 20000"/>
                <a:gd name="T2" fmla="*/ 31 w 20000"/>
                <a:gd name="T3" fmla="*/ 14 h 20000"/>
                <a:gd name="T4" fmla="*/ 37 w 20000"/>
                <a:gd name="T5" fmla="*/ 18 h 20000"/>
                <a:gd name="T6" fmla="*/ 41 w 20000"/>
                <a:gd name="T7" fmla="*/ 14 h 20000"/>
                <a:gd name="T8" fmla="*/ 55 w 20000"/>
                <a:gd name="T9" fmla="*/ 11 h 20000"/>
                <a:gd name="T10" fmla="*/ 62 w 20000"/>
                <a:gd name="T11" fmla="*/ 4 h 20000"/>
                <a:gd name="T12" fmla="*/ 58 w 20000"/>
                <a:gd name="T13" fmla="*/ 0 h 20000"/>
                <a:gd name="T14" fmla="*/ 55 w 20000"/>
                <a:gd name="T15" fmla="*/ 4 h 20000"/>
                <a:gd name="T16" fmla="*/ 55 w 20000"/>
                <a:gd name="T17" fmla="*/ 7 h 20000"/>
                <a:gd name="T18" fmla="*/ 51 w 20000"/>
                <a:gd name="T19" fmla="*/ 7 h 20000"/>
                <a:gd name="T20" fmla="*/ 48 w 20000"/>
                <a:gd name="T21" fmla="*/ 11 h 20000"/>
                <a:gd name="T22" fmla="*/ 35 w 20000"/>
                <a:gd name="T23" fmla="*/ 7 h 20000"/>
                <a:gd name="T24" fmla="*/ 31 w 20000"/>
                <a:gd name="T25" fmla="*/ 11 h 20000"/>
                <a:gd name="T26" fmla="*/ 24 w 20000"/>
                <a:gd name="T27" fmla="*/ 7 h 20000"/>
                <a:gd name="T28" fmla="*/ 14 w 20000"/>
                <a:gd name="T29" fmla="*/ 4 h 20000"/>
                <a:gd name="T30" fmla="*/ 4 w 20000"/>
                <a:gd name="T31" fmla="*/ 7 h 20000"/>
                <a:gd name="T32" fmla="*/ 0 w 20000"/>
                <a:gd name="T33" fmla="*/ 11 h 20000"/>
                <a:gd name="T34" fmla="*/ 0 w 20000"/>
                <a:gd name="T35" fmla="*/ 14 h 20000"/>
                <a:gd name="T36" fmla="*/ 14 w 20000"/>
                <a:gd name="T37" fmla="*/ 14 h 20000"/>
                <a:gd name="T38" fmla="*/ 17 w 20000"/>
                <a:gd name="T39" fmla="*/ 18 h 20000"/>
                <a:gd name="T40" fmla="*/ 28 w 20000"/>
                <a:gd name="T41" fmla="*/ 18 h 2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0000" h="20000">
                  <a:moveTo>
                    <a:pt x="8974" y="19556"/>
                  </a:moveTo>
                  <a:lnTo>
                    <a:pt x="9872" y="15111"/>
                  </a:lnTo>
                  <a:lnTo>
                    <a:pt x="12051" y="19556"/>
                  </a:lnTo>
                  <a:lnTo>
                    <a:pt x="13333" y="15111"/>
                  </a:lnTo>
                  <a:lnTo>
                    <a:pt x="17692" y="12000"/>
                  </a:lnTo>
                  <a:lnTo>
                    <a:pt x="19872" y="4444"/>
                  </a:lnTo>
                  <a:lnTo>
                    <a:pt x="18590" y="0"/>
                  </a:lnTo>
                  <a:lnTo>
                    <a:pt x="17692" y="4444"/>
                  </a:lnTo>
                  <a:lnTo>
                    <a:pt x="17692" y="7556"/>
                  </a:lnTo>
                  <a:lnTo>
                    <a:pt x="16410" y="7556"/>
                  </a:lnTo>
                  <a:lnTo>
                    <a:pt x="15513" y="12000"/>
                  </a:lnTo>
                  <a:lnTo>
                    <a:pt x="11154" y="7556"/>
                  </a:lnTo>
                  <a:lnTo>
                    <a:pt x="9872" y="12000"/>
                  </a:lnTo>
                  <a:lnTo>
                    <a:pt x="7692" y="7556"/>
                  </a:lnTo>
                  <a:lnTo>
                    <a:pt x="4359" y="4444"/>
                  </a:lnTo>
                  <a:lnTo>
                    <a:pt x="1282" y="7556"/>
                  </a:lnTo>
                  <a:lnTo>
                    <a:pt x="0" y="12000"/>
                  </a:lnTo>
                  <a:lnTo>
                    <a:pt x="0" y="15111"/>
                  </a:lnTo>
                  <a:lnTo>
                    <a:pt x="4359" y="15111"/>
                  </a:lnTo>
                  <a:lnTo>
                    <a:pt x="5513" y="19556"/>
                  </a:lnTo>
                  <a:lnTo>
                    <a:pt x="8974" y="1955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8" name="Freeform 9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66" y="2845"/>
              <a:ext cx="30" cy="58"/>
            </a:xfrm>
            <a:custGeom>
              <a:avLst/>
              <a:gdLst>
                <a:gd name="T0" fmla="*/ 14 w 20000"/>
                <a:gd name="T1" fmla="*/ 58 h 20000"/>
                <a:gd name="T2" fmla="*/ 10 w 20000"/>
                <a:gd name="T3" fmla="*/ 37 h 20000"/>
                <a:gd name="T4" fmla="*/ 10 w 20000"/>
                <a:gd name="T5" fmla="*/ 33 h 20000"/>
                <a:gd name="T6" fmla="*/ 28 w 20000"/>
                <a:gd name="T7" fmla="*/ 37 h 20000"/>
                <a:gd name="T8" fmla="*/ 14 w 20000"/>
                <a:gd name="T9" fmla="*/ 27 h 20000"/>
                <a:gd name="T10" fmla="*/ 24 w 20000"/>
                <a:gd name="T11" fmla="*/ 20 h 20000"/>
                <a:gd name="T12" fmla="*/ 24 w 20000"/>
                <a:gd name="T13" fmla="*/ 14 h 20000"/>
                <a:gd name="T14" fmla="*/ 14 w 20000"/>
                <a:gd name="T15" fmla="*/ 17 h 20000"/>
                <a:gd name="T16" fmla="*/ 14 w 20000"/>
                <a:gd name="T17" fmla="*/ 20 h 20000"/>
                <a:gd name="T18" fmla="*/ 10 w 20000"/>
                <a:gd name="T19" fmla="*/ 20 h 20000"/>
                <a:gd name="T20" fmla="*/ 7 w 20000"/>
                <a:gd name="T21" fmla="*/ 24 h 20000"/>
                <a:gd name="T22" fmla="*/ 3 w 20000"/>
                <a:gd name="T23" fmla="*/ 20 h 20000"/>
                <a:gd name="T24" fmla="*/ 10 w 20000"/>
                <a:gd name="T25" fmla="*/ 17 h 20000"/>
                <a:gd name="T26" fmla="*/ 7 w 20000"/>
                <a:gd name="T27" fmla="*/ 7 h 20000"/>
                <a:gd name="T28" fmla="*/ 10 w 20000"/>
                <a:gd name="T29" fmla="*/ 0 h 20000"/>
                <a:gd name="T30" fmla="*/ 3 w 20000"/>
                <a:gd name="T31" fmla="*/ 11 h 20000"/>
                <a:gd name="T32" fmla="*/ 0 w 20000"/>
                <a:gd name="T33" fmla="*/ 20 h 20000"/>
                <a:gd name="T34" fmla="*/ 0 w 20000"/>
                <a:gd name="T35" fmla="*/ 27 h 20000"/>
                <a:gd name="T36" fmla="*/ 3 w 20000"/>
                <a:gd name="T37" fmla="*/ 33 h 20000"/>
                <a:gd name="T38" fmla="*/ 3 w 20000"/>
                <a:gd name="T39" fmla="*/ 37 h 20000"/>
                <a:gd name="T40" fmla="*/ 7 w 20000"/>
                <a:gd name="T41" fmla="*/ 47 h 20000"/>
                <a:gd name="T42" fmla="*/ 14 w 20000"/>
                <a:gd name="T43" fmla="*/ 58 h 200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0000" h="20000">
                  <a:moveTo>
                    <a:pt x="9855" y="19863"/>
                  </a:moveTo>
                  <a:lnTo>
                    <a:pt x="6957" y="12877"/>
                  </a:lnTo>
                  <a:lnTo>
                    <a:pt x="6957" y="11507"/>
                  </a:lnTo>
                  <a:lnTo>
                    <a:pt x="19710" y="12877"/>
                  </a:lnTo>
                  <a:lnTo>
                    <a:pt x="9855" y="9178"/>
                  </a:lnTo>
                  <a:lnTo>
                    <a:pt x="16812" y="6986"/>
                  </a:lnTo>
                  <a:lnTo>
                    <a:pt x="16812" y="4658"/>
                  </a:lnTo>
                  <a:lnTo>
                    <a:pt x="9855" y="5890"/>
                  </a:lnTo>
                  <a:lnTo>
                    <a:pt x="9855" y="6986"/>
                  </a:lnTo>
                  <a:lnTo>
                    <a:pt x="6957" y="6986"/>
                  </a:lnTo>
                  <a:lnTo>
                    <a:pt x="4928" y="8219"/>
                  </a:lnTo>
                  <a:lnTo>
                    <a:pt x="2029" y="6986"/>
                  </a:lnTo>
                  <a:lnTo>
                    <a:pt x="6957" y="5890"/>
                  </a:lnTo>
                  <a:lnTo>
                    <a:pt x="4928" y="2329"/>
                  </a:lnTo>
                  <a:lnTo>
                    <a:pt x="6957" y="0"/>
                  </a:lnTo>
                  <a:lnTo>
                    <a:pt x="2029" y="3699"/>
                  </a:lnTo>
                  <a:lnTo>
                    <a:pt x="0" y="6986"/>
                  </a:lnTo>
                  <a:lnTo>
                    <a:pt x="0" y="9178"/>
                  </a:lnTo>
                  <a:lnTo>
                    <a:pt x="2029" y="11507"/>
                  </a:lnTo>
                  <a:lnTo>
                    <a:pt x="2029" y="12877"/>
                  </a:lnTo>
                  <a:lnTo>
                    <a:pt x="4928" y="16164"/>
                  </a:lnTo>
                  <a:lnTo>
                    <a:pt x="9855" y="1986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89" name="Freeform 9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73" y="2940"/>
              <a:ext cx="55" cy="18"/>
            </a:xfrm>
            <a:custGeom>
              <a:avLst/>
              <a:gdLst>
                <a:gd name="T0" fmla="*/ 55 w 20000"/>
                <a:gd name="T1" fmla="*/ 18 h 20000"/>
                <a:gd name="T2" fmla="*/ 55 w 20000"/>
                <a:gd name="T3" fmla="*/ 11 h 20000"/>
                <a:gd name="T4" fmla="*/ 51 w 20000"/>
                <a:gd name="T5" fmla="*/ 7 h 20000"/>
                <a:gd name="T6" fmla="*/ 45 w 20000"/>
                <a:gd name="T7" fmla="*/ 0 h 20000"/>
                <a:gd name="T8" fmla="*/ 37 w 20000"/>
                <a:gd name="T9" fmla="*/ 0 h 20000"/>
                <a:gd name="T10" fmla="*/ 30 w 20000"/>
                <a:gd name="T11" fmla="*/ 0 h 20000"/>
                <a:gd name="T12" fmla="*/ 27 w 20000"/>
                <a:gd name="T13" fmla="*/ 0 h 20000"/>
                <a:gd name="T14" fmla="*/ 20 w 20000"/>
                <a:gd name="T15" fmla="*/ 0 h 20000"/>
                <a:gd name="T16" fmla="*/ 7 w 20000"/>
                <a:gd name="T17" fmla="*/ 0 h 20000"/>
                <a:gd name="T18" fmla="*/ 0 w 20000"/>
                <a:gd name="T19" fmla="*/ 7 h 20000"/>
                <a:gd name="T20" fmla="*/ 3 w 20000"/>
                <a:gd name="T21" fmla="*/ 11 h 20000"/>
                <a:gd name="T22" fmla="*/ 7 w 20000"/>
                <a:gd name="T23" fmla="*/ 7 h 20000"/>
                <a:gd name="T24" fmla="*/ 7 w 20000"/>
                <a:gd name="T25" fmla="*/ 7 h 20000"/>
                <a:gd name="T26" fmla="*/ 14 w 20000"/>
                <a:gd name="T27" fmla="*/ 11 h 20000"/>
                <a:gd name="T28" fmla="*/ 20 w 20000"/>
                <a:gd name="T29" fmla="*/ 7 h 20000"/>
                <a:gd name="T30" fmla="*/ 20 w 20000"/>
                <a:gd name="T31" fmla="*/ 11 h 20000"/>
                <a:gd name="T32" fmla="*/ 30 w 20000"/>
                <a:gd name="T33" fmla="*/ 11 h 20000"/>
                <a:gd name="T34" fmla="*/ 30 w 20000"/>
                <a:gd name="T35" fmla="*/ 7 h 20000"/>
                <a:gd name="T36" fmla="*/ 37 w 20000"/>
                <a:gd name="T37" fmla="*/ 11 h 20000"/>
                <a:gd name="T38" fmla="*/ 55 w 20000"/>
                <a:gd name="T39" fmla="*/ 18 h 200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000" h="20000">
                  <a:moveTo>
                    <a:pt x="19854" y="19556"/>
                  </a:moveTo>
                  <a:lnTo>
                    <a:pt x="19854" y="12000"/>
                  </a:lnTo>
                  <a:lnTo>
                    <a:pt x="18686" y="7556"/>
                  </a:lnTo>
                  <a:lnTo>
                    <a:pt x="16204" y="0"/>
                  </a:lnTo>
                  <a:lnTo>
                    <a:pt x="13431" y="0"/>
                  </a:lnTo>
                  <a:lnTo>
                    <a:pt x="10949" y="0"/>
                  </a:lnTo>
                  <a:lnTo>
                    <a:pt x="9927" y="0"/>
                  </a:lnTo>
                  <a:lnTo>
                    <a:pt x="7445" y="0"/>
                  </a:lnTo>
                  <a:lnTo>
                    <a:pt x="2482" y="0"/>
                  </a:lnTo>
                  <a:lnTo>
                    <a:pt x="0" y="7556"/>
                  </a:lnTo>
                  <a:lnTo>
                    <a:pt x="1022" y="12000"/>
                  </a:lnTo>
                  <a:lnTo>
                    <a:pt x="2482" y="7556"/>
                  </a:lnTo>
                  <a:lnTo>
                    <a:pt x="4964" y="12000"/>
                  </a:lnTo>
                  <a:lnTo>
                    <a:pt x="7445" y="7556"/>
                  </a:lnTo>
                  <a:lnTo>
                    <a:pt x="7445" y="12000"/>
                  </a:lnTo>
                  <a:lnTo>
                    <a:pt x="10949" y="12000"/>
                  </a:lnTo>
                  <a:lnTo>
                    <a:pt x="10949" y="7556"/>
                  </a:lnTo>
                  <a:lnTo>
                    <a:pt x="13431" y="12000"/>
                  </a:lnTo>
                  <a:lnTo>
                    <a:pt x="19854" y="1955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0" name="Freeform 9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70" y="3034"/>
              <a:ext cx="44" cy="18"/>
            </a:xfrm>
            <a:custGeom>
              <a:avLst/>
              <a:gdLst>
                <a:gd name="T0" fmla="*/ 0 w 20000"/>
                <a:gd name="T1" fmla="*/ 11 h 20000"/>
                <a:gd name="T2" fmla="*/ 7 w 20000"/>
                <a:gd name="T3" fmla="*/ 7 h 20000"/>
                <a:gd name="T4" fmla="*/ 14 w 20000"/>
                <a:gd name="T5" fmla="*/ 7 h 20000"/>
                <a:gd name="T6" fmla="*/ 18 w 20000"/>
                <a:gd name="T7" fmla="*/ 11 h 20000"/>
                <a:gd name="T8" fmla="*/ 20 w 20000"/>
                <a:gd name="T9" fmla="*/ 11 h 20000"/>
                <a:gd name="T10" fmla="*/ 24 w 20000"/>
                <a:gd name="T11" fmla="*/ 7 h 20000"/>
                <a:gd name="T12" fmla="*/ 18 w 20000"/>
                <a:gd name="T13" fmla="*/ 4 h 20000"/>
                <a:gd name="T14" fmla="*/ 24 w 20000"/>
                <a:gd name="T15" fmla="*/ 0 h 20000"/>
                <a:gd name="T16" fmla="*/ 27 w 20000"/>
                <a:gd name="T17" fmla="*/ 4 h 20000"/>
                <a:gd name="T18" fmla="*/ 31 w 20000"/>
                <a:gd name="T19" fmla="*/ 4 h 20000"/>
                <a:gd name="T20" fmla="*/ 38 w 20000"/>
                <a:gd name="T21" fmla="*/ 7 h 20000"/>
                <a:gd name="T22" fmla="*/ 41 w 20000"/>
                <a:gd name="T23" fmla="*/ 4 h 20000"/>
                <a:gd name="T24" fmla="*/ 45 w 20000"/>
                <a:gd name="T25" fmla="*/ 14 h 20000"/>
                <a:gd name="T26" fmla="*/ 31 w 20000"/>
                <a:gd name="T27" fmla="*/ 14 h 20000"/>
                <a:gd name="T28" fmla="*/ 31 w 20000"/>
                <a:gd name="T29" fmla="*/ 11 h 20000"/>
                <a:gd name="T30" fmla="*/ 27 w 20000"/>
                <a:gd name="T31" fmla="*/ 11 h 20000"/>
                <a:gd name="T32" fmla="*/ 24 w 20000"/>
                <a:gd name="T33" fmla="*/ 18 h 20000"/>
                <a:gd name="T34" fmla="*/ 18 w 20000"/>
                <a:gd name="T35" fmla="*/ 18 h 20000"/>
                <a:gd name="T36" fmla="*/ 0 w 20000"/>
                <a:gd name="T37" fmla="*/ 18 h 20000"/>
                <a:gd name="T38" fmla="*/ 0 w 20000"/>
                <a:gd name="T39" fmla="*/ 11 h 200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000" h="20000">
                  <a:moveTo>
                    <a:pt x="0" y="12000"/>
                  </a:moveTo>
                  <a:lnTo>
                    <a:pt x="3009" y="7556"/>
                  </a:lnTo>
                  <a:lnTo>
                    <a:pt x="6018" y="7556"/>
                  </a:lnTo>
                  <a:lnTo>
                    <a:pt x="7788" y="12000"/>
                  </a:lnTo>
                  <a:lnTo>
                    <a:pt x="9027" y="12000"/>
                  </a:lnTo>
                  <a:lnTo>
                    <a:pt x="10796" y="7556"/>
                  </a:lnTo>
                  <a:lnTo>
                    <a:pt x="7788" y="4444"/>
                  </a:lnTo>
                  <a:lnTo>
                    <a:pt x="10796" y="0"/>
                  </a:lnTo>
                  <a:lnTo>
                    <a:pt x="12035" y="4444"/>
                  </a:lnTo>
                  <a:lnTo>
                    <a:pt x="13805" y="4444"/>
                  </a:lnTo>
                  <a:lnTo>
                    <a:pt x="16814" y="7556"/>
                  </a:lnTo>
                  <a:lnTo>
                    <a:pt x="18053" y="4444"/>
                  </a:lnTo>
                  <a:lnTo>
                    <a:pt x="19823" y="15111"/>
                  </a:lnTo>
                  <a:lnTo>
                    <a:pt x="13805" y="15111"/>
                  </a:lnTo>
                  <a:lnTo>
                    <a:pt x="13805" y="12000"/>
                  </a:lnTo>
                  <a:lnTo>
                    <a:pt x="12035" y="12000"/>
                  </a:lnTo>
                  <a:lnTo>
                    <a:pt x="10796" y="19556"/>
                  </a:lnTo>
                  <a:lnTo>
                    <a:pt x="7788" y="19556"/>
                  </a:lnTo>
                  <a:lnTo>
                    <a:pt x="0" y="19556"/>
                  </a:lnTo>
                  <a:lnTo>
                    <a:pt x="0" y="1200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1" name="Freeform 9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961" y="2994"/>
              <a:ext cx="164" cy="55"/>
            </a:xfrm>
            <a:custGeom>
              <a:avLst/>
              <a:gdLst>
                <a:gd name="T0" fmla="*/ 166 w 20000"/>
                <a:gd name="T1" fmla="*/ 54 h 20000"/>
                <a:gd name="T2" fmla="*/ 166 w 20000"/>
                <a:gd name="T3" fmla="*/ 50 h 20000"/>
                <a:gd name="T4" fmla="*/ 162 w 20000"/>
                <a:gd name="T5" fmla="*/ 44 h 20000"/>
                <a:gd name="T6" fmla="*/ 162 w 20000"/>
                <a:gd name="T7" fmla="*/ 37 h 20000"/>
                <a:gd name="T8" fmla="*/ 166 w 20000"/>
                <a:gd name="T9" fmla="*/ 34 h 20000"/>
                <a:gd name="T10" fmla="*/ 159 w 20000"/>
                <a:gd name="T11" fmla="*/ 30 h 20000"/>
                <a:gd name="T12" fmla="*/ 149 w 20000"/>
                <a:gd name="T13" fmla="*/ 30 h 20000"/>
                <a:gd name="T14" fmla="*/ 145 w 20000"/>
                <a:gd name="T15" fmla="*/ 34 h 20000"/>
                <a:gd name="T16" fmla="*/ 136 w 20000"/>
                <a:gd name="T17" fmla="*/ 27 h 20000"/>
                <a:gd name="T18" fmla="*/ 129 w 20000"/>
                <a:gd name="T19" fmla="*/ 17 h 20000"/>
                <a:gd name="T20" fmla="*/ 122 w 20000"/>
                <a:gd name="T21" fmla="*/ 13 h 20000"/>
                <a:gd name="T22" fmla="*/ 111 w 20000"/>
                <a:gd name="T23" fmla="*/ 13 h 20000"/>
                <a:gd name="T24" fmla="*/ 108 w 20000"/>
                <a:gd name="T25" fmla="*/ 13 h 20000"/>
                <a:gd name="T26" fmla="*/ 105 w 20000"/>
                <a:gd name="T27" fmla="*/ 11 h 20000"/>
                <a:gd name="T28" fmla="*/ 98 w 20000"/>
                <a:gd name="T29" fmla="*/ 11 h 20000"/>
                <a:gd name="T30" fmla="*/ 94 w 20000"/>
                <a:gd name="T31" fmla="*/ 17 h 20000"/>
                <a:gd name="T32" fmla="*/ 88 w 20000"/>
                <a:gd name="T33" fmla="*/ 17 h 20000"/>
                <a:gd name="T34" fmla="*/ 61 w 20000"/>
                <a:gd name="T35" fmla="*/ 13 h 20000"/>
                <a:gd name="T36" fmla="*/ 58 w 20000"/>
                <a:gd name="T37" fmla="*/ 4 h 20000"/>
                <a:gd name="T38" fmla="*/ 51 w 20000"/>
                <a:gd name="T39" fmla="*/ 7 h 20000"/>
                <a:gd name="T40" fmla="*/ 47 w 20000"/>
                <a:gd name="T41" fmla="*/ 4 h 20000"/>
                <a:gd name="T42" fmla="*/ 40 w 20000"/>
                <a:gd name="T43" fmla="*/ 0 h 20000"/>
                <a:gd name="T44" fmla="*/ 34 w 20000"/>
                <a:gd name="T45" fmla="*/ 0 h 20000"/>
                <a:gd name="T46" fmla="*/ 34 w 20000"/>
                <a:gd name="T47" fmla="*/ 4 h 20000"/>
                <a:gd name="T48" fmla="*/ 17 w 20000"/>
                <a:gd name="T49" fmla="*/ 0 h 20000"/>
                <a:gd name="T50" fmla="*/ 14 w 20000"/>
                <a:gd name="T51" fmla="*/ 7 h 20000"/>
                <a:gd name="T52" fmla="*/ 7 w 20000"/>
                <a:gd name="T53" fmla="*/ 13 h 20000"/>
                <a:gd name="T54" fmla="*/ 4 w 20000"/>
                <a:gd name="T55" fmla="*/ 13 h 20000"/>
                <a:gd name="T56" fmla="*/ 0 w 20000"/>
                <a:gd name="T57" fmla="*/ 13 h 20000"/>
                <a:gd name="T58" fmla="*/ 11 w 20000"/>
                <a:gd name="T59" fmla="*/ 17 h 20000"/>
                <a:gd name="T60" fmla="*/ 24 w 20000"/>
                <a:gd name="T61" fmla="*/ 20 h 20000"/>
                <a:gd name="T62" fmla="*/ 20 w 20000"/>
                <a:gd name="T63" fmla="*/ 24 h 20000"/>
                <a:gd name="T64" fmla="*/ 40 w 20000"/>
                <a:gd name="T65" fmla="*/ 27 h 20000"/>
                <a:gd name="T66" fmla="*/ 58 w 20000"/>
                <a:gd name="T67" fmla="*/ 34 h 20000"/>
                <a:gd name="T68" fmla="*/ 71 w 20000"/>
                <a:gd name="T69" fmla="*/ 30 h 20000"/>
                <a:gd name="T70" fmla="*/ 92 w 20000"/>
                <a:gd name="T71" fmla="*/ 37 h 20000"/>
                <a:gd name="T72" fmla="*/ 101 w 20000"/>
                <a:gd name="T73" fmla="*/ 40 h 20000"/>
                <a:gd name="T74" fmla="*/ 115 w 20000"/>
                <a:gd name="T75" fmla="*/ 44 h 20000"/>
                <a:gd name="T76" fmla="*/ 122 w 20000"/>
                <a:gd name="T77" fmla="*/ 44 h 20000"/>
                <a:gd name="T78" fmla="*/ 132 w 20000"/>
                <a:gd name="T79" fmla="*/ 47 h 20000"/>
                <a:gd name="T80" fmla="*/ 143 w 20000"/>
                <a:gd name="T81" fmla="*/ 44 h 20000"/>
                <a:gd name="T82" fmla="*/ 156 w 20000"/>
                <a:gd name="T83" fmla="*/ 50 h 20000"/>
                <a:gd name="T84" fmla="*/ 166 w 20000"/>
                <a:gd name="T85" fmla="*/ 54 h 2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000" h="20000">
                  <a:moveTo>
                    <a:pt x="19952" y="19854"/>
                  </a:moveTo>
                  <a:lnTo>
                    <a:pt x="19952" y="18686"/>
                  </a:lnTo>
                  <a:lnTo>
                    <a:pt x="19568" y="16204"/>
                  </a:lnTo>
                  <a:lnTo>
                    <a:pt x="19568" y="13723"/>
                  </a:lnTo>
                  <a:lnTo>
                    <a:pt x="19952" y="12409"/>
                  </a:lnTo>
                  <a:lnTo>
                    <a:pt x="19137" y="11241"/>
                  </a:lnTo>
                  <a:lnTo>
                    <a:pt x="17986" y="11241"/>
                  </a:lnTo>
                  <a:lnTo>
                    <a:pt x="17506" y="12409"/>
                  </a:lnTo>
                  <a:lnTo>
                    <a:pt x="16355" y="9927"/>
                  </a:lnTo>
                  <a:lnTo>
                    <a:pt x="15540" y="6423"/>
                  </a:lnTo>
                  <a:lnTo>
                    <a:pt x="14724" y="4964"/>
                  </a:lnTo>
                  <a:lnTo>
                    <a:pt x="13429" y="4964"/>
                  </a:lnTo>
                  <a:lnTo>
                    <a:pt x="12998" y="4964"/>
                  </a:lnTo>
                  <a:lnTo>
                    <a:pt x="12614" y="3942"/>
                  </a:lnTo>
                  <a:lnTo>
                    <a:pt x="11799" y="3942"/>
                  </a:lnTo>
                  <a:lnTo>
                    <a:pt x="11367" y="6423"/>
                  </a:lnTo>
                  <a:lnTo>
                    <a:pt x="10552" y="6423"/>
                  </a:lnTo>
                  <a:lnTo>
                    <a:pt x="7290" y="4964"/>
                  </a:lnTo>
                  <a:lnTo>
                    <a:pt x="6954" y="1460"/>
                  </a:lnTo>
                  <a:lnTo>
                    <a:pt x="6139" y="2482"/>
                  </a:lnTo>
                  <a:lnTo>
                    <a:pt x="5659" y="1460"/>
                  </a:lnTo>
                  <a:lnTo>
                    <a:pt x="4844" y="0"/>
                  </a:lnTo>
                  <a:lnTo>
                    <a:pt x="4077" y="0"/>
                  </a:lnTo>
                  <a:lnTo>
                    <a:pt x="4077" y="1460"/>
                  </a:lnTo>
                  <a:lnTo>
                    <a:pt x="2062" y="0"/>
                  </a:lnTo>
                  <a:lnTo>
                    <a:pt x="1631" y="2482"/>
                  </a:lnTo>
                  <a:lnTo>
                    <a:pt x="815" y="4964"/>
                  </a:lnTo>
                  <a:lnTo>
                    <a:pt x="480" y="4964"/>
                  </a:lnTo>
                  <a:lnTo>
                    <a:pt x="0" y="4964"/>
                  </a:lnTo>
                  <a:lnTo>
                    <a:pt x="1295" y="6423"/>
                  </a:lnTo>
                  <a:lnTo>
                    <a:pt x="2878" y="7445"/>
                  </a:lnTo>
                  <a:lnTo>
                    <a:pt x="2446" y="8905"/>
                  </a:lnTo>
                  <a:lnTo>
                    <a:pt x="4844" y="9927"/>
                  </a:lnTo>
                  <a:lnTo>
                    <a:pt x="6954" y="12409"/>
                  </a:lnTo>
                  <a:lnTo>
                    <a:pt x="8585" y="11241"/>
                  </a:lnTo>
                  <a:lnTo>
                    <a:pt x="11031" y="13723"/>
                  </a:lnTo>
                  <a:lnTo>
                    <a:pt x="12182" y="14891"/>
                  </a:lnTo>
                  <a:lnTo>
                    <a:pt x="13909" y="16204"/>
                  </a:lnTo>
                  <a:lnTo>
                    <a:pt x="14724" y="16204"/>
                  </a:lnTo>
                  <a:lnTo>
                    <a:pt x="15875" y="17372"/>
                  </a:lnTo>
                  <a:lnTo>
                    <a:pt x="17170" y="16204"/>
                  </a:lnTo>
                  <a:lnTo>
                    <a:pt x="18753" y="18686"/>
                  </a:lnTo>
                  <a:lnTo>
                    <a:pt x="19952" y="19854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2" name="Freeform 9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782" y="2781"/>
              <a:ext cx="199" cy="213"/>
            </a:xfrm>
            <a:custGeom>
              <a:avLst/>
              <a:gdLst>
                <a:gd name="T0" fmla="*/ 170 w 20000"/>
                <a:gd name="T1" fmla="*/ 206 h 20000"/>
                <a:gd name="T2" fmla="*/ 177 w 20000"/>
                <a:gd name="T3" fmla="*/ 209 h 20000"/>
                <a:gd name="T4" fmla="*/ 191 w 20000"/>
                <a:gd name="T5" fmla="*/ 209 h 20000"/>
                <a:gd name="T6" fmla="*/ 194 w 20000"/>
                <a:gd name="T7" fmla="*/ 172 h 20000"/>
                <a:gd name="T8" fmla="*/ 198 w 20000"/>
                <a:gd name="T9" fmla="*/ 158 h 20000"/>
                <a:gd name="T10" fmla="*/ 187 w 20000"/>
                <a:gd name="T11" fmla="*/ 145 h 20000"/>
                <a:gd name="T12" fmla="*/ 173 w 20000"/>
                <a:gd name="T13" fmla="*/ 149 h 20000"/>
                <a:gd name="T14" fmla="*/ 170 w 20000"/>
                <a:gd name="T15" fmla="*/ 131 h 20000"/>
                <a:gd name="T16" fmla="*/ 157 w 20000"/>
                <a:gd name="T17" fmla="*/ 118 h 20000"/>
                <a:gd name="T18" fmla="*/ 157 w 20000"/>
                <a:gd name="T19" fmla="*/ 108 h 20000"/>
                <a:gd name="T20" fmla="*/ 157 w 20000"/>
                <a:gd name="T21" fmla="*/ 104 h 20000"/>
                <a:gd name="T22" fmla="*/ 150 w 20000"/>
                <a:gd name="T23" fmla="*/ 95 h 20000"/>
                <a:gd name="T24" fmla="*/ 136 w 20000"/>
                <a:gd name="T25" fmla="*/ 98 h 20000"/>
                <a:gd name="T26" fmla="*/ 139 w 20000"/>
                <a:gd name="T27" fmla="*/ 91 h 20000"/>
                <a:gd name="T28" fmla="*/ 123 w 20000"/>
                <a:gd name="T29" fmla="*/ 81 h 20000"/>
                <a:gd name="T30" fmla="*/ 112 w 20000"/>
                <a:gd name="T31" fmla="*/ 74 h 20000"/>
                <a:gd name="T32" fmla="*/ 106 w 20000"/>
                <a:gd name="T33" fmla="*/ 61 h 20000"/>
                <a:gd name="T34" fmla="*/ 88 w 20000"/>
                <a:gd name="T35" fmla="*/ 50 h 20000"/>
                <a:gd name="T36" fmla="*/ 54 w 20000"/>
                <a:gd name="T37" fmla="*/ 27 h 20000"/>
                <a:gd name="T38" fmla="*/ 41 w 20000"/>
                <a:gd name="T39" fmla="*/ 7 h 20000"/>
                <a:gd name="T40" fmla="*/ 11 w 20000"/>
                <a:gd name="T41" fmla="*/ 0 h 20000"/>
                <a:gd name="T42" fmla="*/ 0 w 20000"/>
                <a:gd name="T43" fmla="*/ 7 h 20000"/>
                <a:gd name="T44" fmla="*/ 27 w 20000"/>
                <a:gd name="T45" fmla="*/ 37 h 20000"/>
                <a:gd name="T46" fmla="*/ 41 w 20000"/>
                <a:gd name="T47" fmla="*/ 50 h 20000"/>
                <a:gd name="T48" fmla="*/ 48 w 20000"/>
                <a:gd name="T49" fmla="*/ 61 h 20000"/>
                <a:gd name="T50" fmla="*/ 65 w 20000"/>
                <a:gd name="T51" fmla="*/ 74 h 20000"/>
                <a:gd name="T52" fmla="*/ 81 w 20000"/>
                <a:gd name="T53" fmla="*/ 102 h 20000"/>
                <a:gd name="T54" fmla="*/ 95 w 20000"/>
                <a:gd name="T55" fmla="*/ 121 h 20000"/>
                <a:gd name="T56" fmla="*/ 106 w 20000"/>
                <a:gd name="T57" fmla="*/ 138 h 20000"/>
                <a:gd name="T58" fmla="*/ 115 w 20000"/>
                <a:gd name="T59" fmla="*/ 158 h 20000"/>
                <a:gd name="T60" fmla="*/ 130 w 20000"/>
                <a:gd name="T61" fmla="*/ 176 h 20000"/>
                <a:gd name="T62" fmla="*/ 153 w 20000"/>
                <a:gd name="T63" fmla="*/ 192 h 20000"/>
                <a:gd name="T64" fmla="*/ 170 w 20000"/>
                <a:gd name="T65" fmla="*/ 213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0000" h="20000">
                  <a:moveTo>
                    <a:pt x="17212" y="19962"/>
                  </a:moveTo>
                  <a:lnTo>
                    <a:pt x="17212" y="19325"/>
                  </a:lnTo>
                  <a:lnTo>
                    <a:pt x="17899" y="19662"/>
                  </a:lnTo>
                  <a:lnTo>
                    <a:pt x="18182" y="19024"/>
                  </a:lnTo>
                  <a:lnTo>
                    <a:pt x="19273" y="19662"/>
                  </a:lnTo>
                  <a:lnTo>
                    <a:pt x="19556" y="17148"/>
                  </a:lnTo>
                  <a:lnTo>
                    <a:pt x="19556" y="16135"/>
                  </a:lnTo>
                  <a:lnTo>
                    <a:pt x="19273" y="15872"/>
                  </a:lnTo>
                  <a:lnTo>
                    <a:pt x="19960" y="14859"/>
                  </a:lnTo>
                  <a:lnTo>
                    <a:pt x="19556" y="14597"/>
                  </a:lnTo>
                  <a:lnTo>
                    <a:pt x="18869" y="13583"/>
                  </a:lnTo>
                  <a:lnTo>
                    <a:pt x="18182" y="13583"/>
                  </a:lnTo>
                  <a:lnTo>
                    <a:pt x="17495" y="13959"/>
                  </a:lnTo>
                  <a:lnTo>
                    <a:pt x="17899" y="13321"/>
                  </a:lnTo>
                  <a:lnTo>
                    <a:pt x="17212" y="12345"/>
                  </a:lnTo>
                  <a:lnTo>
                    <a:pt x="16808" y="11407"/>
                  </a:lnTo>
                  <a:lnTo>
                    <a:pt x="15838" y="11069"/>
                  </a:lnTo>
                  <a:lnTo>
                    <a:pt x="15152" y="10807"/>
                  </a:lnTo>
                  <a:lnTo>
                    <a:pt x="15838" y="10169"/>
                  </a:lnTo>
                  <a:lnTo>
                    <a:pt x="15152" y="10169"/>
                  </a:lnTo>
                  <a:lnTo>
                    <a:pt x="15838" y="9794"/>
                  </a:lnTo>
                  <a:lnTo>
                    <a:pt x="15434" y="9156"/>
                  </a:lnTo>
                  <a:lnTo>
                    <a:pt x="15152" y="8893"/>
                  </a:lnTo>
                  <a:lnTo>
                    <a:pt x="14465" y="9156"/>
                  </a:lnTo>
                  <a:lnTo>
                    <a:pt x="13778" y="9156"/>
                  </a:lnTo>
                  <a:lnTo>
                    <a:pt x="14465" y="8893"/>
                  </a:lnTo>
                  <a:lnTo>
                    <a:pt x="14061" y="8518"/>
                  </a:lnTo>
                  <a:lnTo>
                    <a:pt x="13091" y="7880"/>
                  </a:lnTo>
                  <a:lnTo>
                    <a:pt x="12404" y="7617"/>
                  </a:lnTo>
                  <a:lnTo>
                    <a:pt x="12040" y="6979"/>
                  </a:lnTo>
                  <a:lnTo>
                    <a:pt x="11354" y="6979"/>
                  </a:lnTo>
                  <a:lnTo>
                    <a:pt x="10949" y="5966"/>
                  </a:lnTo>
                  <a:lnTo>
                    <a:pt x="10667" y="5704"/>
                  </a:lnTo>
                  <a:lnTo>
                    <a:pt x="9980" y="5966"/>
                  </a:lnTo>
                  <a:lnTo>
                    <a:pt x="8889" y="4728"/>
                  </a:lnTo>
                  <a:lnTo>
                    <a:pt x="7919" y="4090"/>
                  </a:lnTo>
                  <a:lnTo>
                    <a:pt x="5455" y="2552"/>
                  </a:lnTo>
                  <a:lnTo>
                    <a:pt x="5455" y="1914"/>
                  </a:lnTo>
                  <a:lnTo>
                    <a:pt x="4121" y="638"/>
                  </a:lnTo>
                  <a:lnTo>
                    <a:pt x="2747" y="638"/>
                  </a:lnTo>
                  <a:lnTo>
                    <a:pt x="1091" y="0"/>
                  </a:lnTo>
                  <a:lnTo>
                    <a:pt x="0" y="0"/>
                  </a:lnTo>
                  <a:lnTo>
                    <a:pt x="0" y="638"/>
                  </a:lnTo>
                  <a:lnTo>
                    <a:pt x="404" y="1538"/>
                  </a:lnTo>
                  <a:lnTo>
                    <a:pt x="2747" y="3452"/>
                  </a:lnTo>
                  <a:lnTo>
                    <a:pt x="3111" y="3452"/>
                  </a:lnTo>
                  <a:lnTo>
                    <a:pt x="4121" y="4728"/>
                  </a:lnTo>
                  <a:lnTo>
                    <a:pt x="4485" y="4728"/>
                  </a:lnTo>
                  <a:lnTo>
                    <a:pt x="4808" y="5704"/>
                  </a:lnTo>
                  <a:lnTo>
                    <a:pt x="6828" y="6604"/>
                  </a:lnTo>
                  <a:lnTo>
                    <a:pt x="6545" y="6979"/>
                  </a:lnTo>
                  <a:lnTo>
                    <a:pt x="7515" y="9156"/>
                  </a:lnTo>
                  <a:lnTo>
                    <a:pt x="8202" y="9531"/>
                  </a:lnTo>
                  <a:lnTo>
                    <a:pt x="8606" y="10169"/>
                  </a:lnTo>
                  <a:lnTo>
                    <a:pt x="9576" y="11407"/>
                  </a:lnTo>
                  <a:lnTo>
                    <a:pt x="9576" y="11707"/>
                  </a:lnTo>
                  <a:lnTo>
                    <a:pt x="10667" y="12983"/>
                  </a:lnTo>
                  <a:lnTo>
                    <a:pt x="10667" y="13321"/>
                  </a:lnTo>
                  <a:lnTo>
                    <a:pt x="11636" y="14859"/>
                  </a:lnTo>
                  <a:lnTo>
                    <a:pt x="13091" y="15872"/>
                  </a:lnTo>
                  <a:lnTo>
                    <a:pt x="13091" y="16510"/>
                  </a:lnTo>
                  <a:lnTo>
                    <a:pt x="14747" y="17411"/>
                  </a:lnTo>
                  <a:lnTo>
                    <a:pt x="15434" y="18049"/>
                  </a:lnTo>
                  <a:lnTo>
                    <a:pt x="16121" y="18424"/>
                  </a:lnTo>
                  <a:lnTo>
                    <a:pt x="17212" y="1996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3" name="Freeform 9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31" y="2889"/>
              <a:ext cx="180" cy="170"/>
            </a:xfrm>
            <a:custGeom>
              <a:avLst/>
              <a:gdLst>
                <a:gd name="T0" fmla="*/ 166 w 20000"/>
                <a:gd name="T1" fmla="*/ 41 h 20000"/>
                <a:gd name="T2" fmla="*/ 122 w 20000"/>
                <a:gd name="T3" fmla="*/ 23 h 20000"/>
                <a:gd name="T4" fmla="*/ 111 w 20000"/>
                <a:gd name="T5" fmla="*/ 37 h 20000"/>
                <a:gd name="T6" fmla="*/ 81 w 20000"/>
                <a:gd name="T7" fmla="*/ 57 h 20000"/>
                <a:gd name="T8" fmla="*/ 67 w 20000"/>
                <a:gd name="T9" fmla="*/ 54 h 20000"/>
                <a:gd name="T10" fmla="*/ 67 w 20000"/>
                <a:gd name="T11" fmla="*/ 48 h 20000"/>
                <a:gd name="T12" fmla="*/ 61 w 20000"/>
                <a:gd name="T13" fmla="*/ 44 h 20000"/>
                <a:gd name="T14" fmla="*/ 54 w 20000"/>
                <a:gd name="T15" fmla="*/ 30 h 20000"/>
                <a:gd name="T16" fmla="*/ 54 w 20000"/>
                <a:gd name="T17" fmla="*/ 14 h 20000"/>
                <a:gd name="T18" fmla="*/ 37 w 20000"/>
                <a:gd name="T19" fmla="*/ 7 h 20000"/>
                <a:gd name="T20" fmla="*/ 14 w 20000"/>
                <a:gd name="T21" fmla="*/ 7 h 20000"/>
                <a:gd name="T22" fmla="*/ 0 w 20000"/>
                <a:gd name="T23" fmla="*/ 16 h 20000"/>
                <a:gd name="T24" fmla="*/ 14 w 20000"/>
                <a:gd name="T25" fmla="*/ 23 h 20000"/>
                <a:gd name="T26" fmla="*/ 20 w 20000"/>
                <a:gd name="T27" fmla="*/ 30 h 20000"/>
                <a:gd name="T28" fmla="*/ 37 w 20000"/>
                <a:gd name="T29" fmla="*/ 37 h 20000"/>
                <a:gd name="T30" fmla="*/ 50 w 20000"/>
                <a:gd name="T31" fmla="*/ 41 h 20000"/>
                <a:gd name="T32" fmla="*/ 44 w 20000"/>
                <a:gd name="T33" fmla="*/ 44 h 20000"/>
                <a:gd name="T34" fmla="*/ 30 w 20000"/>
                <a:gd name="T35" fmla="*/ 48 h 20000"/>
                <a:gd name="T36" fmla="*/ 16 w 20000"/>
                <a:gd name="T37" fmla="*/ 50 h 20000"/>
                <a:gd name="T38" fmla="*/ 30 w 20000"/>
                <a:gd name="T39" fmla="*/ 54 h 20000"/>
                <a:gd name="T40" fmla="*/ 30 w 20000"/>
                <a:gd name="T41" fmla="*/ 64 h 20000"/>
                <a:gd name="T42" fmla="*/ 41 w 20000"/>
                <a:gd name="T43" fmla="*/ 68 h 20000"/>
                <a:gd name="T44" fmla="*/ 47 w 20000"/>
                <a:gd name="T45" fmla="*/ 54 h 20000"/>
                <a:gd name="T46" fmla="*/ 50 w 20000"/>
                <a:gd name="T47" fmla="*/ 54 h 20000"/>
                <a:gd name="T48" fmla="*/ 54 w 20000"/>
                <a:gd name="T49" fmla="*/ 68 h 20000"/>
                <a:gd name="T50" fmla="*/ 57 w 20000"/>
                <a:gd name="T51" fmla="*/ 68 h 20000"/>
                <a:gd name="T52" fmla="*/ 70 w 20000"/>
                <a:gd name="T53" fmla="*/ 68 h 20000"/>
                <a:gd name="T54" fmla="*/ 67 w 20000"/>
                <a:gd name="T55" fmla="*/ 71 h 20000"/>
                <a:gd name="T56" fmla="*/ 88 w 20000"/>
                <a:gd name="T57" fmla="*/ 81 h 20000"/>
                <a:gd name="T58" fmla="*/ 125 w 20000"/>
                <a:gd name="T59" fmla="*/ 102 h 20000"/>
                <a:gd name="T60" fmla="*/ 135 w 20000"/>
                <a:gd name="T61" fmla="*/ 125 h 20000"/>
                <a:gd name="T62" fmla="*/ 142 w 20000"/>
                <a:gd name="T63" fmla="*/ 149 h 20000"/>
                <a:gd name="T64" fmla="*/ 159 w 20000"/>
                <a:gd name="T65" fmla="*/ 149 h 20000"/>
                <a:gd name="T66" fmla="*/ 180 w 20000"/>
                <a:gd name="T67" fmla="*/ 48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0000" h="20000">
                  <a:moveTo>
                    <a:pt x="19956" y="5600"/>
                  </a:moveTo>
                  <a:lnTo>
                    <a:pt x="18448" y="4800"/>
                  </a:lnTo>
                  <a:lnTo>
                    <a:pt x="16497" y="4329"/>
                  </a:lnTo>
                  <a:lnTo>
                    <a:pt x="13525" y="2729"/>
                  </a:lnTo>
                  <a:lnTo>
                    <a:pt x="12018" y="3529"/>
                  </a:lnTo>
                  <a:lnTo>
                    <a:pt x="12328" y="4329"/>
                  </a:lnTo>
                  <a:lnTo>
                    <a:pt x="10510" y="4800"/>
                  </a:lnTo>
                  <a:lnTo>
                    <a:pt x="9002" y="6729"/>
                  </a:lnTo>
                  <a:lnTo>
                    <a:pt x="8248" y="7153"/>
                  </a:lnTo>
                  <a:lnTo>
                    <a:pt x="7494" y="6400"/>
                  </a:lnTo>
                  <a:lnTo>
                    <a:pt x="7494" y="5929"/>
                  </a:lnTo>
                  <a:lnTo>
                    <a:pt x="7494" y="5600"/>
                  </a:lnTo>
                  <a:lnTo>
                    <a:pt x="7095" y="5129"/>
                  </a:lnTo>
                  <a:lnTo>
                    <a:pt x="6741" y="5129"/>
                  </a:lnTo>
                  <a:lnTo>
                    <a:pt x="6741" y="5600"/>
                  </a:lnTo>
                  <a:lnTo>
                    <a:pt x="5987" y="3529"/>
                  </a:lnTo>
                  <a:lnTo>
                    <a:pt x="6341" y="2729"/>
                  </a:lnTo>
                  <a:lnTo>
                    <a:pt x="5987" y="1600"/>
                  </a:lnTo>
                  <a:lnTo>
                    <a:pt x="5588" y="1129"/>
                  </a:lnTo>
                  <a:lnTo>
                    <a:pt x="4080" y="800"/>
                  </a:lnTo>
                  <a:lnTo>
                    <a:pt x="3016" y="0"/>
                  </a:lnTo>
                  <a:lnTo>
                    <a:pt x="1508" y="800"/>
                  </a:lnTo>
                  <a:lnTo>
                    <a:pt x="310" y="1129"/>
                  </a:lnTo>
                  <a:lnTo>
                    <a:pt x="0" y="1929"/>
                  </a:lnTo>
                  <a:lnTo>
                    <a:pt x="0" y="2400"/>
                  </a:lnTo>
                  <a:lnTo>
                    <a:pt x="1508" y="2729"/>
                  </a:lnTo>
                  <a:lnTo>
                    <a:pt x="2262" y="3200"/>
                  </a:lnTo>
                  <a:lnTo>
                    <a:pt x="2262" y="3529"/>
                  </a:lnTo>
                  <a:lnTo>
                    <a:pt x="2572" y="4800"/>
                  </a:lnTo>
                  <a:lnTo>
                    <a:pt x="4080" y="4329"/>
                  </a:lnTo>
                  <a:lnTo>
                    <a:pt x="5233" y="4329"/>
                  </a:lnTo>
                  <a:lnTo>
                    <a:pt x="5588" y="4800"/>
                  </a:lnTo>
                  <a:lnTo>
                    <a:pt x="5233" y="5129"/>
                  </a:lnTo>
                  <a:lnTo>
                    <a:pt x="4834" y="5129"/>
                  </a:lnTo>
                  <a:lnTo>
                    <a:pt x="4523" y="5129"/>
                  </a:lnTo>
                  <a:lnTo>
                    <a:pt x="3326" y="5600"/>
                  </a:lnTo>
                  <a:lnTo>
                    <a:pt x="2572" y="5600"/>
                  </a:lnTo>
                  <a:lnTo>
                    <a:pt x="1818" y="5929"/>
                  </a:lnTo>
                  <a:lnTo>
                    <a:pt x="3016" y="5929"/>
                  </a:lnTo>
                  <a:lnTo>
                    <a:pt x="3326" y="6400"/>
                  </a:lnTo>
                  <a:lnTo>
                    <a:pt x="3769" y="6729"/>
                  </a:lnTo>
                  <a:lnTo>
                    <a:pt x="3326" y="7529"/>
                  </a:lnTo>
                  <a:lnTo>
                    <a:pt x="3769" y="8329"/>
                  </a:lnTo>
                  <a:lnTo>
                    <a:pt x="4523" y="7953"/>
                  </a:lnTo>
                  <a:lnTo>
                    <a:pt x="4834" y="7153"/>
                  </a:lnTo>
                  <a:lnTo>
                    <a:pt x="5233" y="6400"/>
                  </a:lnTo>
                  <a:lnTo>
                    <a:pt x="5588" y="5929"/>
                  </a:lnTo>
                  <a:lnTo>
                    <a:pt x="5588" y="6400"/>
                  </a:lnTo>
                  <a:lnTo>
                    <a:pt x="5233" y="7153"/>
                  </a:lnTo>
                  <a:lnTo>
                    <a:pt x="5987" y="7953"/>
                  </a:lnTo>
                  <a:lnTo>
                    <a:pt x="6341" y="7529"/>
                  </a:lnTo>
                  <a:lnTo>
                    <a:pt x="6341" y="7953"/>
                  </a:lnTo>
                  <a:lnTo>
                    <a:pt x="7494" y="7953"/>
                  </a:lnTo>
                  <a:lnTo>
                    <a:pt x="7805" y="7953"/>
                  </a:lnTo>
                  <a:lnTo>
                    <a:pt x="7805" y="8329"/>
                  </a:lnTo>
                  <a:lnTo>
                    <a:pt x="7494" y="8329"/>
                  </a:lnTo>
                  <a:lnTo>
                    <a:pt x="8248" y="9129"/>
                  </a:lnTo>
                  <a:lnTo>
                    <a:pt x="9756" y="9553"/>
                  </a:lnTo>
                  <a:lnTo>
                    <a:pt x="12328" y="10729"/>
                  </a:lnTo>
                  <a:lnTo>
                    <a:pt x="13836" y="11953"/>
                  </a:lnTo>
                  <a:lnTo>
                    <a:pt x="14989" y="13882"/>
                  </a:lnTo>
                  <a:lnTo>
                    <a:pt x="14989" y="14682"/>
                  </a:lnTo>
                  <a:lnTo>
                    <a:pt x="15743" y="16282"/>
                  </a:lnTo>
                  <a:lnTo>
                    <a:pt x="15743" y="17553"/>
                  </a:lnTo>
                  <a:lnTo>
                    <a:pt x="16497" y="17882"/>
                  </a:lnTo>
                  <a:lnTo>
                    <a:pt x="17694" y="17553"/>
                  </a:lnTo>
                  <a:lnTo>
                    <a:pt x="19512" y="19953"/>
                  </a:lnTo>
                  <a:lnTo>
                    <a:pt x="19956" y="560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4" name="Freeform 9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06" y="2852"/>
              <a:ext cx="120" cy="140"/>
            </a:xfrm>
            <a:custGeom>
              <a:avLst/>
              <a:gdLst>
                <a:gd name="T0" fmla="*/ 23 w 20000"/>
                <a:gd name="T1" fmla="*/ 136 h 20000"/>
                <a:gd name="T2" fmla="*/ 30 w 20000"/>
                <a:gd name="T3" fmla="*/ 126 h 20000"/>
                <a:gd name="T4" fmla="*/ 30 w 20000"/>
                <a:gd name="T5" fmla="*/ 102 h 20000"/>
                <a:gd name="T6" fmla="*/ 30 w 20000"/>
                <a:gd name="T7" fmla="*/ 88 h 20000"/>
                <a:gd name="T8" fmla="*/ 41 w 20000"/>
                <a:gd name="T9" fmla="*/ 81 h 20000"/>
                <a:gd name="T10" fmla="*/ 41 w 20000"/>
                <a:gd name="T11" fmla="*/ 95 h 20000"/>
                <a:gd name="T12" fmla="*/ 54 w 20000"/>
                <a:gd name="T13" fmla="*/ 108 h 20000"/>
                <a:gd name="T14" fmla="*/ 61 w 20000"/>
                <a:gd name="T15" fmla="*/ 122 h 20000"/>
                <a:gd name="T16" fmla="*/ 68 w 20000"/>
                <a:gd name="T17" fmla="*/ 115 h 20000"/>
                <a:gd name="T18" fmla="*/ 79 w 20000"/>
                <a:gd name="T19" fmla="*/ 108 h 20000"/>
                <a:gd name="T20" fmla="*/ 72 w 20000"/>
                <a:gd name="T21" fmla="*/ 102 h 20000"/>
                <a:gd name="T22" fmla="*/ 68 w 20000"/>
                <a:gd name="T23" fmla="*/ 95 h 20000"/>
                <a:gd name="T24" fmla="*/ 48 w 20000"/>
                <a:gd name="T25" fmla="*/ 68 h 20000"/>
                <a:gd name="T26" fmla="*/ 68 w 20000"/>
                <a:gd name="T27" fmla="*/ 58 h 20000"/>
                <a:gd name="T28" fmla="*/ 85 w 20000"/>
                <a:gd name="T29" fmla="*/ 51 h 20000"/>
                <a:gd name="T30" fmla="*/ 81 w 20000"/>
                <a:gd name="T31" fmla="*/ 44 h 20000"/>
                <a:gd name="T32" fmla="*/ 75 w 20000"/>
                <a:gd name="T33" fmla="*/ 48 h 20000"/>
                <a:gd name="T34" fmla="*/ 61 w 20000"/>
                <a:gd name="T35" fmla="*/ 51 h 20000"/>
                <a:gd name="T36" fmla="*/ 51 w 20000"/>
                <a:gd name="T37" fmla="*/ 48 h 20000"/>
                <a:gd name="T38" fmla="*/ 38 w 20000"/>
                <a:gd name="T39" fmla="*/ 58 h 20000"/>
                <a:gd name="T40" fmla="*/ 34 w 20000"/>
                <a:gd name="T41" fmla="*/ 51 h 20000"/>
                <a:gd name="T42" fmla="*/ 27 w 20000"/>
                <a:gd name="T43" fmla="*/ 34 h 20000"/>
                <a:gd name="T44" fmla="*/ 38 w 20000"/>
                <a:gd name="T45" fmla="*/ 24 h 20000"/>
                <a:gd name="T46" fmla="*/ 54 w 20000"/>
                <a:gd name="T47" fmla="*/ 24 h 20000"/>
                <a:gd name="T48" fmla="*/ 81 w 20000"/>
                <a:gd name="T49" fmla="*/ 27 h 20000"/>
                <a:gd name="T50" fmla="*/ 106 w 20000"/>
                <a:gd name="T51" fmla="*/ 27 h 20000"/>
                <a:gd name="T52" fmla="*/ 116 w 20000"/>
                <a:gd name="T53" fmla="*/ 14 h 20000"/>
                <a:gd name="T54" fmla="*/ 116 w 20000"/>
                <a:gd name="T55" fmla="*/ 0 h 20000"/>
                <a:gd name="T56" fmla="*/ 102 w 20000"/>
                <a:gd name="T57" fmla="*/ 18 h 20000"/>
                <a:gd name="T58" fmla="*/ 65 w 20000"/>
                <a:gd name="T59" fmla="*/ 14 h 20000"/>
                <a:gd name="T60" fmla="*/ 51 w 20000"/>
                <a:gd name="T61" fmla="*/ 11 h 20000"/>
                <a:gd name="T62" fmla="*/ 38 w 20000"/>
                <a:gd name="T63" fmla="*/ 18 h 20000"/>
                <a:gd name="T64" fmla="*/ 30 w 20000"/>
                <a:gd name="T65" fmla="*/ 14 h 20000"/>
                <a:gd name="T66" fmla="*/ 23 w 20000"/>
                <a:gd name="T67" fmla="*/ 31 h 20000"/>
                <a:gd name="T68" fmla="*/ 20 w 20000"/>
                <a:gd name="T69" fmla="*/ 48 h 20000"/>
                <a:gd name="T70" fmla="*/ 10 w 20000"/>
                <a:gd name="T71" fmla="*/ 61 h 20000"/>
                <a:gd name="T72" fmla="*/ 10 w 20000"/>
                <a:gd name="T73" fmla="*/ 74 h 20000"/>
                <a:gd name="T74" fmla="*/ 0 w 20000"/>
                <a:gd name="T75" fmla="*/ 85 h 20000"/>
                <a:gd name="T76" fmla="*/ 3 w 20000"/>
                <a:gd name="T77" fmla="*/ 99 h 20000"/>
                <a:gd name="T78" fmla="*/ 14 w 20000"/>
                <a:gd name="T79" fmla="*/ 106 h 20000"/>
                <a:gd name="T80" fmla="*/ 14 w 20000"/>
                <a:gd name="T81" fmla="*/ 129 h 20000"/>
                <a:gd name="T82" fmla="*/ 20 w 20000"/>
                <a:gd name="T83" fmla="*/ 140 h 200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0000" h="20000">
                  <a:moveTo>
                    <a:pt x="3411" y="19943"/>
                  </a:moveTo>
                  <a:lnTo>
                    <a:pt x="3880" y="19371"/>
                  </a:lnTo>
                  <a:lnTo>
                    <a:pt x="5017" y="19943"/>
                  </a:lnTo>
                  <a:lnTo>
                    <a:pt x="5017" y="18000"/>
                  </a:lnTo>
                  <a:lnTo>
                    <a:pt x="5017" y="16457"/>
                  </a:lnTo>
                  <a:lnTo>
                    <a:pt x="5017" y="14514"/>
                  </a:lnTo>
                  <a:lnTo>
                    <a:pt x="5017" y="13143"/>
                  </a:lnTo>
                  <a:lnTo>
                    <a:pt x="5017" y="12571"/>
                  </a:lnTo>
                  <a:lnTo>
                    <a:pt x="6288" y="12171"/>
                  </a:lnTo>
                  <a:lnTo>
                    <a:pt x="6823" y="11600"/>
                  </a:lnTo>
                  <a:lnTo>
                    <a:pt x="7425" y="12571"/>
                  </a:lnTo>
                  <a:lnTo>
                    <a:pt x="6823" y="13543"/>
                  </a:lnTo>
                  <a:lnTo>
                    <a:pt x="6823" y="14114"/>
                  </a:lnTo>
                  <a:lnTo>
                    <a:pt x="9030" y="15486"/>
                  </a:lnTo>
                  <a:lnTo>
                    <a:pt x="8562" y="17429"/>
                  </a:lnTo>
                  <a:lnTo>
                    <a:pt x="10167" y="17429"/>
                  </a:lnTo>
                  <a:lnTo>
                    <a:pt x="10167" y="17029"/>
                  </a:lnTo>
                  <a:lnTo>
                    <a:pt x="11304" y="16457"/>
                  </a:lnTo>
                  <a:lnTo>
                    <a:pt x="13110" y="16457"/>
                  </a:lnTo>
                  <a:lnTo>
                    <a:pt x="13110" y="15486"/>
                  </a:lnTo>
                  <a:lnTo>
                    <a:pt x="11973" y="15486"/>
                  </a:lnTo>
                  <a:lnTo>
                    <a:pt x="11973" y="14514"/>
                  </a:lnTo>
                  <a:lnTo>
                    <a:pt x="10836" y="14514"/>
                  </a:lnTo>
                  <a:lnTo>
                    <a:pt x="11304" y="13543"/>
                  </a:lnTo>
                  <a:lnTo>
                    <a:pt x="11304" y="12571"/>
                  </a:lnTo>
                  <a:lnTo>
                    <a:pt x="7960" y="9657"/>
                  </a:lnTo>
                  <a:lnTo>
                    <a:pt x="9030" y="9657"/>
                  </a:lnTo>
                  <a:lnTo>
                    <a:pt x="11304" y="8286"/>
                  </a:lnTo>
                  <a:lnTo>
                    <a:pt x="13110" y="7314"/>
                  </a:lnTo>
                  <a:lnTo>
                    <a:pt x="14247" y="7314"/>
                  </a:lnTo>
                  <a:lnTo>
                    <a:pt x="14716" y="6800"/>
                  </a:lnTo>
                  <a:lnTo>
                    <a:pt x="13579" y="6343"/>
                  </a:lnTo>
                  <a:lnTo>
                    <a:pt x="13110" y="6343"/>
                  </a:lnTo>
                  <a:lnTo>
                    <a:pt x="12441" y="6800"/>
                  </a:lnTo>
                  <a:lnTo>
                    <a:pt x="10836" y="6800"/>
                  </a:lnTo>
                  <a:lnTo>
                    <a:pt x="10167" y="7314"/>
                  </a:lnTo>
                  <a:lnTo>
                    <a:pt x="9699" y="7314"/>
                  </a:lnTo>
                  <a:lnTo>
                    <a:pt x="8562" y="6800"/>
                  </a:lnTo>
                  <a:lnTo>
                    <a:pt x="7425" y="8286"/>
                  </a:lnTo>
                  <a:lnTo>
                    <a:pt x="6288" y="8286"/>
                  </a:lnTo>
                  <a:lnTo>
                    <a:pt x="5686" y="7314"/>
                  </a:lnTo>
                  <a:lnTo>
                    <a:pt x="4548" y="6800"/>
                  </a:lnTo>
                  <a:lnTo>
                    <a:pt x="4548" y="4857"/>
                  </a:lnTo>
                  <a:lnTo>
                    <a:pt x="5017" y="3486"/>
                  </a:lnTo>
                  <a:lnTo>
                    <a:pt x="6288" y="3486"/>
                  </a:lnTo>
                  <a:lnTo>
                    <a:pt x="7960" y="3486"/>
                  </a:lnTo>
                  <a:lnTo>
                    <a:pt x="9030" y="3486"/>
                  </a:lnTo>
                  <a:lnTo>
                    <a:pt x="10836" y="3886"/>
                  </a:lnTo>
                  <a:lnTo>
                    <a:pt x="13579" y="3886"/>
                  </a:lnTo>
                  <a:lnTo>
                    <a:pt x="14716" y="3886"/>
                  </a:lnTo>
                  <a:lnTo>
                    <a:pt x="17659" y="3886"/>
                  </a:lnTo>
                  <a:lnTo>
                    <a:pt x="18127" y="2914"/>
                  </a:lnTo>
                  <a:lnTo>
                    <a:pt x="19264" y="1943"/>
                  </a:lnTo>
                  <a:lnTo>
                    <a:pt x="19933" y="571"/>
                  </a:lnTo>
                  <a:lnTo>
                    <a:pt x="19264" y="0"/>
                  </a:lnTo>
                  <a:lnTo>
                    <a:pt x="18796" y="971"/>
                  </a:lnTo>
                  <a:lnTo>
                    <a:pt x="16990" y="2514"/>
                  </a:lnTo>
                  <a:lnTo>
                    <a:pt x="13579" y="2514"/>
                  </a:lnTo>
                  <a:lnTo>
                    <a:pt x="10836" y="1943"/>
                  </a:lnTo>
                  <a:lnTo>
                    <a:pt x="8562" y="1943"/>
                  </a:lnTo>
                  <a:lnTo>
                    <a:pt x="8562" y="1543"/>
                  </a:lnTo>
                  <a:lnTo>
                    <a:pt x="6823" y="1543"/>
                  </a:lnTo>
                  <a:lnTo>
                    <a:pt x="6288" y="2514"/>
                  </a:lnTo>
                  <a:lnTo>
                    <a:pt x="5686" y="2914"/>
                  </a:lnTo>
                  <a:lnTo>
                    <a:pt x="5017" y="1943"/>
                  </a:lnTo>
                  <a:lnTo>
                    <a:pt x="4548" y="2514"/>
                  </a:lnTo>
                  <a:lnTo>
                    <a:pt x="3880" y="4400"/>
                  </a:lnTo>
                  <a:lnTo>
                    <a:pt x="3880" y="4857"/>
                  </a:lnTo>
                  <a:lnTo>
                    <a:pt x="3411" y="6800"/>
                  </a:lnTo>
                  <a:lnTo>
                    <a:pt x="2274" y="7314"/>
                  </a:lnTo>
                  <a:lnTo>
                    <a:pt x="1605" y="8743"/>
                  </a:lnTo>
                  <a:lnTo>
                    <a:pt x="2274" y="9657"/>
                  </a:lnTo>
                  <a:lnTo>
                    <a:pt x="1605" y="10629"/>
                  </a:lnTo>
                  <a:lnTo>
                    <a:pt x="1137" y="11600"/>
                  </a:lnTo>
                  <a:lnTo>
                    <a:pt x="0" y="12171"/>
                  </a:lnTo>
                  <a:lnTo>
                    <a:pt x="468" y="12571"/>
                  </a:lnTo>
                  <a:lnTo>
                    <a:pt x="468" y="14114"/>
                  </a:lnTo>
                  <a:lnTo>
                    <a:pt x="2274" y="14114"/>
                  </a:lnTo>
                  <a:lnTo>
                    <a:pt x="2274" y="15086"/>
                  </a:lnTo>
                  <a:lnTo>
                    <a:pt x="2742" y="17029"/>
                  </a:lnTo>
                  <a:lnTo>
                    <a:pt x="2274" y="18400"/>
                  </a:lnTo>
                  <a:lnTo>
                    <a:pt x="2274" y="19371"/>
                  </a:lnTo>
                  <a:lnTo>
                    <a:pt x="3411" y="1994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5" name="Freeform 9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51" y="2318"/>
              <a:ext cx="12" cy="7"/>
            </a:xfrm>
            <a:custGeom>
              <a:avLst/>
              <a:gdLst>
                <a:gd name="T0" fmla="*/ 3 w 20000"/>
                <a:gd name="T1" fmla="*/ 7 h 20000"/>
                <a:gd name="T2" fmla="*/ 7 w 20000"/>
                <a:gd name="T3" fmla="*/ 3 h 20000"/>
                <a:gd name="T4" fmla="*/ 11 w 20000"/>
                <a:gd name="T5" fmla="*/ 0 h 20000"/>
                <a:gd name="T6" fmla="*/ 0 w 20000"/>
                <a:gd name="T7" fmla="*/ 3 h 20000"/>
                <a:gd name="T8" fmla="*/ 3 w 20000"/>
                <a:gd name="T9" fmla="*/ 7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5385" y="18889"/>
                  </a:moveTo>
                  <a:lnTo>
                    <a:pt x="13077" y="7778"/>
                  </a:lnTo>
                  <a:lnTo>
                    <a:pt x="19231" y="0"/>
                  </a:lnTo>
                  <a:lnTo>
                    <a:pt x="0" y="7778"/>
                  </a:lnTo>
                  <a:lnTo>
                    <a:pt x="5385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6" name="Freeform 9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32" y="2354"/>
              <a:ext cx="10" cy="18"/>
            </a:xfrm>
            <a:custGeom>
              <a:avLst/>
              <a:gdLst>
                <a:gd name="T0" fmla="*/ 0 w 20000"/>
                <a:gd name="T1" fmla="*/ 18 h 20000"/>
                <a:gd name="T2" fmla="*/ 7 w 20000"/>
                <a:gd name="T3" fmla="*/ 18 h 20000"/>
                <a:gd name="T4" fmla="*/ 3 w 20000"/>
                <a:gd name="T5" fmla="*/ 14 h 20000"/>
                <a:gd name="T6" fmla="*/ 10 w 20000"/>
                <a:gd name="T7" fmla="*/ 0 h 20000"/>
                <a:gd name="T8" fmla="*/ 7 w 20000"/>
                <a:gd name="T9" fmla="*/ 4 h 20000"/>
                <a:gd name="T10" fmla="*/ 3 w 20000"/>
                <a:gd name="T11" fmla="*/ 4 h 20000"/>
                <a:gd name="T12" fmla="*/ 3 w 20000"/>
                <a:gd name="T13" fmla="*/ 7 h 20000"/>
                <a:gd name="T14" fmla="*/ 0 w 20000"/>
                <a:gd name="T15" fmla="*/ 14 h 20000"/>
                <a:gd name="T16" fmla="*/ 0 w 20000"/>
                <a:gd name="T17" fmla="*/ 18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000" h="20000">
                  <a:moveTo>
                    <a:pt x="0" y="19556"/>
                  </a:moveTo>
                  <a:lnTo>
                    <a:pt x="13077" y="19556"/>
                  </a:lnTo>
                  <a:lnTo>
                    <a:pt x="5385" y="15111"/>
                  </a:lnTo>
                  <a:lnTo>
                    <a:pt x="19231" y="0"/>
                  </a:lnTo>
                  <a:lnTo>
                    <a:pt x="13077" y="4444"/>
                  </a:lnTo>
                  <a:lnTo>
                    <a:pt x="5385" y="4444"/>
                  </a:lnTo>
                  <a:lnTo>
                    <a:pt x="5385" y="7556"/>
                  </a:lnTo>
                  <a:lnTo>
                    <a:pt x="0" y="15111"/>
                  </a:lnTo>
                  <a:lnTo>
                    <a:pt x="0" y="1955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7" name="Freeform 10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61" y="1871"/>
              <a:ext cx="95" cy="115"/>
            </a:xfrm>
            <a:custGeom>
              <a:avLst/>
              <a:gdLst>
                <a:gd name="T0" fmla="*/ 14 w 20000"/>
                <a:gd name="T1" fmla="*/ 116 h 20000"/>
                <a:gd name="T2" fmla="*/ 17 w 20000"/>
                <a:gd name="T3" fmla="*/ 116 h 20000"/>
                <a:gd name="T4" fmla="*/ 20 w 20000"/>
                <a:gd name="T5" fmla="*/ 109 h 20000"/>
                <a:gd name="T6" fmla="*/ 24 w 20000"/>
                <a:gd name="T7" fmla="*/ 109 h 20000"/>
                <a:gd name="T8" fmla="*/ 27 w 20000"/>
                <a:gd name="T9" fmla="*/ 102 h 20000"/>
                <a:gd name="T10" fmla="*/ 24 w 20000"/>
                <a:gd name="T11" fmla="*/ 102 h 20000"/>
                <a:gd name="T12" fmla="*/ 20 w 20000"/>
                <a:gd name="T13" fmla="*/ 95 h 20000"/>
                <a:gd name="T14" fmla="*/ 11 w 20000"/>
                <a:gd name="T15" fmla="*/ 91 h 20000"/>
                <a:gd name="T16" fmla="*/ 11 w 20000"/>
                <a:gd name="T17" fmla="*/ 88 h 20000"/>
                <a:gd name="T18" fmla="*/ 17 w 20000"/>
                <a:gd name="T19" fmla="*/ 84 h 20000"/>
                <a:gd name="T20" fmla="*/ 20 w 20000"/>
                <a:gd name="T21" fmla="*/ 91 h 20000"/>
                <a:gd name="T22" fmla="*/ 24 w 20000"/>
                <a:gd name="T23" fmla="*/ 84 h 20000"/>
                <a:gd name="T24" fmla="*/ 27 w 20000"/>
                <a:gd name="T25" fmla="*/ 81 h 20000"/>
                <a:gd name="T26" fmla="*/ 38 w 20000"/>
                <a:gd name="T27" fmla="*/ 84 h 20000"/>
                <a:gd name="T28" fmla="*/ 65 w 20000"/>
                <a:gd name="T29" fmla="*/ 95 h 20000"/>
                <a:gd name="T30" fmla="*/ 65 w 20000"/>
                <a:gd name="T31" fmla="*/ 88 h 20000"/>
                <a:gd name="T32" fmla="*/ 65 w 20000"/>
                <a:gd name="T33" fmla="*/ 75 h 20000"/>
                <a:gd name="T34" fmla="*/ 71 w 20000"/>
                <a:gd name="T35" fmla="*/ 68 h 20000"/>
                <a:gd name="T36" fmla="*/ 85 w 20000"/>
                <a:gd name="T37" fmla="*/ 64 h 20000"/>
                <a:gd name="T38" fmla="*/ 88 w 20000"/>
                <a:gd name="T39" fmla="*/ 61 h 20000"/>
                <a:gd name="T40" fmla="*/ 95 w 20000"/>
                <a:gd name="T41" fmla="*/ 57 h 20000"/>
                <a:gd name="T42" fmla="*/ 95 w 20000"/>
                <a:gd name="T43" fmla="*/ 54 h 20000"/>
                <a:gd name="T44" fmla="*/ 88 w 20000"/>
                <a:gd name="T45" fmla="*/ 57 h 20000"/>
                <a:gd name="T46" fmla="*/ 81 w 20000"/>
                <a:gd name="T47" fmla="*/ 44 h 20000"/>
                <a:gd name="T48" fmla="*/ 81 w 20000"/>
                <a:gd name="T49" fmla="*/ 30 h 20000"/>
                <a:gd name="T50" fmla="*/ 78 w 20000"/>
                <a:gd name="T51" fmla="*/ 27 h 20000"/>
                <a:gd name="T52" fmla="*/ 74 w 20000"/>
                <a:gd name="T53" fmla="*/ 41 h 20000"/>
                <a:gd name="T54" fmla="*/ 67 w 20000"/>
                <a:gd name="T55" fmla="*/ 41 h 20000"/>
                <a:gd name="T56" fmla="*/ 61 w 20000"/>
                <a:gd name="T57" fmla="*/ 34 h 20000"/>
                <a:gd name="T58" fmla="*/ 54 w 20000"/>
                <a:gd name="T59" fmla="*/ 34 h 20000"/>
                <a:gd name="T60" fmla="*/ 38 w 20000"/>
                <a:gd name="T61" fmla="*/ 23 h 20000"/>
                <a:gd name="T62" fmla="*/ 20 w 20000"/>
                <a:gd name="T63" fmla="*/ 7 h 20000"/>
                <a:gd name="T64" fmla="*/ 11 w 20000"/>
                <a:gd name="T65" fmla="*/ 0 h 20000"/>
                <a:gd name="T66" fmla="*/ 7 w 20000"/>
                <a:gd name="T67" fmla="*/ 3 h 20000"/>
                <a:gd name="T68" fmla="*/ 14 w 20000"/>
                <a:gd name="T69" fmla="*/ 16 h 20000"/>
                <a:gd name="T70" fmla="*/ 17 w 20000"/>
                <a:gd name="T71" fmla="*/ 37 h 20000"/>
                <a:gd name="T72" fmla="*/ 20 w 20000"/>
                <a:gd name="T73" fmla="*/ 51 h 20000"/>
                <a:gd name="T74" fmla="*/ 17 w 20000"/>
                <a:gd name="T75" fmla="*/ 51 h 20000"/>
                <a:gd name="T76" fmla="*/ 20 w 20000"/>
                <a:gd name="T77" fmla="*/ 64 h 20000"/>
                <a:gd name="T78" fmla="*/ 11 w 20000"/>
                <a:gd name="T79" fmla="*/ 64 h 20000"/>
                <a:gd name="T80" fmla="*/ 4 w 20000"/>
                <a:gd name="T81" fmla="*/ 61 h 20000"/>
                <a:gd name="T82" fmla="*/ 0 w 20000"/>
                <a:gd name="T83" fmla="*/ 64 h 20000"/>
                <a:gd name="T84" fmla="*/ 7 w 20000"/>
                <a:gd name="T85" fmla="*/ 75 h 20000"/>
                <a:gd name="T86" fmla="*/ 0 w 20000"/>
                <a:gd name="T87" fmla="*/ 84 h 20000"/>
                <a:gd name="T88" fmla="*/ 0 w 20000"/>
                <a:gd name="T89" fmla="*/ 95 h 20000"/>
                <a:gd name="T90" fmla="*/ 11 w 20000"/>
                <a:gd name="T91" fmla="*/ 102 h 20000"/>
                <a:gd name="T92" fmla="*/ 11 w 20000"/>
                <a:gd name="T93" fmla="*/ 112 h 20000"/>
                <a:gd name="T94" fmla="*/ 14 w 20000"/>
                <a:gd name="T95" fmla="*/ 116 h 2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0000" h="20000">
                  <a:moveTo>
                    <a:pt x="2857" y="19931"/>
                  </a:moveTo>
                  <a:lnTo>
                    <a:pt x="3613" y="19931"/>
                  </a:lnTo>
                  <a:lnTo>
                    <a:pt x="4286" y="18754"/>
                  </a:lnTo>
                  <a:lnTo>
                    <a:pt x="5042" y="18754"/>
                  </a:lnTo>
                  <a:lnTo>
                    <a:pt x="5714" y="17578"/>
                  </a:lnTo>
                  <a:lnTo>
                    <a:pt x="5042" y="17578"/>
                  </a:lnTo>
                  <a:lnTo>
                    <a:pt x="4286" y="16401"/>
                  </a:lnTo>
                  <a:lnTo>
                    <a:pt x="2269" y="15709"/>
                  </a:lnTo>
                  <a:lnTo>
                    <a:pt x="2269" y="15225"/>
                  </a:lnTo>
                  <a:lnTo>
                    <a:pt x="3613" y="14533"/>
                  </a:lnTo>
                  <a:lnTo>
                    <a:pt x="4286" y="15709"/>
                  </a:lnTo>
                  <a:lnTo>
                    <a:pt x="5042" y="14533"/>
                  </a:lnTo>
                  <a:lnTo>
                    <a:pt x="5714" y="14048"/>
                  </a:lnTo>
                  <a:lnTo>
                    <a:pt x="7899" y="14533"/>
                  </a:lnTo>
                  <a:lnTo>
                    <a:pt x="13613" y="16401"/>
                  </a:lnTo>
                  <a:lnTo>
                    <a:pt x="13613" y="15225"/>
                  </a:lnTo>
                  <a:lnTo>
                    <a:pt x="13613" y="12872"/>
                  </a:lnTo>
                  <a:lnTo>
                    <a:pt x="15042" y="11696"/>
                  </a:lnTo>
                  <a:lnTo>
                    <a:pt x="17815" y="11073"/>
                  </a:lnTo>
                  <a:lnTo>
                    <a:pt x="18487" y="10519"/>
                  </a:lnTo>
                  <a:lnTo>
                    <a:pt x="19916" y="9896"/>
                  </a:lnTo>
                  <a:lnTo>
                    <a:pt x="19916" y="9343"/>
                  </a:lnTo>
                  <a:lnTo>
                    <a:pt x="18487" y="9896"/>
                  </a:lnTo>
                  <a:lnTo>
                    <a:pt x="17059" y="7543"/>
                  </a:lnTo>
                  <a:lnTo>
                    <a:pt x="17059" y="5190"/>
                  </a:lnTo>
                  <a:lnTo>
                    <a:pt x="16471" y="4706"/>
                  </a:lnTo>
                  <a:lnTo>
                    <a:pt x="15630" y="7059"/>
                  </a:lnTo>
                  <a:lnTo>
                    <a:pt x="14202" y="7059"/>
                  </a:lnTo>
                  <a:lnTo>
                    <a:pt x="12773" y="5882"/>
                  </a:lnTo>
                  <a:lnTo>
                    <a:pt x="11345" y="5882"/>
                  </a:lnTo>
                  <a:lnTo>
                    <a:pt x="7899" y="4014"/>
                  </a:lnTo>
                  <a:lnTo>
                    <a:pt x="4286" y="1176"/>
                  </a:lnTo>
                  <a:lnTo>
                    <a:pt x="2269" y="0"/>
                  </a:lnTo>
                  <a:lnTo>
                    <a:pt x="1429" y="484"/>
                  </a:lnTo>
                  <a:lnTo>
                    <a:pt x="2857" y="2837"/>
                  </a:lnTo>
                  <a:lnTo>
                    <a:pt x="3613" y="6367"/>
                  </a:lnTo>
                  <a:lnTo>
                    <a:pt x="4286" y="8720"/>
                  </a:lnTo>
                  <a:lnTo>
                    <a:pt x="3613" y="8720"/>
                  </a:lnTo>
                  <a:lnTo>
                    <a:pt x="4286" y="11073"/>
                  </a:lnTo>
                  <a:lnTo>
                    <a:pt x="2269" y="11073"/>
                  </a:lnTo>
                  <a:lnTo>
                    <a:pt x="840" y="10519"/>
                  </a:lnTo>
                  <a:lnTo>
                    <a:pt x="0" y="11073"/>
                  </a:lnTo>
                  <a:lnTo>
                    <a:pt x="1429" y="12872"/>
                  </a:lnTo>
                  <a:lnTo>
                    <a:pt x="0" y="14533"/>
                  </a:lnTo>
                  <a:lnTo>
                    <a:pt x="0" y="16401"/>
                  </a:lnTo>
                  <a:lnTo>
                    <a:pt x="2269" y="17578"/>
                  </a:lnTo>
                  <a:lnTo>
                    <a:pt x="2269" y="19239"/>
                  </a:lnTo>
                  <a:lnTo>
                    <a:pt x="2857" y="1993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8" name="Freeform 10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55" y="1982"/>
              <a:ext cx="171" cy="215"/>
            </a:xfrm>
            <a:custGeom>
              <a:avLst/>
              <a:gdLst>
                <a:gd name="T0" fmla="*/ 96 w 20000"/>
                <a:gd name="T1" fmla="*/ 197 h 20000"/>
                <a:gd name="T2" fmla="*/ 106 w 20000"/>
                <a:gd name="T3" fmla="*/ 187 h 20000"/>
                <a:gd name="T4" fmla="*/ 99 w 20000"/>
                <a:gd name="T5" fmla="*/ 174 h 20000"/>
                <a:gd name="T6" fmla="*/ 103 w 20000"/>
                <a:gd name="T7" fmla="*/ 181 h 20000"/>
                <a:gd name="T8" fmla="*/ 109 w 20000"/>
                <a:gd name="T9" fmla="*/ 187 h 20000"/>
                <a:gd name="T10" fmla="*/ 126 w 20000"/>
                <a:gd name="T11" fmla="*/ 183 h 20000"/>
                <a:gd name="T12" fmla="*/ 133 w 20000"/>
                <a:gd name="T13" fmla="*/ 170 h 20000"/>
                <a:gd name="T14" fmla="*/ 143 w 20000"/>
                <a:gd name="T15" fmla="*/ 176 h 20000"/>
                <a:gd name="T16" fmla="*/ 146 w 20000"/>
                <a:gd name="T17" fmla="*/ 163 h 20000"/>
                <a:gd name="T18" fmla="*/ 150 w 20000"/>
                <a:gd name="T19" fmla="*/ 163 h 20000"/>
                <a:gd name="T20" fmla="*/ 157 w 20000"/>
                <a:gd name="T21" fmla="*/ 160 h 20000"/>
                <a:gd name="T22" fmla="*/ 164 w 20000"/>
                <a:gd name="T23" fmla="*/ 167 h 20000"/>
                <a:gd name="T24" fmla="*/ 171 w 20000"/>
                <a:gd name="T25" fmla="*/ 153 h 20000"/>
                <a:gd name="T26" fmla="*/ 164 w 20000"/>
                <a:gd name="T27" fmla="*/ 122 h 20000"/>
                <a:gd name="T28" fmla="*/ 157 w 20000"/>
                <a:gd name="T29" fmla="*/ 88 h 20000"/>
                <a:gd name="T30" fmla="*/ 167 w 20000"/>
                <a:gd name="T31" fmla="*/ 85 h 20000"/>
                <a:gd name="T32" fmla="*/ 167 w 20000"/>
                <a:gd name="T33" fmla="*/ 65 h 20000"/>
                <a:gd name="T34" fmla="*/ 164 w 20000"/>
                <a:gd name="T35" fmla="*/ 51 h 20000"/>
                <a:gd name="T36" fmla="*/ 153 w 20000"/>
                <a:gd name="T37" fmla="*/ 27 h 20000"/>
                <a:gd name="T38" fmla="*/ 143 w 20000"/>
                <a:gd name="T39" fmla="*/ 4 h 20000"/>
                <a:gd name="T40" fmla="*/ 133 w 20000"/>
                <a:gd name="T41" fmla="*/ 0 h 20000"/>
                <a:gd name="T42" fmla="*/ 139 w 20000"/>
                <a:gd name="T43" fmla="*/ 11 h 20000"/>
                <a:gd name="T44" fmla="*/ 137 w 20000"/>
                <a:gd name="T45" fmla="*/ 18 h 20000"/>
                <a:gd name="T46" fmla="*/ 130 w 20000"/>
                <a:gd name="T47" fmla="*/ 11 h 20000"/>
                <a:gd name="T48" fmla="*/ 126 w 20000"/>
                <a:gd name="T49" fmla="*/ 20 h 20000"/>
                <a:gd name="T50" fmla="*/ 123 w 20000"/>
                <a:gd name="T51" fmla="*/ 41 h 20000"/>
                <a:gd name="T52" fmla="*/ 126 w 20000"/>
                <a:gd name="T53" fmla="*/ 48 h 20000"/>
                <a:gd name="T54" fmla="*/ 130 w 20000"/>
                <a:gd name="T55" fmla="*/ 65 h 20000"/>
                <a:gd name="T56" fmla="*/ 126 w 20000"/>
                <a:gd name="T57" fmla="*/ 99 h 20000"/>
                <a:gd name="T58" fmla="*/ 116 w 20000"/>
                <a:gd name="T59" fmla="*/ 120 h 20000"/>
                <a:gd name="T60" fmla="*/ 99 w 20000"/>
                <a:gd name="T61" fmla="*/ 129 h 20000"/>
                <a:gd name="T62" fmla="*/ 92 w 20000"/>
                <a:gd name="T63" fmla="*/ 122 h 20000"/>
                <a:gd name="T64" fmla="*/ 96 w 20000"/>
                <a:gd name="T65" fmla="*/ 116 h 20000"/>
                <a:gd name="T66" fmla="*/ 85 w 20000"/>
                <a:gd name="T67" fmla="*/ 116 h 20000"/>
                <a:gd name="T68" fmla="*/ 82 w 20000"/>
                <a:gd name="T69" fmla="*/ 143 h 20000"/>
                <a:gd name="T70" fmla="*/ 85 w 20000"/>
                <a:gd name="T71" fmla="*/ 156 h 20000"/>
                <a:gd name="T72" fmla="*/ 76 w 20000"/>
                <a:gd name="T73" fmla="*/ 163 h 20000"/>
                <a:gd name="T74" fmla="*/ 69 w 20000"/>
                <a:gd name="T75" fmla="*/ 156 h 20000"/>
                <a:gd name="T76" fmla="*/ 41 w 20000"/>
                <a:gd name="T77" fmla="*/ 167 h 20000"/>
                <a:gd name="T78" fmla="*/ 34 w 20000"/>
                <a:gd name="T79" fmla="*/ 167 h 20000"/>
                <a:gd name="T80" fmla="*/ 24 w 20000"/>
                <a:gd name="T81" fmla="*/ 167 h 20000"/>
                <a:gd name="T82" fmla="*/ 20 w 20000"/>
                <a:gd name="T83" fmla="*/ 176 h 20000"/>
                <a:gd name="T84" fmla="*/ 11 w 20000"/>
                <a:gd name="T85" fmla="*/ 190 h 20000"/>
                <a:gd name="T86" fmla="*/ 0 w 20000"/>
                <a:gd name="T87" fmla="*/ 197 h 20000"/>
                <a:gd name="T88" fmla="*/ 11 w 20000"/>
                <a:gd name="T89" fmla="*/ 204 h 20000"/>
                <a:gd name="T90" fmla="*/ 24 w 20000"/>
                <a:gd name="T91" fmla="*/ 208 h 20000"/>
                <a:gd name="T92" fmla="*/ 24 w 20000"/>
                <a:gd name="T93" fmla="*/ 197 h 20000"/>
                <a:gd name="T94" fmla="*/ 27 w 20000"/>
                <a:gd name="T95" fmla="*/ 197 h 20000"/>
                <a:gd name="T96" fmla="*/ 41 w 20000"/>
                <a:gd name="T97" fmla="*/ 194 h 20000"/>
                <a:gd name="T98" fmla="*/ 65 w 20000"/>
                <a:gd name="T99" fmla="*/ 183 h 20000"/>
                <a:gd name="T100" fmla="*/ 78 w 20000"/>
                <a:gd name="T101" fmla="*/ 187 h 20000"/>
                <a:gd name="T102" fmla="*/ 76 w 20000"/>
                <a:gd name="T103" fmla="*/ 201 h 20000"/>
                <a:gd name="T104" fmla="*/ 85 w 20000"/>
                <a:gd name="T105" fmla="*/ 211 h 200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0000" h="20000">
                  <a:moveTo>
                    <a:pt x="10773" y="19963"/>
                  </a:moveTo>
                  <a:lnTo>
                    <a:pt x="11194" y="18321"/>
                  </a:lnTo>
                  <a:lnTo>
                    <a:pt x="12365" y="18060"/>
                  </a:lnTo>
                  <a:lnTo>
                    <a:pt x="12365" y="17425"/>
                  </a:lnTo>
                  <a:lnTo>
                    <a:pt x="11569" y="17052"/>
                  </a:lnTo>
                  <a:lnTo>
                    <a:pt x="11569" y="16157"/>
                  </a:lnTo>
                  <a:lnTo>
                    <a:pt x="11991" y="16157"/>
                  </a:lnTo>
                  <a:lnTo>
                    <a:pt x="11991" y="16791"/>
                  </a:lnTo>
                  <a:lnTo>
                    <a:pt x="13115" y="16791"/>
                  </a:lnTo>
                  <a:lnTo>
                    <a:pt x="12787" y="17425"/>
                  </a:lnTo>
                  <a:lnTo>
                    <a:pt x="13911" y="16791"/>
                  </a:lnTo>
                  <a:lnTo>
                    <a:pt x="14707" y="17052"/>
                  </a:lnTo>
                  <a:lnTo>
                    <a:pt x="15176" y="16157"/>
                  </a:lnTo>
                  <a:lnTo>
                    <a:pt x="15504" y="15784"/>
                  </a:lnTo>
                  <a:lnTo>
                    <a:pt x="16300" y="17052"/>
                  </a:lnTo>
                  <a:lnTo>
                    <a:pt x="16768" y="16418"/>
                  </a:lnTo>
                  <a:lnTo>
                    <a:pt x="16768" y="15522"/>
                  </a:lnTo>
                  <a:lnTo>
                    <a:pt x="17096" y="15149"/>
                  </a:lnTo>
                  <a:lnTo>
                    <a:pt x="17564" y="15522"/>
                  </a:lnTo>
                  <a:lnTo>
                    <a:pt x="17564" y="15149"/>
                  </a:lnTo>
                  <a:lnTo>
                    <a:pt x="17564" y="14515"/>
                  </a:lnTo>
                  <a:lnTo>
                    <a:pt x="18361" y="14888"/>
                  </a:lnTo>
                  <a:lnTo>
                    <a:pt x="17892" y="16157"/>
                  </a:lnTo>
                  <a:lnTo>
                    <a:pt x="19157" y="15522"/>
                  </a:lnTo>
                  <a:lnTo>
                    <a:pt x="19157" y="14515"/>
                  </a:lnTo>
                  <a:lnTo>
                    <a:pt x="19953" y="14254"/>
                  </a:lnTo>
                  <a:lnTo>
                    <a:pt x="19157" y="13619"/>
                  </a:lnTo>
                  <a:lnTo>
                    <a:pt x="19157" y="11381"/>
                  </a:lnTo>
                  <a:lnTo>
                    <a:pt x="18361" y="9216"/>
                  </a:lnTo>
                  <a:lnTo>
                    <a:pt x="18361" y="8209"/>
                  </a:lnTo>
                  <a:lnTo>
                    <a:pt x="18689" y="7948"/>
                  </a:lnTo>
                  <a:lnTo>
                    <a:pt x="19485" y="7948"/>
                  </a:lnTo>
                  <a:lnTo>
                    <a:pt x="18689" y="6679"/>
                  </a:lnTo>
                  <a:lnTo>
                    <a:pt x="19485" y="6045"/>
                  </a:lnTo>
                  <a:lnTo>
                    <a:pt x="19485" y="4776"/>
                  </a:lnTo>
                  <a:lnTo>
                    <a:pt x="19157" y="4776"/>
                  </a:lnTo>
                  <a:lnTo>
                    <a:pt x="18689" y="3806"/>
                  </a:lnTo>
                  <a:lnTo>
                    <a:pt x="17892" y="2537"/>
                  </a:lnTo>
                  <a:lnTo>
                    <a:pt x="17096" y="1903"/>
                  </a:lnTo>
                  <a:lnTo>
                    <a:pt x="16768" y="373"/>
                  </a:lnTo>
                  <a:lnTo>
                    <a:pt x="15972" y="373"/>
                  </a:lnTo>
                  <a:lnTo>
                    <a:pt x="15504" y="0"/>
                  </a:lnTo>
                  <a:lnTo>
                    <a:pt x="15504" y="1007"/>
                  </a:lnTo>
                  <a:lnTo>
                    <a:pt x="16300" y="1007"/>
                  </a:lnTo>
                  <a:lnTo>
                    <a:pt x="16300" y="1642"/>
                  </a:lnTo>
                  <a:lnTo>
                    <a:pt x="15972" y="1642"/>
                  </a:lnTo>
                  <a:lnTo>
                    <a:pt x="15504" y="1903"/>
                  </a:lnTo>
                  <a:lnTo>
                    <a:pt x="15176" y="1007"/>
                  </a:lnTo>
                  <a:lnTo>
                    <a:pt x="14379" y="1269"/>
                  </a:lnTo>
                  <a:lnTo>
                    <a:pt x="14707" y="1903"/>
                  </a:lnTo>
                  <a:lnTo>
                    <a:pt x="14379" y="2537"/>
                  </a:lnTo>
                  <a:lnTo>
                    <a:pt x="14379" y="3806"/>
                  </a:lnTo>
                  <a:lnTo>
                    <a:pt x="14379" y="4142"/>
                  </a:lnTo>
                  <a:lnTo>
                    <a:pt x="14707" y="4440"/>
                  </a:lnTo>
                  <a:lnTo>
                    <a:pt x="14707" y="4142"/>
                  </a:lnTo>
                  <a:lnTo>
                    <a:pt x="15176" y="6045"/>
                  </a:lnTo>
                  <a:lnTo>
                    <a:pt x="14707" y="7575"/>
                  </a:lnTo>
                  <a:lnTo>
                    <a:pt x="14707" y="9216"/>
                  </a:lnTo>
                  <a:lnTo>
                    <a:pt x="14379" y="9216"/>
                  </a:lnTo>
                  <a:lnTo>
                    <a:pt x="13583" y="11119"/>
                  </a:lnTo>
                  <a:lnTo>
                    <a:pt x="11991" y="11716"/>
                  </a:lnTo>
                  <a:lnTo>
                    <a:pt x="11569" y="12015"/>
                  </a:lnTo>
                  <a:lnTo>
                    <a:pt x="11194" y="12015"/>
                  </a:lnTo>
                  <a:lnTo>
                    <a:pt x="10773" y="11381"/>
                  </a:lnTo>
                  <a:lnTo>
                    <a:pt x="10773" y="11119"/>
                  </a:lnTo>
                  <a:lnTo>
                    <a:pt x="11194" y="10746"/>
                  </a:lnTo>
                  <a:lnTo>
                    <a:pt x="11194" y="10112"/>
                  </a:lnTo>
                  <a:lnTo>
                    <a:pt x="9977" y="10746"/>
                  </a:lnTo>
                  <a:lnTo>
                    <a:pt x="10398" y="12015"/>
                  </a:lnTo>
                  <a:lnTo>
                    <a:pt x="9649" y="13284"/>
                  </a:lnTo>
                  <a:lnTo>
                    <a:pt x="9180" y="13918"/>
                  </a:lnTo>
                  <a:lnTo>
                    <a:pt x="9977" y="14515"/>
                  </a:lnTo>
                  <a:lnTo>
                    <a:pt x="9180" y="14888"/>
                  </a:lnTo>
                  <a:lnTo>
                    <a:pt x="8852" y="15149"/>
                  </a:lnTo>
                  <a:lnTo>
                    <a:pt x="8384" y="14888"/>
                  </a:lnTo>
                  <a:lnTo>
                    <a:pt x="8056" y="14515"/>
                  </a:lnTo>
                  <a:lnTo>
                    <a:pt x="7588" y="14888"/>
                  </a:lnTo>
                  <a:lnTo>
                    <a:pt x="4778" y="15522"/>
                  </a:lnTo>
                  <a:lnTo>
                    <a:pt x="4403" y="15522"/>
                  </a:lnTo>
                  <a:lnTo>
                    <a:pt x="3981" y="15522"/>
                  </a:lnTo>
                  <a:lnTo>
                    <a:pt x="3981" y="15149"/>
                  </a:lnTo>
                  <a:lnTo>
                    <a:pt x="2810" y="15522"/>
                  </a:lnTo>
                  <a:lnTo>
                    <a:pt x="3185" y="16157"/>
                  </a:lnTo>
                  <a:lnTo>
                    <a:pt x="2389" y="16418"/>
                  </a:lnTo>
                  <a:lnTo>
                    <a:pt x="2061" y="17425"/>
                  </a:lnTo>
                  <a:lnTo>
                    <a:pt x="1265" y="17687"/>
                  </a:lnTo>
                  <a:lnTo>
                    <a:pt x="796" y="18060"/>
                  </a:lnTo>
                  <a:lnTo>
                    <a:pt x="0" y="18321"/>
                  </a:lnTo>
                  <a:lnTo>
                    <a:pt x="0" y="19328"/>
                  </a:lnTo>
                  <a:lnTo>
                    <a:pt x="1265" y="18955"/>
                  </a:lnTo>
                  <a:lnTo>
                    <a:pt x="2061" y="18955"/>
                  </a:lnTo>
                  <a:lnTo>
                    <a:pt x="2810" y="19328"/>
                  </a:lnTo>
                  <a:lnTo>
                    <a:pt x="2810" y="18955"/>
                  </a:lnTo>
                  <a:lnTo>
                    <a:pt x="2810" y="18321"/>
                  </a:lnTo>
                  <a:lnTo>
                    <a:pt x="2810" y="18060"/>
                  </a:lnTo>
                  <a:lnTo>
                    <a:pt x="3185" y="18321"/>
                  </a:lnTo>
                  <a:lnTo>
                    <a:pt x="3185" y="18694"/>
                  </a:lnTo>
                  <a:lnTo>
                    <a:pt x="4778" y="18060"/>
                  </a:lnTo>
                  <a:lnTo>
                    <a:pt x="6792" y="17425"/>
                  </a:lnTo>
                  <a:lnTo>
                    <a:pt x="7588" y="17052"/>
                  </a:lnTo>
                  <a:lnTo>
                    <a:pt x="8852" y="17052"/>
                  </a:lnTo>
                  <a:lnTo>
                    <a:pt x="9180" y="17425"/>
                  </a:lnTo>
                  <a:lnTo>
                    <a:pt x="8852" y="18060"/>
                  </a:lnTo>
                  <a:lnTo>
                    <a:pt x="8852" y="18694"/>
                  </a:lnTo>
                  <a:lnTo>
                    <a:pt x="8852" y="18955"/>
                  </a:lnTo>
                  <a:lnTo>
                    <a:pt x="9977" y="19590"/>
                  </a:lnTo>
                  <a:lnTo>
                    <a:pt x="10773" y="1996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99" name="Freeform 10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98" y="2696"/>
              <a:ext cx="14" cy="11"/>
            </a:xfrm>
            <a:custGeom>
              <a:avLst/>
              <a:gdLst>
                <a:gd name="T0" fmla="*/ 10 w 20000"/>
                <a:gd name="T1" fmla="*/ 11 h 20000"/>
                <a:gd name="T2" fmla="*/ 14 w 20000"/>
                <a:gd name="T3" fmla="*/ 4 h 20000"/>
                <a:gd name="T4" fmla="*/ 10 w 20000"/>
                <a:gd name="T5" fmla="*/ 0 h 20000"/>
                <a:gd name="T6" fmla="*/ 3 w 20000"/>
                <a:gd name="T7" fmla="*/ 4 h 20000"/>
                <a:gd name="T8" fmla="*/ 0 w 20000"/>
                <a:gd name="T9" fmla="*/ 7 h 20000"/>
                <a:gd name="T10" fmla="*/ 10 w 20000"/>
                <a:gd name="T11" fmla="*/ 11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13714" y="19286"/>
                  </a:moveTo>
                  <a:lnTo>
                    <a:pt x="19429" y="7143"/>
                  </a:lnTo>
                  <a:lnTo>
                    <a:pt x="13714" y="0"/>
                  </a:lnTo>
                  <a:lnTo>
                    <a:pt x="4000" y="7143"/>
                  </a:lnTo>
                  <a:lnTo>
                    <a:pt x="0" y="12143"/>
                  </a:lnTo>
                  <a:lnTo>
                    <a:pt x="13714" y="1928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0" name="Freeform 10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88" y="2676"/>
              <a:ext cx="11" cy="31"/>
            </a:xfrm>
            <a:custGeom>
              <a:avLst/>
              <a:gdLst>
                <a:gd name="T0" fmla="*/ 4 w 20000"/>
                <a:gd name="T1" fmla="*/ 31 h 20000"/>
                <a:gd name="T2" fmla="*/ 7 w 20000"/>
                <a:gd name="T3" fmla="*/ 20 h 20000"/>
                <a:gd name="T4" fmla="*/ 11 w 20000"/>
                <a:gd name="T5" fmla="*/ 17 h 20000"/>
                <a:gd name="T6" fmla="*/ 11 w 20000"/>
                <a:gd name="T7" fmla="*/ 0 h 20000"/>
                <a:gd name="T8" fmla="*/ 7 w 20000"/>
                <a:gd name="T9" fmla="*/ 13 h 20000"/>
                <a:gd name="T10" fmla="*/ 0 w 20000"/>
                <a:gd name="T11" fmla="*/ 31 h 20000"/>
                <a:gd name="T12" fmla="*/ 4 w 20000"/>
                <a:gd name="T13" fmla="*/ 31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7143" y="19747"/>
                  </a:moveTo>
                  <a:lnTo>
                    <a:pt x="12143" y="12911"/>
                  </a:lnTo>
                  <a:lnTo>
                    <a:pt x="19286" y="11139"/>
                  </a:lnTo>
                  <a:lnTo>
                    <a:pt x="19286" y="0"/>
                  </a:lnTo>
                  <a:lnTo>
                    <a:pt x="12143" y="8608"/>
                  </a:lnTo>
                  <a:lnTo>
                    <a:pt x="0" y="19747"/>
                  </a:lnTo>
                  <a:lnTo>
                    <a:pt x="7143" y="1974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1" name="Freeform 10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02" y="2648"/>
              <a:ext cx="27" cy="32"/>
            </a:xfrm>
            <a:custGeom>
              <a:avLst/>
              <a:gdLst>
                <a:gd name="T0" fmla="*/ 28 w 20000"/>
                <a:gd name="T1" fmla="*/ 32 h 20000"/>
                <a:gd name="T2" fmla="*/ 21 w 20000"/>
                <a:gd name="T3" fmla="*/ 14 h 20000"/>
                <a:gd name="T4" fmla="*/ 24 w 20000"/>
                <a:gd name="T5" fmla="*/ 7 h 20000"/>
                <a:gd name="T6" fmla="*/ 21 w 20000"/>
                <a:gd name="T7" fmla="*/ 4 h 20000"/>
                <a:gd name="T8" fmla="*/ 17 w 20000"/>
                <a:gd name="T9" fmla="*/ 0 h 20000"/>
                <a:gd name="T10" fmla="*/ 0 w 20000"/>
                <a:gd name="T11" fmla="*/ 4 h 20000"/>
                <a:gd name="T12" fmla="*/ 7 w 20000"/>
                <a:gd name="T13" fmla="*/ 14 h 20000"/>
                <a:gd name="T14" fmla="*/ 14 w 20000"/>
                <a:gd name="T15" fmla="*/ 18 h 20000"/>
                <a:gd name="T16" fmla="*/ 21 w 20000"/>
                <a:gd name="T17" fmla="*/ 28 h 20000"/>
                <a:gd name="T18" fmla="*/ 28 w 20000"/>
                <a:gd name="T19" fmla="*/ 32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000" h="20000">
                  <a:moveTo>
                    <a:pt x="19710" y="19747"/>
                  </a:moveTo>
                  <a:lnTo>
                    <a:pt x="14783" y="8608"/>
                  </a:lnTo>
                  <a:lnTo>
                    <a:pt x="17391" y="4304"/>
                  </a:lnTo>
                  <a:lnTo>
                    <a:pt x="14783" y="2532"/>
                  </a:lnTo>
                  <a:lnTo>
                    <a:pt x="12464" y="0"/>
                  </a:lnTo>
                  <a:lnTo>
                    <a:pt x="0" y="2532"/>
                  </a:lnTo>
                  <a:lnTo>
                    <a:pt x="4928" y="8608"/>
                  </a:lnTo>
                  <a:lnTo>
                    <a:pt x="9855" y="11139"/>
                  </a:lnTo>
                  <a:lnTo>
                    <a:pt x="14783" y="17215"/>
                  </a:lnTo>
                  <a:lnTo>
                    <a:pt x="19710" y="1974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2" name="Freeform 10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61" y="2662"/>
              <a:ext cx="21" cy="32"/>
            </a:xfrm>
            <a:custGeom>
              <a:avLst/>
              <a:gdLst>
                <a:gd name="T0" fmla="*/ 0 w 20000"/>
                <a:gd name="T1" fmla="*/ 11 h 20000"/>
                <a:gd name="T2" fmla="*/ 0 w 20000"/>
                <a:gd name="T3" fmla="*/ 0 h 20000"/>
                <a:gd name="T4" fmla="*/ 7 w 20000"/>
                <a:gd name="T5" fmla="*/ 0 h 20000"/>
                <a:gd name="T6" fmla="*/ 11 w 20000"/>
                <a:gd name="T7" fmla="*/ 7 h 20000"/>
                <a:gd name="T8" fmla="*/ 14 w 20000"/>
                <a:gd name="T9" fmla="*/ 4 h 20000"/>
                <a:gd name="T10" fmla="*/ 21 w 20000"/>
                <a:gd name="T11" fmla="*/ 7 h 20000"/>
                <a:gd name="T12" fmla="*/ 21 w 20000"/>
                <a:gd name="T13" fmla="*/ 14 h 20000"/>
                <a:gd name="T14" fmla="*/ 17 w 20000"/>
                <a:gd name="T15" fmla="*/ 18 h 20000"/>
                <a:gd name="T16" fmla="*/ 0 w 20000"/>
                <a:gd name="T17" fmla="*/ 32 h 20000"/>
                <a:gd name="T18" fmla="*/ 0 w 20000"/>
                <a:gd name="T19" fmla="*/ 11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000" h="20000">
                  <a:moveTo>
                    <a:pt x="0" y="6835"/>
                  </a:moveTo>
                  <a:lnTo>
                    <a:pt x="0" y="0"/>
                  </a:lnTo>
                  <a:lnTo>
                    <a:pt x="6538" y="0"/>
                  </a:lnTo>
                  <a:lnTo>
                    <a:pt x="10385" y="4304"/>
                  </a:lnTo>
                  <a:lnTo>
                    <a:pt x="13077" y="2532"/>
                  </a:lnTo>
                  <a:lnTo>
                    <a:pt x="19615" y="4304"/>
                  </a:lnTo>
                  <a:lnTo>
                    <a:pt x="19615" y="8608"/>
                  </a:lnTo>
                  <a:lnTo>
                    <a:pt x="16538" y="11139"/>
                  </a:lnTo>
                  <a:lnTo>
                    <a:pt x="0" y="19747"/>
                  </a:lnTo>
                  <a:lnTo>
                    <a:pt x="0" y="683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3" name="Freeform 10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05" y="2669"/>
              <a:ext cx="17" cy="27"/>
            </a:xfrm>
            <a:custGeom>
              <a:avLst/>
              <a:gdLst>
                <a:gd name="T0" fmla="*/ 13 w 20000"/>
                <a:gd name="T1" fmla="*/ 27 h 20000"/>
                <a:gd name="T2" fmla="*/ 17 w 20000"/>
                <a:gd name="T3" fmla="*/ 23 h 20000"/>
                <a:gd name="T4" fmla="*/ 9 w 20000"/>
                <a:gd name="T5" fmla="*/ 11 h 20000"/>
                <a:gd name="T6" fmla="*/ 9 w 20000"/>
                <a:gd name="T7" fmla="*/ 4 h 20000"/>
                <a:gd name="T8" fmla="*/ 3 w 20000"/>
                <a:gd name="T9" fmla="*/ 4 h 20000"/>
                <a:gd name="T10" fmla="*/ 0 w 20000"/>
                <a:gd name="T11" fmla="*/ 0 h 20000"/>
                <a:gd name="T12" fmla="*/ 3 w 20000"/>
                <a:gd name="T13" fmla="*/ 11 h 20000"/>
                <a:gd name="T14" fmla="*/ 7 w 20000"/>
                <a:gd name="T15" fmla="*/ 11 h 20000"/>
                <a:gd name="T16" fmla="*/ 13 w 20000"/>
                <a:gd name="T17" fmla="*/ 27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000" h="20000">
                  <a:moveTo>
                    <a:pt x="15814" y="19710"/>
                  </a:moveTo>
                  <a:lnTo>
                    <a:pt x="19535" y="17391"/>
                  </a:lnTo>
                  <a:lnTo>
                    <a:pt x="11163" y="7826"/>
                  </a:lnTo>
                  <a:lnTo>
                    <a:pt x="11163" y="2899"/>
                  </a:lnTo>
                  <a:lnTo>
                    <a:pt x="3256" y="2899"/>
                  </a:lnTo>
                  <a:lnTo>
                    <a:pt x="0" y="0"/>
                  </a:lnTo>
                  <a:lnTo>
                    <a:pt x="3256" y="7826"/>
                  </a:lnTo>
                  <a:lnTo>
                    <a:pt x="7907" y="7826"/>
                  </a:lnTo>
                  <a:lnTo>
                    <a:pt x="15814" y="1971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4" name="Freeform 10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71" y="2680"/>
              <a:ext cx="21" cy="37"/>
            </a:xfrm>
            <a:custGeom>
              <a:avLst/>
              <a:gdLst>
                <a:gd name="T0" fmla="*/ 14 w 20000"/>
                <a:gd name="T1" fmla="*/ 37 h 20000"/>
                <a:gd name="T2" fmla="*/ 17 w 20000"/>
                <a:gd name="T3" fmla="*/ 37 h 20000"/>
                <a:gd name="T4" fmla="*/ 14 w 20000"/>
                <a:gd name="T5" fmla="*/ 27 h 20000"/>
                <a:gd name="T6" fmla="*/ 17 w 20000"/>
                <a:gd name="T7" fmla="*/ 14 h 20000"/>
                <a:gd name="T8" fmla="*/ 21 w 20000"/>
                <a:gd name="T9" fmla="*/ 3 h 20000"/>
                <a:gd name="T10" fmla="*/ 17 w 20000"/>
                <a:gd name="T11" fmla="*/ 0 h 20000"/>
                <a:gd name="T12" fmla="*/ 14 w 20000"/>
                <a:gd name="T13" fmla="*/ 3 h 20000"/>
                <a:gd name="T14" fmla="*/ 7 w 20000"/>
                <a:gd name="T15" fmla="*/ 16 h 20000"/>
                <a:gd name="T16" fmla="*/ 0 w 20000"/>
                <a:gd name="T17" fmla="*/ 20 h 20000"/>
                <a:gd name="T18" fmla="*/ 3 w 20000"/>
                <a:gd name="T19" fmla="*/ 30 h 20000"/>
                <a:gd name="T20" fmla="*/ 7 w 20000"/>
                <a:gd name="T21" fmla="*/ 30 h 20000"/>
                <a:gd name="T22" fmla="*/ 14 w 20000"/>
                <a:gd name="T23" fmla="*/ 37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0000" h="20000">
                  <a:moveTo>
                    <a:pt x="13077" y="19785"/>
                  </a:moveTo>
                  <a:lnTo>
                    <a:pt x="15769" y="19785"/>
                  </a:lnTo>
                  <a:lnTo>
                    <a:pt x="13077" y="14409"/>
                  </a:lnTo>
                  <a:lnTo>
                    <a:pt x="15769" y="7312"/>
                  </a:lnTo>
                  <a:lnTo>
                    <a:pt x="19615" y="1505"/>
                  </a:lnTo>
                  <a:lnTo>
                    <a:pt x="15769" y="0"/>
                  </a:lnTo>
                  <a:lnTo>
                    <a:pt x="13077" y="1505"/>
                  </a:lnTo>
                  <a:lnTo>
                    <a:pt x="6538" y="8817"/>
                  </a:lnTo>
                  <a:lnTo>
                    <a:pt x="0" y="10968"/>
                  </a:lnTo>
                  <a:lnTo>
                    <a:pt x="2692" y="16129"/>
                  </a:lnTo>
                  <a:lnTo>
                    <a:pt x="6538" y="16129"/>
                  </a:lnTo>
                  <a:lnTo>
                    <a:pt x="13077" y="1978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5" name="Freeform 10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75" y="2669"/>
              <a:ext cx="44" cy="58"/>
            </a:xfrm>
            <a:custGeom>
              <a:avLst/>
              <a:gdLst>
                <a:gd name="T0" fmla="*/ 11 w 20000"/>
                <a:gd name="T1" fmla="*/ 47 h 20000"/>
                <a:gd name="T2" fmla="*/ 18 w 20000"/>
                <a:gd name="T3" fmla="*/ 44 h 20000"/>
                <a:gd name="T4" fmla="*/ 24 w 20000"/>
                <a:gd name="T5" fmla="*/ 31 h 20000"/>
                <a:gd name="T6" fmla="*/ 31 w 20000"/>
                <a:gd name="T7" fmla="*/ 24 h 20000"/>
                <a:gd name="T8" fmla="*/ 38 w 20000"/>
                <a:gd name="T9" fmla="*/ 20 h 20000"/>
                <a:gd name="T10" fmla="*/ 38 w 20000"/>
                <a:gd name="T11" fmla="*/ 11 h 20000"/>
                <a:gd name="T12" fmla="*/ 41 w 20000"/>
                <a:gd name="T13" fmla="*/ 0 h 20000"/>
                <a:gd name="T14" fmla="*/ 41 w 20000"/>
                <a:gd name="T15" fmla="*/ 7 h 20000"/>
                <a:gd name="T16" fmla="*/ 41 w 20000"/>
                <a:gd name="T17" fmla="*/ 11 h 20000"/>
                <a:gd name="T18" fmla="*/ 45 w 20000"/>
                <a:gd name="T19" fmla="*/ 20 h 20000"/>
                <a:gd name="T20" fmla="*/ 38 w 20000"/>
                <a:gd name="T21" fmla="*/ 24 h 20000"/>
                <a:gd name="T22" fmla="*/ 38 w 20000"/>
                <a:gd name="T23" fmla="*/ 31 h 20000"/>
                <a:gd name="T24" fmla="*/ 31 w 20000"/>
                <a:gd name="T25" fmla="*/ 33 h 20000"/>
                <a:gd name="T26" fmla="*/ 24 w 20000"/>
                <a:gd name="T27" fmla="*/ 44 h 20000"/>
                <a:gd name="T28" fmla="*/ 18 w 20000"/>
                <a:gd name="T29" fmla="*/ 47 h 20000"/>
                <a:gd name="T30" fmla="*/ 7 w 20000"/>
                <a:gd name="T31" fmla="*/ 54 h 20000"/>
                <a:gd name="T32" fmla="*/ 0 w 20000"/>
                <a:gd name="T33" fmla="*/ 58 h 20000"/>
                <a:gd name="T34" fmla="*/ 11 w 20000"/>
                <a:gd name="T35" fmla="*/ 47 h 200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0000" h="20000">
                  <a:moveTo>
                    <a:pt x="4779" y="16164"/>
                  </a:moveTo>
                  <a:lnTo>
                    <a:pt x="7788" y="15205"/>
                  </a:lnTo>
                  <a:lnTo>
                    <a:pt x="10796" y="10548"/>
                  </a:lnTo>
                  <a:lnTo>
                    <a:pt x="13805" y="8219"/>
                  </a:lnTo>
                  <a:lnTo>
                    <a:pt x="16814" y="6986"/>
                  </a:lnTo>
                  <a:lnTo>
                    <a:pt x="16814" y="3699"/>
                  </a:lnTo>
                  <a:lnTo>
                    <a:pt x="18053" y="0"/>
                  </a:lnTo>
                  <a:lnTo>
                    <a:pt x="18053" y="2329"/>
                  </a:lnTo>
                  <a:lnTo>
                    <a:pt x="18053" y="3699"/>
                  </a:lnTo>
                  <a:lnTo>
                    <a:pt x="19823" y="6986"/>
                  </a:lnTo>
                  <a:lnTo>
                    <a:pt x="16814" y="8219"/>
                  </a:lnTo>
                  <a:lnTo>
                    <a:pt x="16814" y="10548"/>
                  </a:lnTo>
                  <a:lnTo>
                    <a:pt x="13805" y="11507"/>
                  </a:lnTo>
                  <a:lnTo>
                    <a:pt x="10796" y="15205"/>
                  </a:lnTo>
                  <a:lnTo>
                    <a:pt x="7788" y="16164"/>
                  </a:lnTo>
                  <a:lnTo>
                    <a:pt x="3009" y="18493"/>
                  </a:lnTo>
                  <a:lnTo>
                    <a:pt x="0" y="19863"/>
                  </a:lnTo>
                  <a:lnTo>
                    <a:pt x="4779" y="16164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6" name="Freeform 10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67" y="2702"/>
              <a:ext cx="82" cy="82"/>
            </a:xfrm>
            <a:custGeom>
              <a:avLst/>
              <a:gdLst>
                <a:gd name="T0" fmla="*/ 61 w 20000"/>
                <a:gd name="T1" fmla="*/ 81 h 20000"/>
                <a:gd name="T2" fmla="*/ 65 w 20000"/>
                <a:gd name="T3" fmla="*/ 67 h 20000"/>
                <a:gd name="T4" fmla="*/ 58 w 20000"/>
                <a:gd name="T5" fmla="*/ 58 h 20000"/>
                <a:gd name="T6" fmla="*/ 68 w 20000"/>
                <a:gd name="T7" fmla="*/ 47 h 20000"/>
                <a:gd name="T8" fmla="*/ 75 w 20000"/>
                <a:gd name="T9" fmla="*/ 64 h 20000"/>
                <a:gd name="T10" fmla="*/ 78 w 20000"/>
                <a:gd name="T11" fmla="*/ 64 h 20000"/>
                <a:gd name="T12" fmla="*/ 75 w 20000"/>
                <a:gd name="T13" fmla="*/ 51 h 20000"/>
                <a:gd name="T14" fmla="*/ 82 w 20000"/>
                <a:gd name="T15" fmla="*/ 47 h 20000"/>
                <a:gd name="T16" fmla="*/ 78 w 20000"/>
                <a:gd name="T17" fmla="*/ 37 h 20000"/>
                <a:gd name="T18" fmla="*/ 78 w 20000"/>
                <a:gd name="T19" fmla="*/ 24 h 20000"/>
                <a:gd name="T20" fmla="*/ 72 w 20000"/>
                <a:gd name="T21" fmla="*/ 24 h 20000"/>
                <a:gd name="T22" fmla="*/ 75 w 20000"/>
                <a:gd name="T23" fmla="*/ 20 h 20000"/>
                <a:gd name="T24" fmla="*/ 75 w 20000"/>
                <a:gd name="T25" fmla="*/ 11 h 20000"/>
                <a:gd name="T26" fmla="*/ 68 w 20000"/>
                <a:gd name="T27" fmla="*/ 7 h 20000"/>
                <a:gd name="T28" fmla="*/ 58 w 20000"/>
                <a:gd name="T29" fmla="*/ 0 h 20000"/>
                <a:gd name="T30" fmla="*/ 61 w 20000"/>
                <a:gd name="T31" fmla="*/ 13 h 20000"/>
                <a:gd name="T32" fmla="*/ 54 w 20000"/>
                <a:gd name="T33" fmla="*/ 13 h 20000"/>
                <a:gd name="T34" fmla="*/ 51 w 20000"/>
                <a:gd name="T35" fmla="*/ 17 h 20000"/>
                <a:gd name="T36" fmla="*/ 48 w 20000"/>
                <a:gd name="T37" fmla="*/ 13 h 20000"/>
                <a:gd name="T38" fmla="*/ 48 w 20000"/>
                <a:gd name="T39" fmla="*/ 24 h 20000"/>
                <a:gd name="T40" fmla="*/ 41 w 20000"/>
                <a:gd name="T41" fmla="*/ 20 h 20000"/>
                <a:gd name="T42" fmla="*/ 38 w 20000"/>
                <a:gd name="T43" fmla="*/ 27 h 20000"/>
                <a:gd name="T44" fmla="*/ 27 w 20000"/>
                <a:gd name="T45" fmla="*/ 33 h 20000"/>
                <a:gd name="T46" fmla="*/ 27 w 20000"/>
                <a:gd name="T47" fmla="*/ 31 h 20000"/>
                <a:gd name="T48" fmla="*/ 31 w 20000"/>
                <a:gd name="T49" fmla="*/ 27 h 20000"/>
                <a:gd name="T50" fmla="*/ 27 w 20000"/>
                <a:gd name="T51" fmla="*/ 20 h 20000"/>
                <a:gd name="T52" fmla="*/ 18 w 20000"/>
                <a:gd name="T53" fmla="*/ 24 h 20000"/>
                <a:gd name="T54" fmla="*/ 14 w 20000"/>
                <a:gd name="T55" fmla="*/ 31 h 20000"/>
                <a:gd name="T56" fmla="*/ 0 w 20000"/>
                <a:gd name="T57" fmla="*/ 33 h 20000"/>
                <a:gd name="T58" fmla="*/ 0 w 20000"/>
                <a:gd name="T59" fmla="*/ 47 h 20000"/>
                <a:gd name="T60" fmla="*/ 0 w 20000"/>
                <a:gd name="T61" fmla="*/ 54 h 20000"/>
                <a:gd name="T62" fmla="*/ 4 w 20000"/>
                <a:gd name="T63" fmla="*/ 44 h 20000"/>
                <a:gd name="T64" fmla="*/ 11 w 20000"/>
                <a:gd name="T65" fmla="*/ 37 h 20000"/>
                <a:gd name="T66" fmla="*/ 14 w 20000"/>
                <a:gd name="T67" fmla="*/ 44 h 20000"/>
                <a:gd name="T68" fmla="*/ 18 w 20000"/>
                <a:gd name="T69" fmla="*/ 44 h 20000"/>
                <a:gd name="T70" fmla="*/ 18 w 20000"/>
                <a:gd name="T71" fmla="*/ 40 h 20000"/>
                <a:gd name="T72" fmla="*/ 20 w 20000"/>
                <a:gd name="T73" fmla="*/ 44 h 20000"/>
                <a:gd name="T74" fmla="*/ 27 w 20000"/>
                <a:gd name="T75" fmla="*/ 47 h 20000"/>
                <a:gd name="T76" fmla="*/ 24 w 20000"/>
                <a:gd name="T77" fmla="*/ 37 h 20000"/>
                <a:gd name="T78" fmla="*/ 34 w 20000"/>
                <a:gd name="T79" fmla="*/ 40 h 20000"/>
                <a:gd name="T80" fmla="*/ 38 w 20000"/>
                <a:gd name="T81" fmla="*/ 47 h 20000"/>
                <a:gd name="T82" fmla="*/ 34 w 20000"/>
                <a:gd name="T83" fmla="*/ 54 h 20000"/>
                <a:gd name="T84" fmla="*/ 41 w 20000"/>
                <a:gd name="T85" fmla="*/ 71 h 20000"/>
                <a:gd name="T86" fmla="*/ 54 w 20000"/>
                <a:gd name="T87" fmla="*/ 74 h 20000"/>
                <a:gd name="T88" fmla="*/ 58 w 20000"/>
                <a:gd name="T89" fmla="*/ 71 h 20000"/>
                <a:gd name="T90" fmla="*/ 58 w 20000"/>
                <a:gd name="T91" fmla="*/ 74 h 20000"/>
                <a:gd name="T92" fmla="*/ 58 w 20000"/>
                <a:gd name="T93" fmla="*/ 77 h 20000"/>
                <a:gd name="T94" fmla="*/ 61 w 20000"/>
                <a:gd name="T95" fmla="*/ 81 h 2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0000" h="20000">
                  <a:moveTo>
                    <a:pt x="14927" y="19902"/>
                  </a:moveTo>
                  <a:lnTo>
                    <a:pt x="15805" y="16569"/>
                  </a:lnTo>
                  <a:lnTo>
                    <a:pt x="14146" y="14216"/>
                  </a:lnTo>
                  <a:lnTo>
                    <a:pt x="16585" y="11569"/>
                  </a:lnTo>
                  <a:lnTo>
                    <a:pt x="18244" y="15882"/>
                  </a:lnTo>
                  <a:lnTo>
                    <a:pt x="19122" y="15882"/>
                  </a:lnTo>
                  <a:lnTo>
                    <a:pt x="18244" y="12549"/>
                  </a:lnTo>
                  <a:lnTo>
                    <a:pt x="19902" y="11569"/>
                  </a:lnTo>
                  <a:lnTo>
                    <a:pt x="19122" y="9216"/>
                  </a:lnTo>
                  <a:lnTo>
                    <a:pt x="19122" y="5882"/>
                  </a:lnTo>
                  <a:lnTo>
                    <a:pt x="17463" y="5882"/>
                  </a:lnTo>
                  <a:lnTo>
                    <a:pt x="18244" y="5000"/>
                  </a:lnTo>
                  <a:lnTo>
                    <a:pt x="18244" y="2647"/>
                  </a:lnTo>
                  <a:lnTo>
                    <a:pt x="16585" y="1667"/>
                  </a:lnTo>
                  <a:lnTo>
                    <a:pt x="14146" y="0"/>
                  </a:lnTo>
                  <a:lnTo>
                    <a:pt x="14927" y="3333"/>
                  </a:lnTo>
                  <a:lnTo>
                    <a:pt x="13268" y="3333"/>
                  </a:lnTo>
                  <a:lnTo>
                    <a:pt x="12488" y="4216"/>
                  </a:lnTo>
                  <a:lnTo>
                    <a:pt x="11610" y="3333"/>
                  </a:lnTo>
                  <a:lnTo>
                    <a:pt x="11610" y="5882"/>
                  </a:lnTo>
                  <a:lnTo>
                    <a:pt x="9951" y="5000"/>
                  </a:lnTo>
                  <a:lnTo>
                    <a:pt x="9268" y="6667"/>
                  </a:lnTo>
                  <a:lnTo>
                    <a:pt x="6634" y="8235"/>
                  </a:lnTo>
                  <a:lnTo>
                    <a:pt x="6634" y="7549"/>
                  </a:lnTo>
                  <a:lnTo>
                    <a:pt x="7610" y="6667"/>
                  </a:lnTo>
                  <a:lnTo>
                    <a:pt x="6634" y="5000"/>
                  </a:lnTo>
                  <a:lnTo>
                    <a:pt x="4293" y="5882"/>
                  </a:lnTo>
                  <a:lnTo>
                    <a:pt x="3317" y="7549"/>
                  </a:lnTo>
                  <a:lnTo>
                    <a:pt x="0" y="8235"/>
                  </a:lnTo>
                  <a:lnTo>
                    <a:pt x="0" y="11569"/>
                  </a:lnTo>
                  <a:lnTo>
                    <a:pt x="0" y="13235"/>
                  </a:lnTo>
                  <a:lnTo>
                    <a:pt x="976" y="10882"/>
                  </a:lnTo>
                  <a:lnTo>
                    <a:pt x="2634" y="9216"/>
                  </a:lnTo>
                  <a:lnTo>
                    <a:pt x="3317" y="10882"/>
                  </a:lnTo>
                  <a:lnTo>
                    <a:pt x="4293" y="10882"/>
                  </a:lnTo>
                  <a:lnTo>
                    <a:pt x="4293" y="9902"/>
                  </a:lnTo>
                  <a:lnTo>
                    <a:pt x="4976" y="10882"/>
                  </a:lnTo>
                  <a:lnTo>
                    <a:pt x="6634" y="11569"/>
                  </a:lnTo>
                  <a:lnTo>
                    <a:pt x="5951" y="9216"/>
                  </a:lnTo>
                  <a:lnTo>
                    <a:pt x="8293" y="9902"/>
                  </a:lnTo>
                  <a:lnTo>
                    <a:pt x="9268" y="11569"/>
                  </a:lnTo>
                  <a:lnTo>
                    <a:pt x="8293" y="13235"/>
                  </a:lnTo>
                  <a:lnTo>
                    <a:pt x="9951" y="17451"/>
                  </a:lnTo>
                  <a:lnTo>
                    <a:pt x="13268" y="18235"/>
                  </a:lnTo>
                  <a:lnTo>
                    <a:pt x="14146" y="17451"/>
                  </a:lnTo>
                  <a:lnTo>
                    <a:pt x="14146" y="18235"/>
                  </a:lnTo>
                  <a:lnTo>
                    <a:pt x="14146" y="19118"/>
                  </a:lnTo>
                  <a:lnTo>
                    <a:pt x="14927" y="1990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7" name="Freeform 11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14" y="2534"/>
              <a:ext cx="88" cy="119"/>
            </a:xfrm>
            <a:custGeom>
              <a:avLst/>
              <a:gdLst>
                <a:gd name="T0" fmla="*/ 86 w 20000"/>
                <a:gd name="T1" fmla="*/ 119 h 20000"/>
                <a:gd name="T2" fmla="*/ 86 w 20000"/>
                <a:gd name="T3" fmla="*/ 105 h 20000"/>
                <a:gd name="T4" fmla="*/ 79 w 20000"/>
                <a:gd name="T5" fmla="*/ 101 h 20000"/>
                <a:gd name="T6" fmla="*/ 75 w 20000"/>
                <a:gd name="T7" fmla="*/ 94 h 20000"/>
                <a:gd name="T8" fmla="*/ 82 w 20000"/>
                <a:gd name="T9" fmla="*/ 92 h 20000"/>
                <a:gd name="T10" fmla="*/ 68 w 20000"/>
                <a:gd name="T11" fmla="*/ 88 h 20000"/>
                <a:gd name="T12" fmla="*/ 68 w 20000"/>
                <a:gd name="T13" fmla="*/ 92 h 20000"/>
                <a:gd name="T14" fmla="*/ 65 w 20000"/>
                <a:gd name="T15" fmla="*/ 92 h 20000"/>
                <a:gd name="T16" fmla="*/ 61 w 20000"/>
                <a:gd name="T17" fmla="*/ 81 h 20000"/>
                <a:gd name="T18" fmla="*/ 51 w 20000"/>
                <a:gd name="T19" fmla="*/ 81 h 20000"/>
                <a:gd name="T20" fmla="*/ 51 w 20000"/>
                <a:gd name="T21" fmla="*/ 85 h 20000"/>
                <a:gd name="T22" fmla="*/ 47 w 20000"/>
                <a:gd name="T23" fmla="*/ 88 h 20000"/>
                <a:gd name="T24" fmla="*/ 38 w 20000"/>
                <a:gd name="T25" fmla="*/ 81 h 20000"/>
                <a:gd name="T26" fmla="*/ 38 w 20000"/>
                <a:gd name="T27" fmla="*/ 74 h 20000"/>
                <a:gd name="T28" fmla="*/ 38 w 20000"/>
                <a:gd name="T29" fmla="*/ 71 h 20000"/>
                <a:gd name="T30" fmla="*/ 31 w 20000"/>
                <a:gd name="T31" fmla="*/ 60 h 20000"/>
                <a:gd name="T32" fmla="*/ 34 w 20000"/>
                <a:gd name="T33" fmla="*/ 51 h 20000"/>
                <a:gd name="T34" fmla="*/ 45 w 20000"/>
                <a:gd name="T35" fmla="*/ 47 h 20000"/>
                <a:gd name="T36" fmla="*/ 47 w 20000"/>
                <a:gd name="T37" fmla="*/ 34 h 20000"/>
                <a:gd name="T38" fmla="*/ 47 w 20000"/>
                <a:gd name="T39" fmla="*/ 27 h 20000"/>
                <a:gd name="T40" fmla="*/ 41 w 20000"/>
                <a:gd name="T41" fmla="*/ 20 h 20000"/>
                <a:gd name="T42" fmla="*/ 41 w 20000"/>
                <a:gd name="T43" fmla="*/ 11 h 20000"/>
                <a:gd name="T44" fmla="*/ 41 w 20000"/>
                <a:gd name="T45" fmla="*/ 4 h 20000"/>
                <a:gd name="T46" fmla="*/ 38 w 20000"/>
                <a:gd name="T47" fmla="*/ 0 h 20000"/>
                <a:gd name="T48" fmla="*/ 34 w 20000"/>
                <a:gd name="T49" fmla="*/ 4 h 20000"/>
                <a:gd name="T50" fmla="*/ 20 w 20000"/>
                <a:gd name="T51" fmla="*/ 0 h 20000"/>
                <a:gd name="T52" fmla="*/ 14 w 20000"/>
                <a:gd name="T53" fmla="*/ 0 h 20000"/>
                <a:gd name="T54" fmla="*/ 10 w 20000"/>
                <a:gd name="T55" fmla="*/ 20 h 20000"/>
                <a:gd name="T56" fmla="*/ 10 w 20000"/>
                <a:gd name="T57" fmla="*/ 34 h 20000"/>
                <a:gd name="T58" fmla="*/ 14 w 20000"/>
                <a:gd name="T59" fmla="*/ 47 h 20000"/>
                <a:gd name="T60" fmla="*/ 10 w 20000"/>
                <a:gd name="T61" fmla="*/ 51 h 20000"/>
                <a:gd name="T62" fmla="*/ 7 w 20000"/>
                <a:gd name="T63" fmla="*/ 47 h 20000"/>
                <a:gd name="T64" fmla="*/ 0 w 20000"/>
                <a:gd name="T65" fmla="*/ 44 h 20000"/>
                <a:gd name="T66" fmla="*/ 7 w 20000"/>
                <a:gd name="T67" fmla="*/ 58 h 20000"/>
                <a:gd name="T68" fmla="*/ 14 w 20000"/>
                <a:gd name="T69" fmla="*/ 78 h 20000"/>
                <a:gd name="T70" fmla="*/ 16 w 20000"/>
                <a:gd name="T71" fmla="*/ 81 h 20000"/>
                <a:gd name="T72" fmla="*/ 20 w 20000"/>
                <a:gd name="T73" fmla="*/ 74 h 20000"/>
                <a:gd name="T74" fmla="*/ 23 w 20000"/>
                <a:gd name="T75" fmla="*/ 74 h 20000"/>
                <a:gd name="T76" fmla="*/ 23 w 20000"/>
                <a:gd name="T77" fmla="*/ 81 h 20000"/>
                <a:gd name="T78" fmla="*/ 20 w 20000"/>
                <a:gd name="T79" fmla="*/ 88 h 20000"/>
                <a:gd name="T80" fmla="*/ 27 w 20000"/>
                <a:gd name="T81" fmla="*/ 92 h 20000"/>
                <a:gd name="T82" fmla="*/ 31 w 20000"/>
                <a:gd name="T83" fmla="*/ 94 h 20000"/>
                <a:gd name="T84" fmla="*/ 34 w 20000"/>
                <a:gd name="T85" fmla="*/ 94 h 20000"/>
                <a:gd name="T86" fmla="*/ 38 w 20000"/>
                <a:gd name="T87" fmla="*/ 92 h 20000"/>
                <a:gd name="T88" fmla="*/ 51 w 20000"/>
                <a:gd name="T89" fmla="*/ 94 h 20000"/>
                <a:gd name="T90" fmla="*/ 58 w 20000"/>
                <a:gd name="T91" fmla="*/ 105 h 20000"/>
                <a:gd name="T92" fmla="*/ 61 w 20000"/>
                <a:gd name="T93" fmla="*/ 105 h 20000"/>
                <a:gd name="T94" fmla="*/ 54 w 20000"/>
                <a:gd name="T95" fmla="*/ 92 h 20000"/>
                <a:gd name="T96" fmla="*/ 58 w 20000"/>
                <a:gd name="T97" fmla="*/ 88 h 20000"/>
                <a:gd name="T98" fmla="*/ 61 w 20000"/>
                <a:gd name="T99" fmla="*/ 94 h 20000"/>
                <a:gd name="T100" fmla="*/ 65 w 20000"/>
                <a:gd name="T101" fmla="*/ 98 h 20000"/>
                <a:gd name="T102" fmla="*/ 72 w 20000"/>
                <a:gd name="T103" fmla="*/ 105 h 20000"/>
                <a:gd name="T104" fmla="*/ 75 w 20000"/>
                <a:gd name="T105" fmla="*/ 108 h 20000"/>
                <a:gd name="T106" fmla="*/ 82 w 20000"/>
                <a:gd name="T107" fmla="*/ 112 h 20000"/>
                <a:gd name="T108" fmla="*/ 86 w 20000"/>
                <a:gd name="T109" fmla="*/ 119 h 200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0000" h="20000">
                  <a:moveTo>
                    <a:pt x="19907" y="19933"/>
                  </a:moveTo>
                  <a:lnTo>
                    <a:pt x="19907" y="17659"/>
                  </a:lnTo>
                  <a:lnTo>
                    <a:pt x="18318" y="16990"/>
                  </a:lnTo>
                  <a:lnTo>
                    <a:pt x="17383" y="15853"/>
                  </a:lnTo>
                  <a:lnTo>
                    <a:pt x="18972" y="15385"/>
                  </a:lnTo>
                  <a:lnTo>
                    <a:pt x="15794" y="14716"/>
                  </a:lnTo>
                  <a:lnTo>
                    <a:pt x="15794" y="15385"/>
                  </a:lnTo>
                  <a:lnTo>
                    <a:pt x="15140" y="15385"/>
                  </a:lnTo>
                  <a:lnTo>
                    <a:pt x="14206" y="13579"/>
                  </a:lnTo>
                  <a:lnTo>
                    <a:pt x="11963" y="13579"/>
                  </a:lnTo>
                  <a:lnTo>
                    <a:pt x="11963" y="14247"/>
                  </a:lnTo>
                  <a:lnTo>
                    <a:pt x="11028" y="14716"/>
                  </a:lnTo>
                  <a:lnTo>
                    <a:pt x="8785" y="13579"/>
                  </a:lnTo>
                  <a:lnTo>
                    <a:pt x="8785" y="12441"/>
                  </a:lnTo>
                  <a:lnTo>
                    <a:pt x="8785" y="11973"/>
                  </a:lnTo>
                  <a:lnTo>
                    <a:pt x="7196" y="10167"/>
                  </a:lnTo>
                  <a:lnTo>
                    <a:pt x="7944" y="8562"/>
                  </a:lnTo>
                  <a:lnTo>
                    <a:pt x="10374" y="7960"/>
                  </a:lnTo>
                  <a:lnTo>
                    <a:pt x="11028" y="5686"/>
                  </a:lnTo>
                  <a:lnTo>
                    <a:pt x="11028" y="4548"/>
                  </a:lnTo>
                  <a:lnTo>
                    <a:pt x="9439" y="3411"/>
                  </a:lnTo>
                  <a:lnTo>
                    <a:pt x="9439" y="1806"/>
                  </a:lnTo>
                  <a:lnTo>
                    <a:pt x="9439" y="669"/>
                  </a:lnTo>
                  <a:lnTo>
                    <a:pt x="8785" y="0"/>
                  </a:lnTo>
                  <a:lnTo>
                    <a:pt x="7944" y="669"/>
                  </a:lnTo>
                  <a:lnTo>
                    <a:pt x="4766" y="0"/>
                  </a:lnTo>
                  <a:lnTo>
                    <a:pt x="3178" y="0"/>
                  </a:lnTo>
                  <a:lnTo>
                    <a:pt x="2243" y="3411"/>
                  </a:lnTo>
                  <a:lnTo>
                    <a:pt x="2243" y="5686"/>
                  </a:lnTo>
                  <a:lnTo>
                    <a:pt x="3178" y="7960"/>
                  </a:lnTo>
                  <a:lnTo>
                    <a:pt x="2243" y="8562"/>
                  </a:lnTo>
                  <a:lnTo>
                    <a:pt x="1589" y="7960"/>
                  </a:lnTo>
                  <a:lnTo>
                    <a:pt x="0" y="7425"/>
                  </a:lnTo>
                  <a:lnTo>
                    <a:pt x="1589" y="9699"/>
                  </a:lnTo>
                  <a:lnTo>
                    <a:pt x="3178" y="13110"/>
                  </a:lnTo>
                  <a:lnTo>
                    <a:pt x="3832" y="13579"/>
                  </a:lnTo>
                  <a:lnTo>
                    <a:pt x="4766" y="12441"/>
                  </a:lnTo>
                  <a:lnTo>
                    <a:pt x="5421" y="12441"/>
                  </a:lnTo>
                  <a:lnTo>
                    <a:pt x="5421" y="13579"/>
                  </a:lnTo>
                  <a:lnTo>
                    <a:pt x="4766" y="14716"/>
                  </a:lnTo>
                  <a:lnTo>
                    <a:pt x="6355" y="15385"/>
                  </a:lnTo>
                  <a:lnTo>
                    <a:pt x="7196" y="15853"/>
                  </a:lnTo>
                  <a:lnTo>
                    <a:pt x="7944" y="15853"/>
                  </a:lnTo>
                  <a:lnTo>
                    <a:pt x="8785" y="15385"/>
                  </a:lnTo>
                  <a:lnTo>
                    <a:pt x="11963" y="15853"/>
                  </a:lnTo>
                  <a:lnTo>
                    <a:pt x="13551" y="17659"/>
                  </a:lnTo>
                  <a:lnTo>
                    <a:pt x="14206" y="17659"/>
                  </a:lnTo>
                  <a:lnTo>
                    <a:pt x="12617" y="15385"/>
                  </a:lnTo>
                  <a:lnTo>
                    <a:pt x="13551" y="14716"/>
                  </a:lnTo>
                  <a:lnTo>
                    <a:pt x="14206" y="15853"/>
                  </a:lnTo>
                  <a:lnTo>
                    <a:pt x="15140" y="16522"/>
                  </a:lnTo>
                  <a:lnTo>
                    <a:pt x="16729" y="17659"/>
                  </a:lnTo>
                  <a:lnTo>
                    <a:pt x="17383" y="18127"/>
                  </a:lnTo>
                  <a:lnTo>
                    <a:pt x="18972" y="18796"/>
                  </a:lnTo>
                  <a:lnTo>
                    <a:pt x="19907" y="1993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8" name="Freeform 11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497" y="2702"/>
              <a:ext cx="44" cy="73"/>
            </a:xfrm>
            <a:custGeom>
              <a:avLst/>
              <a:gdLst>
                <a:gd name="T0" fmla="*/ 18 w 20000"/>
                <a:gd name="T1" fmla="*/ 72 h 20000"/>
                <a:gd name="T2" fmla="*/ 37 w 20000"/>
                <a:gd name="T3" fmla="*/ 61 h 20000"/>
                <a:gd name="T4" fmla="*/ 41 w 20000"/>
                <a:gd name="T5" fmla="*/ 40 h 20000"/>
                <a:gd name="T6" fmla="*/ 31 w 20000"/>
                <a:gd name="T7" fmla="*/ 24 h 20000"/>
                <a:gd name="T8" fmla="*/ 24 w 20000"/>
                <a:gd name="T9" fmla="*/ 14 h 20000"/>
                <a:gd name="T10" fmla="*/ 24 w 20000"/>
                <a:gd name="T11" fmla="*/ 11 h 20000"/>
                <a:gd name="T12" fmla="*/ 7 w 20000"/>
                <a:gd name="T13" fmla="*/ 0 h 20000"/>
                <a:gd name="T14" fmla="*/ 11 w 20000"/>
                <a:gd name="T15" fmla="*/ 4 h 20000"/>
                <a:gd name="T16" fmla="*/ 7 w 20000"/>
                <a:gd name="T17" fmla="*/ 11 h 20000"/>
                <a:gd name="T18" fmla="*/ 4 w 20000"/>
                <a:gd name="T19" fmla="*/ 14 h 20000"/>
                <a:gd name="T20" fmla="*/ 7 w 20000"/>
                <a:gd name="T21" fmla="*/ 17 h 20000"/>
                <a:gd name="T22" fmla="*/ 4 w 20000"/>
                <a:gd name="T23" fmla="*/ 31 h 20000"/>
                <a:gd name="T24" fmla="*/ 0 w 20000"/>
                <a:gd name="T25" fmla="*/ 31 h 20000"/>
                <a:gd name="T26" fmla="*/ 7 w 20000"/>
                <a:gd name="T27" fmla="*/ 44 h 20000"/>
                <a:gd name="T28" fmla="*/ 11 w 20000"/>
                <a:gd name="T29" fmla="*/ 61 h 20000"/>
                <a:gd name="T30" fmla="*/ 18 w 20000"/>
                <a:gd name="T31" fmla="*/ 72 h 20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0000" h="20000">
                  <a:moveTo>
                    <a:pt x="8544" y="19889"/>
                  </a:moveTo>
                  <a:lnTo>
                    <a:pt x="18252" y="16889"/>
                  </a:lnTo>
                  <a:lnTo>
                    <a:pt x="19806" y="11222"/>
                  </a:lnTo>
                  <a:lnTo>
                    <a:pt x="14951" y="6667"/>
                  </a:lnTo>
                  <a:lnTo>
                    <a:pt x="11650" y="3778"/>
                  </a:lnTo>
                  <a:lnTo>
                    <a:pt x="11650" y="3000"/>
                  </a:lnTo>
                  <a:lnTo>
                    <a:pt x="3301" y="0"/>
                  </a:lnTo>
                  <a:lnTo>
                    <a:pt x="5243" y="1111"/>
                  </a:lnTo>
                  <a:lnTo>
                    <a:pt x="3301" y="3000"/>
                  </a:lnTo>
                  <a:lnTo>
                    <a:pt x="1942" y="3778"/>
                  </a:lnTo>
                  <a:lnTo>
                    <a:pt x="3301" y="4778"/>
                  </a:lnTo>
                  <a:lnTo>
                    <a:pt x="1942" y="8556"/>
                  </a:lnTo>
                  <a:lnTo>
                    <a:pt x="0" y="8556"/>
                  </a:lnTo>
                  <a:lnTo>
                    <a:pt x="3301" y="12333"/>
                  </a:lnTo>
                  <a:lnTo>
                    <a:pt x="5243" y="16889"/>
                  </a:lnTo>
                  <a:lnTo>
                    <a:pt x="8544" y="19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09" name="Freeform 11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009" y="2504"/>
              <a:ext cx="40" cy="37"/>
            </a:xfrm>
            <a:custGeom>
              <a:avLst/>
              <a:gdLst>
                <a:gd name="T0" fmla="*/ 14 w 20000"/>
                <a:gd name="T1" fmla="*/ 3 h 20000"/>
                <a:gd name="T2" fmla="*/ 18 w 20000"/>
                <a:gd name="T3" fmla="*/ 3 h 20000"/>
                <a:gd name="T4" fmla="*/ 34 w 20000"/>
                <a:gd name="T5" fmla="*/ 3 h 20000"/>
                <a:gd name="T6" fmla="*/ 37 w 20000"/>
                <a:gd name="T7" fmla="*/ 0 h 20000"/>
                <a:gd name="T8" fmla="*/ 41 w 20000"/>
                <a:gd name="T9" fmla="*/ 3 h 20000"/>
                <a:gd name="T10" fmla="*/ 41 w 20000"/>
                <a:gd name="T11" fmla="*/ 10 h 20000"/>
                <a:gd name="T12" fmla="*/ 34 w 20000"/>
                <a:gd name="T13" fmla="*/ 16 h 20000"/>
                <a:gd name="T14" fmla="*/ 34 w 20000"/>
                <a:gd name="T15" fmla="*/ 27 h 20000"/>
                <a:gd name="T16" fmla="*/ 24 w 20000"/>
                <a:gd name="T17" fmla="*/ 30 h 20000"/>
                <a:gd name="T18" fmla="*/ 18 w 20000"/>
                <a:gd name="T19" fmla="*/ 37 h 20000"/>
                <a:gd name="T20" fmla="*/ 0 w 20000"/>
                <a:gd name="T21" fmla="*/ 30 h 20000"/>
                <a:gd name="T22" fmla="*/ 0 w 20000"/>
                <a:gd name="T23" fmla="*/ 16 h 20000"/>
                <a:gd name="T24" fmla="*/ 11 w 20000"/>
                <a:gd name="T25" fmla="*/ 10 h 20000"/>
                <a:gd name="T26" fmla="*/ 11 w 20000"/>
                <a:gd name="T27" fmla="*/ 3 h 20000"/>
                <a:gd name="T28" fmla="*/ 14 w 20000"/>
                <a:gd name="T29" fmla="*/ 3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000" h="20000">
                  <a:moveTo>
                    <a:pt x="6602" y="1505"/>
                  </a:moveTo>
                  <a:lnTo>
                    <a:pt x="8544" y="1505"/>
                  </a:lnTo>
                  <a:lnTo>
                    <a:pt x="16505" y="1505"/>
                  </a:lnTo>
                  <a:lnTo>
                    <a:pt x="18252" y="0"/>
                  </a:lnTo>
                  <a:lnTo>
                    <a:pt x="19806" y="1505"/>
                  </a:lnTo>
                  <a:lnTo>
                    <a:pt x="19806" y="5161"/>
                  </a:lnTo>
                  <a:lnTo>
                    <a:pt x="16505" y="8817"/>
                  </a:lnTo>
                  <a:lnTo>
                    <a:pt x="16505" y="14409"/>
                  </a:lnTo>
                  <a:lnTo>
                    <a:pt x="11650" y="16129"/>
                  </a:lnTo>
                  <a:lnTo>
                    <a:pt x="8544" y="19785"/>
                  </a:lnTo>
                  <a:lnTo>
                    <a:pt x="0" y="16129"/>
                  </a:lnTo>
                  <a:lnTo>
                    <a:pt x="0" y="8817"/>
                  </a:lnTo>
                  <a:lnTo>
                    <a:pt x="5243" y="5161"/>
                  </a:lnTo>
                  <a:lnTo>
                    <a:pt x="5243" y="1505"/>
                  </a:lnTo>
                  <a:lnTo>
                    <a:pt x="6602" y="150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0" name="Freeform 11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409" y="2794"/>
              <a:ext cx="7" cy="8"/>
            </a:xfrm>
            <a:custGeom>
              <a:avLst/>
              <a:gdLst>
                <a:gd name="T0" fmla="*/ 7 w 20000"/>
                <a:gd name="T1" fmla="*/ 8 h 20000"/>
                <a:gd name="T2" fmla="*/ 4 w 20000"/>
                <a:gd name="T3" fmla="*/ 8 h 20000"/>
                <a:gd name="T4" fmla="*/ 0 w 20000"/>
                <a:gd name="T5" fmla="*/ 8 h 20000"/>
                <a:gd name="T6" fmla="*/ 0 w 20000"/>
                <a:gd name="T7" fmla="*/ 0 h 20000"/>
                <a:gd name="T8" fmla="*/ 4 w 20000"/>
                <a:gd name="T9" fmla="*/ 0 h 20000"/>
                <a:gd name="T10" fmla="*/ 4 w 20000"/>
                <a:gd name="T11" fmla="*/ 3 h 20000"/>
                <a:gd name="T12" fmla="*/ 7 w 20000"/>
                <a:gd name="T13" fmla="*/ 8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18889" y="18889"/>
                  </a:moveTo>
                  <a:lnTo>
                    <a:pt x="11111" y="18889"/>
                  </a:lnTo>
                  <a:lnTo>
                    <a:pt x="0" y="18889"/>
                  </a:lnTo>
                  <a:lnTo>
                    <a:pt x="0" y="0"/>
                  </a:lnTo>
                  <a:lnTo>
                    <a:pt x="11111" y="0"/>
                  </a:lnTo>
                  <a:lnTo>
                    <a:pt x="11111" y="7778"/>
                  </a:lnTo>
                  <a:lnTo>
                    <a:pt x="18889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1" name="Freeform 11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038" y="1946"/>
              <a:ext cx="50" cy="64"/>
            </a:xfrm>
            <a:custGeom>
              <a:avLst/>
              <a:gdLst>
                <a:gd name="T0" fmla="*/ 38 w 20000"/>
                <a:gd name="T1" fmla="*/ 50 h 20000"/>
                <a:gd name="T2" fmla="*/ 45 w 20000"/>
                <a:gd name="T3" fmla="*/ 37 h 20000"/>
                <a:gd name="T4" fmla="*/ 45 w 20000"/>
                <a:gd name="T5" fmla="*/ 23 h 20000"/>
                <a:gd name="T6" fmla="*/ 49 w 20000"/>
                <a:gd name="T7" fmla="*/ 3 h 20000"/>
                <a:gd name="T8" fmla="*/ 45 w 20000"/>
                <a:gd name="T9" fmla="*/ 0 h 20000"/>
                <a:gd name="T10" fmla="*/ 42 w 20000"/>
                <a:gd name="T11" fmla="*/ 3 h 20000"/>
                <a:gd name="T12" fmla="*/ 7 w 20000"/>
                <a:gd name="T13" fmla="*/ 16 h 20000"/>
                <a:gd name="T14" fmla="*/ 0 w 20000"/>
                <a:gd name="T15" fmla="*/ 60 h 20000"/>
                <a:gd name="T16" fmla="*/ 11 w 20000"/>
                <a:gd name="T17" fmla="*/ 57 h 20000"/>
                <a:gd name="T18" fmla="*/ 17 w 20000"/>
                <a:gd name="T19" fmla="*/ 64 h 20000"/>
                <a:gd name="T20" fmla="*/ 28 w 20000"/>
                <a:gd name="T21" fmla="*/ 64 h 20000"/>
                <a:gd name="T22" fmla="*/ 38 w 20000"/>
                <a:gd name="T23" fmla="*/ 60 h 20000"/>
                <a:gd name="T24" fmla="*/ 38 w 20000"/>
                <a:gd name="T25" fmla="*/ 50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000" h="20000">
                  <a:moveTo>
                    <a:pt x="15410" y="15652"/>
                  </a:moveTo>
                  <a:lnTo>
                    <a:pt x="18197" y="11429"/>
                  </a:lnTo>
                  <a:lnTo>
                    <a:pt x="18197" y="7205"/>
                  </a:lnTo>
                  <a:lnTo>
                    <a:pt x="19836" y="870"/>
                  </a:lnTo>
                  <a:lnTo>
                    <a:pt x="18197" y="0"/>
                  </a:lnTo>
                  <a:lnTo>
                    <a:pt x="17049" y="870"/>
                  </a:lnTo>
                  <a:lnTo>
                    <a:pt x="2787" y="5093"/>
                  </a:lnTo>
                  <a:lnTo>
                    <a:pt x="0" y="18882"/>
                  </a:lnTo>
                  <a:lnTo>
                    <a:pt x="4426" y="17764"/>
                  </a:lnTo>
                  <a:lnTo>
                    <a:pt x="7049" y="19876"/>
                  </a:lnTo>
                  <a:lnTo>
                    <a:pt x="11475" y="19876"/>
                  </a:lnTo>
                  <a:lnTo>
                    <a:pt x="15410" y="18882"/>
                  </a:lnTo>
                  <a:lnTo>
                    <a:pt x="15410" y="1565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2" name="Freeform 11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011" y="1982"/>
              <a:ext cx="1" cy="5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31 h 20000"/>
                <a:gd name="T4" fmla="*/ 0 w 20000"/>
                <a:gd name="T5" fmla="*/ 59 h 20000"/>
                <a:gd name="T6" fmla="*/ 0 w 20000"/>
                <a:gd name="T7" fmla="*/ 31 h 20000"/>
                <a:gd name="T8" fmla="*/ 0 w 20000"/>
                <a:gd name="T9" fmla="*/ 0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0" y="0"/>
                  </a:moveTo>
                  <a:lnTo>
                    <a:pt x="0" y="10548"/>
                  </a:lnTo>
                  <a:lnTo>
                    <a:pt x="0" y="19863"/>
                  </a:lnTo>
                  <a:lnTo>
                    <a:pt x="0" y="1054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3" name="Freeform 11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068" y="2047"/>
              <a:ext cx="137" cy="99"/>
            </a:xfrm>
            <a:custGeom>
              <a:avLst/>
              <a:gdLst>
                <a:gd name="T0" fmla="*/ 136 w 20000"/>
                <a:gd name="T1" fmla="*/ 99 h 20000"/>
                <a:gd name="T2" fmla="*/ 132 w 20000"/>
                <a:gd name="T3" fmla="*/ 92 h 20000"/>
                <a:gd name="T4" fmla="*/ 119 w 20000"/>
                <a:gd name="T5" fmla="*/ 92 h 20000"/>
                <a:gd name="T6" fmla="*/ 108 w 20000"/>
                <a:gd name="T7" fmla="*/ 82 h 20000"/>
                <a:gd name="T8" fmla="*/ 72 w 20000"/>
                <a:gd name="T9" fmla="*/ 55 h 20000"/>
                <a:gd name="T10" fmla="*/ 65 w 20000"/>
                <a:gd name="T11" fmla="*/ 55 h 20000"/>
                <a:gd name="T12" fmla="*/ 58 w 20000"/>
                <a:gd name="T13" fmla="*/ 44 h 20000"/>
                <a:gd name="T14" fmla="*/ 44 w 20000"/>
                <a:gd name="T15" fmla="*/ 27 h 20000"/>
                <a:gd name="T16" fmla="*/ 34 w 20000"/>
                <a:gd name="T17" fmla="*/ 30 h 20000"/>
                <a:gd name="T18" fmla="*/ 27 w 20000"/>
                <a:gd name="T19" fmla="*/ 30 h 20000"/>
                <a:gd name="T20" fmla="*/ 24 w 20000"/>
                <a:gd name="T21" fmla="*/ 10 h 20000"/>
                <a:gd name="T22" fmla="*/ 0 w 20000"/>
                <a:gd name="T23" fmla="*/ 0 h 20000"/>
                <a:gd name="T24" fmla="*/ 18 w 20000"/>
                <a:gd name="T25" fmla="*/ 7 h 20000"/>
                <a:gd name="T26" fmla="*/ 24 w 20000"/>
                <a:gd name="T27" fmla="*/ 10 h 20000"/>
                <a:gd name="T28" fmla="*/ 27 w 20000"/>
                <a:gd name="T29" fmla="*/ 30 h 20000"/>
                <a:gd name="T30" fmla="*/ 34 w 20000"/>
                <a:gd name="T31" fmla="*/ 30 h 20000"/>
                <a:gd name="T32" fmla="*/ 44 w 20000"/>
                <a:gd name="T33" fmla="*/ 27 h 20000"/>
                <a:gd name="T34" fmla="*/ 58 w 20000"/>
                <a:gd name="T35" fmla="*/ 48 h 20000"/>
                <a:gd name="T36" fmla="*/ 65 w 20000"/>
                <a:gd name="T37" fmla="*/ 58 h 20000"/>
                <a:gd name="T38" fmla="*/ 72 w 20000"/>
                <a:gd name="T39" fmla="*/ 55 h 20000"/>
                <a:gd name="T40" fmla="*/ 119 w 20000"/>
                <a:gd name="T41" fmla="*/ 92 h 20000"/>
                <a:gd name="T42" fmla="*/ 132 w 20000"/>
                <a:gd name="T43" fmla="*/ 92 h 20000"/>
                <a:gd name="T44" fmla="*/ 136 w 20000"/>
                <a:gd name="T45" fmla="*/ 99 h 200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0000" h="20000">
                  <a:moveTo>
                    <a:pt x="19941" y="19919"/>
                  </a:moveTo>
                  <a:lnTo>
                    <a:pt x="19471" y="18537"/>
                  </a:lnTo>
                  <a:lnTo>
                    <a:pt x="17471" y="18537"/>
                  </a:lnTo>
                  <a:lnTo>
                    <a:pt x="15941" y="16504"/>
                  </a:lnTo>
                  <a:lnTo>
                    <a:pt x="10529" y="11057"/>
                  </a:lnTo>
                  <a:lnTo>
                    <a:pt x="9529" y="11057"/>
                  </a:lnTo>
                  <a:lnTo>
                    <a:pt x="8529" y="8862"/>
                  </a:lnTo>
                  <a:lnTo>
                    <a:pt x="6529" y="5528"/>
                  </a:lnTo>
                  <a:lnTo>
                    <a:pt x="5000" y="6098"/>
                  </a:lnTo>
                  <a:lnTo>
                    <a:pt x="4000" y="6098"/>
                  </a:lnTo>
                  <a:lnTo>
                    <a:pt x="3529" y="1951"/>
                  </a:lnTo>
                  <a:lnTo>
                    <a:pt x="0" y="0"/>
                  </a:lnTo>
                  <a:lnTo>
                    <a:pt x="2588" y="1382"/>
                  </a:lnTo>
                  <a:lnTo>
                    <a:pt x="3529" y="1951"/>
                  </a:lnTo>
                  <a:lnTo>
                    <a:pt x="4000" y="6098"/>
                  </a:lnTo>
                  <a:lnTo>
                    <a:pt x="5000" y="6098"/>
                  </a:lnTo>
                  <a:lnTo>
                    <a:pt x="6529" y="5528"/>
                  </a:lnTo>
                  <a:lnTo>
                    <a:pt x="8529" y="9675"/>
                  </a:lnTo>
                  <a:lnTo>
                    <a:pt x="9529" y="11626"/>
                  </a:lnTo>
                  <a:lnTo>
                    <a:pt x="10529" y="11057"/>
                  </a:lnTo>
                  <a:lnTo>
                    <a:pt x="17471" y="18537"/>
                  </a:lnTo>
                  <a:lnTo>
                    <a:pt x="19471" y="18537"/>
                  </a:lnTo>
                  <a:lnTo>
                    <a:pt x="19941" y="1991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4" name="Freeform 11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898" y="890"/>
              <a:ext cx="2981" cy="1306"/>
            </a:xfrm>
            <a:custGeom>
              <a:avLst/>
              <a:gdLst>
                <a:gd name="T0" fmla="*/ 1358 w 20000"/>
                <a:gd name="T1" fmla="*/ 875 h 20000"/>
                <a:gd name="T2" fmla="*/ 1782 w 20000"/>
                <a:gd name="T3" fmla="*/ 892 h 20000"/>
                <a:gd name="T4" fmla="*/ 2145 w 20000"/>
                <a:gd name="T5" fmla="*/ 821 h 20000"/>
                <a:gd name="T6" fmla="*/ 2427 w 20000"/>
                <a:gd name="T7" fmla="*/ 926 h 20000"/>
                <a:gd name="T8" fmla="*/ 2444 w 20000"/>
                <a:gd name="T9" fmla="*/ 716 h 20000"/>
                <a:gd name="T10" fmla="*/ 2508 w 20000"/>
                <a:gd name="T11" fmla="*/ 520 h 20000"/>
                <a:gd name="T12" fmla="*/ 2668 w 20000"/>
                <a:gd name="T13" fmla="*/ 422 h 20000"/>
                <a:gd name="T14" fmla="*/ 2776 w 20000"/>
                <a:gd name="T15" fmla="*/ 761 h 20000"/>
                <a:gd name="T16" fmla="*/ 2740 w 20000"/>
                <a:gd name="T17" fmla="*/ 510 h 20000"/>
                <a:gd name="T18" fmla="*/ 2859 w 20000"/>
                <a:gd name="T19" fmla="*/ 328 h 20000"/>
                <a:gd name="T20" fmla="*/ 2848 w 20000"/>
                <a:gd name="T21" fmla="*/ 188 h 20000"/>
                <a:gd name="T22" fmla="*/ 2950 w 20000"/>
                <a:gd name="T23" fmla="*/ 114 h 20000"/>
                <a:gd name="T24" fmla="*/ 2753 w 20000"/>
                <a:gd name="T25" fmla="*/ 16 h 20000"/>
                <a:gd name="T26" fmla="*/ 2356 w 20000"/>
                <a:gd name="T27" fmla="*/ 50 h 20000"/>
                <a:gd name="T28" fmla="*/ 2068 w 20000"/>
                <a:gd name="T29" fmla="*/ 80 h 20000"/>
                <a:gd name="T30" fmla="*/ 1888 w 20000"/>
                <a:gd name="T31" fmla="*/ 155 h 20000"/>
                <a:gd name="T32" fmla="*/ 1697 w 20000"/>
                <a:gd name="T33" fmla="*/ 172 h 20000"/>
                <a:gd name="T34" fmla="*/ 1602 w 20000"/>
                <a:gd name="T35" fmla="*/ 141 h 20000"/>
                <a:gd name="T36" fmla="*/ 1463 w 20000"/>
                <a:gd name="T37" fmla="*/ 46 h 20000"/>
                <a:gd name="T38" fmla="*/ 1392 w 20000"/>
                <a:gd name="T39" fmla="*/ 121 h 20000"/>
                <a:gd name="T40" fmla="*/ 1313 w 20000"/>
                <a:gd name="T41" fmla="*/ 229 h 20000"/>
                <a:gd name="T42" fmla="*/ 1222 w 20000"/>
                <a:gd name="T43" fmla="*/ 308 h 20000"/>
                <a:gd name="T44" fmla="*/ 1256 w 20000"/>
                <a:gd name="T45" fmla="*/ 405 h 20000"/>
                <a:gd name="T46" fmla="*/ 1086 w 20000"/>
                <a:gd name="T47" fmla="*/ 364 h 20000"/>
                <a:gd name="T48" fmla="*/ 954 w 20000"/>
                <a:gd name="T49" fmla="*/ 470 h 20000"/>
                <a:gd name="T50" fmla="*/ 814 w 20000"/>
                <a:gd name="T51" fmla="*/ 517 h 20000"/>
                <a:gd name="T52" fmla="*/ 641 w 20000"/>
                <a:gd name="T53" fmla="*/ 463 h 20000"/>
                <a:gd name="T54" fmla="*/ 560 w 20000"/>
                <a:gd name="T55" fmla="*/ 422 h 20000"/>
                <a:gd name="T56" fmla="*/ 486 w 20000"/>
                <a:gd name="T57" fmla="*/ 443 h 20000"/>
                <a:gd name="T58" fmla="*/ 411 w 20000"/>
                <a:gd name="T59" fmla="*/ 480 h 20000"/>
                <a:gd name="T60" fmla="*/ 391 w 20000"/>
                <a:gd name="T61" fmla="*/ 514 h 20000"/>
                <a:gd name="T62" fmla="*/ 350 w 20000"/>
                <a:gd name="T63" fmla="*/ 588 h 20000"/>
                <a:gd name="T64" fmla="*/ 292 w 20000"/>
                <a:gd name="T65" fmla="*/ 653 h 20000"/>
                <a:gd name="T66" fmla="*/ 265 w 20000"/>
                <a:gd name="T67" fmla="*/ 693 h 20000"/>
                <a:gd name="T68" fmla="*/ 254 w 20000"/>
                <a:gd name="T69" fmla="*/ 748 h 20000"/>
                <a:gd name="T70" fmla="*/ 330 w 20000"/>
                <a:gd name="T71" fmla="*/ 748 h 20000"/>
                <a:gd name="T72" fmla="*/ 391 w 20000"/>
                <a:gd name="T73" fmla="*/ 855 h 20000"/>
                <a:gd name="T74" fmla="*/ 434 w 20000"/>
                <a:gd name="T75" fmla="*/ 723 h 20000"/>
                <a:gd name="T76" fmla="*/ 486 w 20000"/>
                <a:gd name="T77" fmla="*/ 608 h 20000"/>
                <a:gd name="T78" fmla="*/ 503 w 20000"/>
                <a:gd name="T79" fmla="*/ 642 h 20000"/>
                <a:gd name="T80" fmla="*/ 570 w 20000"/>
                <a:gd name="T81" fmla="*/ 723 h 20000"/>
                <a:gd name="T82" fmla="*/ 486 w 20000"/>
                <a:gd name="T83" fmla="*/ 875 h 20000"/>
                <a:gd name="T84" fmla="*/ 340 w 20000"/>
                <a:gd name="T85" fmla="*/ 902 h 20000"/>
                <a:gd name="T86" fmla="*/ 295 w 20000"/>
                <a:gd name="T87" fmla="*/ 862 h 20000"/>
                <a:gd name="T88" fmla="*/ 258 w 20000"/>
                <a:gd name="T89" fmla="*/ 929 h 20000"/>
                <a:gd name="T90" fmla="*/ 139 w 20000"/>
                <a:gd name="T91" fmla="*/ 1004 h 20000"/>
                <a:gd name="T92" fmla="*/ 150 w 20000"/>
                <a:gd name="T93" fmla="*/ 1098 h 20000"/>
                <a:gd name="T94" fmla="*/ 7 w 20000"/>
                <a:gd name="T95" fmla="*/ 1231 h 20000"/>
                <a:gd name="T96" fmla="*/ 119 w 20000"/>
                <a:gd name="T97" fmla="*/ 1288 h 20000"/>
                <a:gd name="T98" fmla="*/ 220 w 20000"/>
                <a:gd name="T99" fmla="*/ 1170 h 20000"/>
                <a:gd name="T100" fmla="*/ 336 w 20000"/>
                <a:gd name="T101" fmla="*/ 1139 h 20000"/>
                <a:gd name="T102" fmla="*/ 434 w 20000"/>
                <a:gd name="T103" fmla="*/ 1268 h 20000"/>
                <a:gd name="T104" fmla="*/ 370 w 20000"/>
                <a:gd name="T105" fmla="*/ 1123 h 20000"/>
                <a:gd name="T106" fmla="*/ 479 w 20000"/>
                <a:gd name="T107" fmla="*/ 1166 h 20000"/>
                <a:gd name="T108" fmla="*/ 537 w 20000"/>
                <a:gd name="T109" fmla="*/ 1274 h 20000"/>
                <a:gd name="T110" fmla="*/ 577 w 20000"/>
                <a:gd name="T111" fmla="*/ 1248 h 20000"/>
                <a:gd name="T112" fmla="*/ 577 w 20000"/>
                <a:gd name="T113" fmla="*/ 1204 h 20000"/>
                <a:gd name="T114" fmla="*/ 628 w 20000"/>
                <a:gd name="T115" fmla="*/ 1211 h 20000"/>
                <a:gd name="T116" fmla="*/ 634 w 20000"/>
                <a:gd name="T117" fmla="*/ 1285 h 20000"/>
                <a:gd name="T118" fmla="*/ 784 w 20000"/>
                <a:gd name="T119" fmla="*/ 1295 h 20000"/>
                <a:gd name="T120" fmla="*/ 933 w 20000"/>
                <a:gd name="T121" fmla="*/ 1254 h 20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0000" h="20000">
                  <a:moveTo>
                    <a:pt x="6670" y="18064"/>
                  </a:moveTo>
                  <a:lnTo>
                    <a:pt x="6552" y="17758"/>
                  </a:lnTo>
                  <a:lnTo>
                    <a:pt x="6483" y="17550"/>
                  </a:lnTo>
                  <a:lnTo>
                    <a:pt x="6483" y="17299"/>
                  </a:lnTo>
                  <a:lnTo>
                    <a:pt x="6461" y="17194"/>
                  </a:lnTo>
                  <a:lnTo>
                    <a:pt x="6391" y="17090"/>
                  </a:lnTo>
                  <a:lnTo>
                    <a:pt x="6437" y="17029"/>
                  </a:lnTo>
                  <a:lnTo>
                    <a:pt x="6373" y="17029"/>
                  </a:lnTo>
                  <a:lnTo>
                    <a:pt x="6437" y="16613"/>
                  </a:lnTo>
                  <a:lnTo>
                    <a:pt x="6552" y="16570"/>
                  </a:lnTo>
                  <a:lnTo>
                    <a:pt x="6643" y="16361"/>
                  </a:lnTo>
                  <a:lnTo>
                    <a:pt x="6528" y="16361"/>
                  </a:lnTo>
                  <a:lnTo>
                    <a:pt x="6391" y="15473"/>
                  </a:lnTo>
                  <a:lnTo>
                    <a:pt x="6282" y="15473"/>
                  </a:lnTo>
                  <a:lnTo>
                    <a:pt x="6418" y="14542"/>
                  </a:lnTo>
                  <a:lnTo>
                    <a:pt x="6670" y="14438"/>
                  </a:lnTo>
                  <a:lnTo>
                    <a:pt x="6941" y="14603"/>
                  </a:lnTo>
                  <a:lnTo>
                    <a:pt x="7686" y="14806"/>
                  </a:lnTo>
                  <a:lnTo>
                    <a:pt x="7598" y="14334"/>
                  </a:lnTo>
                  <a:lnTo>
                    <a:pt x="7686" y="13299"/>
                  </a:lnTo>
                  <a:lnTo>
                    <a:pt x="8193" y="13090"/>
                  </a:lnTo>
                  <a:lnTo>
                    <a:pt x="8531" y="13152"/>
                  </a:lnTo>
                  <a:lnTo>
                    <a:pt x="8847" y="12943"/>
                  </a:lnTo>
                  <a:lnTo>
                    <a:pt x="9099" y="13403"/>
                  </a:lnTo>
                  <a:lnTo>
                    <a:pt x="9464" y="13299"/>
                  </a:lnTo>
                  <a:lnTo>
                    <a:pt x="9853" y="13874"/>
                  </a:lnTo>
                  <a:lnTo>
                    <a:pt x="10105" y="14438"/>
                  </a:lnTo>
                  <a:lnTo>
                    <a:pt x="10424" y="14542"/>
                  </a:lnTo>
                  <a:lnTo>
                    <a:pt x="10625" y="14750"/>
                  </a:lnTo>
                  <a:lnTo>
                    <a:pt x="10831" y="14855"/>
                  </a:lnTo>
                  <a:lnTo>
                    <a:pt x="10895" y="14806"/>
                  </a:lnTo>
                  <a:lnTo>
                    <a:pt x="10922" y="14708"/>
                  </a:lnTo>
                  <a:lnTo>
                    <a:pt x="11078" y="14542"/>
                  </a:lnTo>
                  <a:lnTo>
                    <a:pt x="11078" y="14438"/>
                  </a:lnTo>
                  <a:lnTo>
                    <a:pt x="11147" y="14291"/>
                  </a:lnTo>
                  <a:lnTo>
                    <a:pt x="11169" y="14230"/>
                  </a:lnTo>
                  <a:lnTo>
                    <a:pt x="11239" y="14126"/>
                  </a:lnTo>
                  <a:lnTo>
                    <a:pt x="11375" y="14083"/>
                  </a:lnTo>
                  <a:lnTo>
                    <a:pt x="11421" y="14187"/>
                  </a:lnTo>
                  <a:lnTo>
                    <a:pt x="11558" y="14126"/>
                  </a:lnTo>
                  <a:lnTo>
                    <a:pt x="11582" y="14291"/>
                  </a:lnTo>
                  <a:lnTo>
                    <a:pt x="11673" y="14334"/>
                  </a:lnTo>
                  <a:lnTo>
                    <a:pt x="11828" y="14334"/>
                  </a:lnTo>
                  <a:lnTo>
                    <a:pt x="12038" y="14291"/>
                  </a:lnTo>
                  <a:lnTo>
                    <a:pt x="11992" y="14126"/>
                  </a:lnTo>
                  <a:lnTo>
                    <a:pt x="11965" y="13979"/>
                  </a:lnTo>
                  <a:lnTo>
                    <a:pt x="11920" y="13715"/>
                  </a:lnTo>
                  <a:lnTo>
                    <a:pt x="11946" y="13666"/>
                  </a:lnTo>
                  <a:lnTo>
                    <a:pt x="11992" y="13507"/>
                  </a:lnTo>
                  <a:lnTo>
                    <a:pt x="11992" y="13403"/>
                  </a:lnTo>
                  <a:lnTo>
                    <a:pt x="12354" y="13611"/>
                  </a:lnTo>
                  <a:lnTo>
                    <a:pt x="12517" y="14021"/>
                  </a:lnTo>
                  <a:lnTo>
                    <a:pt x="12627" y="14021"/>
                  </a:lnTo>
                  <a:lnTo>
                    <a:pt x="12834" y="13874"/>
                  </a:lnTo>
                  <a:lnTo>
                    <a:pt x="12925" y="13917"/>
                  </a:lnTo>
                  <a:lnTo>
                    <a:pt x="13126" y="14083"/>
                  </a:lnTo>
                  <a:lnTo>
                    <a:pt x="13150" y="14187"/>
                  </a:lnTo>
                  <a:lnTo>
                    <a:pt x="13241" y="14291"/>
                  </a:lnTo>
                  <a:lnTo>
                    <a:pt x="13308" y="14291"/>
                  </a:lnTo>
                  <a:lnTo>
                    <a:pt x="13469" y="14291"/>
                  </a:lnTo>
                  <a:lnTo>
                    <a:pt x="13721" y="14083"/>
                  </a:lnTo>
                  <a:lnTo>
                    <a:pt x="13786" y="13715"/>
                  </a:lnTo>
                  <a:lnTo>
                    <a:pt x="13995" y="13874"/>
                  </a:lnTo>
                  <a:lnTo>
                    <a:pt x="14131" y="13874"/>
                  </a:lnTo>
                  <a:lnTo>
                    <a:pt x="14174" y="13874"/>
                  </a:lnTo>
                  <a:lnTo>
                    <a:pt x="14265" y="13917"/>
                  </a:lnTo>
                  <a:lnTo>
                    <a:pt x="14375" y="13666"/>
                  </a:lnTo>
                  <a:lnTo>
                    <a:pt x="14332" y="13507"/>
                  </a:lnTo>
                  <a:lnTo>
                    <a:pt x="14357" y="13194"/>
                  </a:lnTo>
                  <a:lnTo>
                    <a:pt x="14402" y="12674"/>
                  </a:lnTo>
                  <a:lnTo>
                    <a:pt x="14375" y="12570"/>
                  </a:lnTo>
                  <a:lnTo>
                    <a:pt x="14332" y="12472"/>
                  </a:lnTo>
                  <a:lnTo>
                    <a:pt x="14287" y="12472"/>
                  </a:lnTo>
                  <a:lnTo>
                    <a:pt x="14332" y="12214"/>
                  </a:lnTo>
                  <a:lnTo>
                    <a:pt x="14539" y="12012"/>
                  </a:lnTo>
                  <a:lnTo>
                    <a:pt x="14609" y="11951"/>
                  </a:lnTo>
                  <a:lnTo>
                    <a:pt x="14676" y="12012"/>
                  </a:lnTo>
                  <a:lnTo>
                    <a:pt x="14810" y="12055"/>
                  </a:lnTo>
                  <a:lnTo>
                    <a:pt x="14882" y="12110"/>
                  </a:lnTo>
                  <a:lnTo>
                    <a:pt x="14928" y="12159"/>
                  </a:lnTo>
                  <a:lnTo>
                    <a:pt x="15129" y="12839"/>
                  </a:lnTo>
                  <a:lnTo>
                    <a:pt x="15220" y="13047"/>
                  </a:lnTo>
                  <a:lnTo>
                    <a:pt x="15290" y="13360"/>
                  </a:lnTo>
                  <a:lnTo>
                    <a:pt x="15335" y="13507"/>
                  </a:lnTo>
                  <a:lnTo>
                    <a:pt x="15381" y="13611"/>
                  </a:lnTo>
                  <a:lnTo>
                    <a:pt x="15491" y="13611"/>
                  </a:lnTo>
                  <a:lnTo>
                    <a:pt x="15563" y="13611"/>
                  </a:lnTo>
                  <a:lnTo>
                    <a:pt x="15745" y="13813"/>
                  </a:lnTo>
                  <a:lnTo>
                    <a:pt x="15861" y="14334"/>
                  </a:lnTo>
                  <a:lnTo>
                    <a:pt x="15906" y="14334"/>
                  </a:lnTo>
                  <a:lnTo>
                    <a:pt x="16016" y="14291"/>
                  </a:lnTo>
                  <a:lnTo>
                    <a:pt x="16062" y="14126"/>
                  </a:lnTo>
                  <a:lnTo>
                    <a:pt x="16180" y="14021"/>
                  </a:lnTo>
                  <a:lnTo>
                    <a:pt x="16268" y="13917"/>
                  </a:lnTo>
                  <a:lnTo>
                    <a:pt x="16268" y="14187"/>
                  </a:lnTo>
                  <a:lnTo>
                    <a:pt x="16268" y="14438"/>
                  </a:lnTo>
                  <a:lnTo>
                    <a:pt x="16244" y="14542"/>
                  </a:lnTo>
                  <a:lnTo>
                    <a:pt x="16244" y="15430"/>
                  </a:lnTo>
                  <a:lnTo>
                    <a:pt x="16107" y="15326"/>
                  </a:lnTo>
                  <a:lnTo>
                    <a:pt x="16043" y="15534"/>
                  </a:lnTo>
                  <a:lnTo>
                    <a:pt x="16134" y="16153"/>
                  </a:lnTo>
                  <a:lnTo>
                    <a:pt x="16107" y="16466"/>
                  </a:lnTo>
                  <a:lnTo>
                    <a:pt x="16107" y="16570"/>
                  </a:lnTo>
                  <a:lnTo>
                    <a:pt x="16107" y="16613"/>
                  </a:lnTo>
                  <a:lnTo>
                    <a:pt x="16198" y="16202"/>
                  </a:lnTo>
                  <a:lnTo>
                    <a:pt x="16268" y="16202"/>
                  </a:lnTo>
                  <a:lnTo>
                    <a:pt x="16290" y="16306"/>
                  </a:lnTo>
                  <a:lnTo>
                    <a:pt x="16381" y="16361"/>
                  </a:lnTo>
                  <a:lnTo>
                    <a:pt x="16469" y="16306"/>
                  </a:lnTo>
                  <a:lnTo>
                    <a:pt x="16606" y="15951"/>
                  </a:lnTo>
                  <a:lnTo>
                    <a:pt x="16769" y="14910"/>
                  </a:lnTo>
                  <a:lnTo>
                    <a:pt x="16769" y="14395"/>
                  </a:lnTo>
                  <a:lnTo>
                    <a:pt x="16858" y="13770"/>
                  </a:lnTo>
                  <a:lnTo>
                    <a:pt x="16697" y="12319"/>
                  </a:lnTo>
                  <a:lnTo>
                    <a:pt x="16724" y="11951"/>
                  </a:lnTo>
                  <a:lnTo>
                    <a:pt x="16587" y="11553"/>
                  </a:lnTo>
                  <a:lnTo>
                    <a:pt x="16633" y="11553"/>
                  </a:lnTo>
                  <a:lnTo>
                    <a:pt x="16633" y="11449"/>
                  </a:lnTo>
                  <a:lnTo>
                    <a:pt x="16381" y="10971"/>
                  </a:lnTo>
                  <a:lnTo>
                    <a:pt x="16244" y="11032"/>
                  </a:lnTo>
                  <a:lnTo>
                    <a:pt x="16290" y="11283"/>
                  </a:lnTo>
                  <a:lnTo>
                    <a:pt x="16268" y="11449"/>
                  </a:lnTo>
                  <a:lnTo>
                    <a:pt x="16244" y="11240"/>
                  </a:lnTo>
                  <a:lnTo>
                    <a:pt x="16153" y="11449"/>
                  </a:lnTo>
                  <a:lnTo>
                    <a:pt x="16134" y="11075"/>
                  </a:lnTo>
                  <a:lnTo>
                    <a:pt x="16088" y="11179"/>
                  </a:lnTo>
                  <a:lnTo>
                    <a:pt x="16107" y="11283"/>
                  </a:lnTo>
                  <a:lnTo>
                    <a:pt x="16062" y="11387"/>
                  </a:lnTo>
                  <a:lnTo>
                    <a:pt x="16016" y="10971"/>
                  </a:lnTo>
                  <a:lnTo>
                    <a:pt x="15906" y="11032"/>
                  </a:lnTo>
                  <a:lnTo>
                    <a:pt x="15815" y="10971"/>
                  </a:lnTo>
                  <a:lnTo>
                    <a:pt x="15952" y="10040"/>
                  </a:lnTo>
                  <a:lnTo>
                    <a:pt x="16016" y="9997"/>
                  </a:lnTo>
                  <a:lnTo>
                    <a:pt x="15971" y="9936"/>
                  </a:lnTo>
                  <a:lnTo>
                    <a:pt x="15971" y="9832"/>
                  </a:lnTo>
                  <a:lnTo>
                    <a:pt x="16198" y="8233"/>
                  </a:lnTo>
                  <a:lnTo>
                    <a:pt x="16496" y="8074"/>
                  </a:lnTo>
                  <a:lnTo>
                    <a:pt x="16542" y="8172"/>
                  </a:lnTo>
                  <a:lnTo>
                    <a:pt x="16560" y="8025"/>
                  </a:lnTo>
                  <a:lnTo>
                    <a:pt x="16697" y="8074"/>
                  </a:lnTo>
                  <a:lnTo>
                    <a:pt x="16743" y="7969"/>
                  </a:lnTo>
                  <a:lnTo>
                    <a:pt x="16788" y="8025"/>
                  </a:lnTo>
                  <a:lnTo>
                    <a:pt x="16812" y="7969"/>
                  </a:lnTo>
                  <a:lnTo>
                    <a:pt x="16812" y="7816"/>
                  </a:lnTo>
                  <a:lnTo>
                    <a:pt x="16858" y="7718"/>
                  </a:lnTo>
                  <a:lnTo>
                    <a:pt x="17021" y="7816"/>
                  </a:lnTo>
                  <a:lnTo>
                    <a:pt x="17021" y="7718"/>
                  </a:lnTo>
                  <a:lnTo>
                    <a:pt x="17067" y="7718"/>
                  </a:lnTo>
                  <a:lnTo>
                    <a:pt x="17204" y="7816"/>
                  </a:lnTo>
                  <a:lnTo>
                    <a:pt x="17086" y="7969"/>
                  </a:lnTo>
                  <a:lnTo>
                    <a:pt x="17131" y="8074"/>
                  </a:lnTo>
                  <a:lnTo>
                    <a:pt x="17247" y="7920"/>
                  </a:lnTo>
                  <a:lnTo>
                    <a:pt x="17292" y="7969"/>
                  </a:lnTo>
                  <a:lnTo>
                    <a:pt x="17314" y="7761"/>
                  </a:lnTo>
                  <a:lnTo>
                    <a:pt x="17493" y="7718"/>
                  </a:lnTo>
                  <a:lnTo>
                    <a:pt x="17448" y="7553"/>
                  </a:lnTo>
                  <a:lnTo>
                    <a:pt x="17359" y="7614"/>
                  </a:lnTo>
                  <a:lnTo>
                    <a:pt x="17338" y="7345"/>
                  </a:lnTo>
                  <a:lnTo>
                    <a:pt x="17405" y="6058"/>
                  </a:lnTo>
                  <a:lnTo>
                    <a:pt x="17475" y="6101"/>
                  </a:lnTo>
                  <a:lnTo>
                    <a:pt x="17539" y="5893"/>
                  </a:lnTo>
                  <a:lnTo>
                    <a:pt x="17630" y="5997"/>
                  </a:lnTo>
                  <a:lnTo>
                    <a:pt x="17676" y="5789"/>
                  </a:lnTo>
                  <a:lnTo>
                    <a:pt x="17767" y="6413"/>
                  </a:lnTo>
                  <a:lnTo>
                    <a:pt x="17812" y="6371"/>
                  </a:lnTo>
                  <a:lnTo>
                    <a:pt x="17836" y="6573"/>
                  </a:lnTo>
                  <a:lnTo>
                    <a:pt x="17882" y="6469"/>
                  </a:lnTo>
                  <a:lnTo>
                    <a:pt x="17949" y="5850"/>
                  </a:lnTo>
                  <a:lnTo>
                    <a:pt x="17973" y="5789"/>
                  </a:lnTo>
                  <a:lnTo>
                    <a:pt x="18019" y="5893"/>
                  </a:lnTo>
                  <a:lnTo>
                    <a:pt x="18046" y="5789"/>
                  </a:lnTo>
                  <a:lnTo>
                    <a:pt x="18000" y="5746"/>
                  </a:lnTo>
                  <a:lnTo>
                    <a:pt x="17903" y="5225"/>
                  </a:lnTo>
                  <a:lnTo>
                    <a:pt x="18000" y="5066"/>
                  </a:lnTo>
                  <a:lnTo>
                    <a:pt x="18137" y="5170"/>
                  </a:lnTo>
                  <a:lnTo>
                    <a:pt x="18110" y="5225"/>
                  </a:lnTo>
                  <a:lnTo>
                    <a:pt x="18019" y="5329"/>
                  </a:lnTo>
                  <a:lnTo>
                    <a:pt x="18155" y="5997"/>
                  </a:lnTo>
                  <a:lnTo>
                    <a:pt x="18137" y="6162"/>
                  </a:lnTo>
                  <a:lnTo>
                    <a:pt x="18201" y="6205"/>
                  </a:lnTo>
                  <a:lnTo>
                    <a:pt x="18064" y="6573"/>
                  </a:lnTo>
                  <a:lnTo>
                    <a:pt x="18064" y="7136"/>
                  </a:lnTo>
                  <a:lnTo>
                    <a:pt x="17973" y="8172"/>
                  </a:lnTo>
                  <a:lnTo>
                    <a:pt x="17928" y="8233"/>
                  </a:lnTo>
                  <a:lnTo>
                    <a:pt x="17928" y="8380"/>
                  </a:lnTo>
                  <a:lnTo>
                    <a:pt x="17858" y="8337"/>
                  </a:lnTo>
                  <a:lnTo>
                    <a:pt x="17928" y="8649"/>
                  </a:lnTo>
                  <a:lnTo>
                    <a:pt x="17882" y="9060"/>
                  </a:lnTo>
                  <a:lnTo>
                    <a:pt x="18019" y="9832"/>
                  </a:lnTo>
                  <a:lnTo>
                    <a:pt x="18544" y="12012"/>
                  </a:lnTo>
                  <a:lnTo>
                    <a:pt x="18609" y="11657"/>
                  </a:lnTo>
                  <a:lnTo>
                    <a:pt x="18609" y="11387"/>
                  </a:lnTo>
                  <a:lnTo>
                    <a:pt x="18544" y="10824"/>
                  </a:lnTo>
                  <a:lnTo>
                    <a:pt x="18590" y="10867"/>
                  </a:lnTo>
                  <a:lnTo>
                    <a:pt x="18654" y="10720"/>
                  </a:lnTo>
                  <a:lnTo>
                    <a:pt x="18727" y="10720"/>
                  </a:lnTo>
                  <a:lnTo>
                    <a:pt x="18635" y="10456"/>
                  </a:lnTo>
                  <a:lnTo>
                    <a:pt x="18609" y="10144"/>
                  </a:lnTo>
                  <a:lnTo>
                    <a:pt x="18681" y="9893"/>
                  </a:lnTo>
                  <a:lnTo>
                    <a:pt x="18745" y="9936"/>
                  </a:lnTo>
                  <a:lnTo>
                    <a:pt x="18772" y="9727"/>
                  </a:lnTo>
                  <a:lnTo>
                    <a:pt x="18681" y="9580"/>
                  </a:lnTo>
                  <a:lnTo>
                    <a:pt x="18635" y="8858"/>
                  </a:lnTo>
                  <a:lnTo>
                    <a:pt x="18681" y="8753"/>
                  </a:lnTo>
                  <a:lnTo>
                    <a:pt x="18681" y="9005"/>
                  </a:lnTo>
                  <a:lnTo>
                    <a:pt x="18727" y="9060"/>
                  </a:lnTo>
                  <a:lnTo>
                    <a:pt x="18745" y="8962"/>
                  </a:lnTo>
                  <a:lnTo>
                    <a:pt x="18681" y="8649"/>
                  </a:lnTo>
                  <a:lnTo>
                    <a:pt x="18635" y="8692"/>
                  </a:lnTo>
                  <a:lnTo>
                    <a:pt x="18609" y="8588"/>
                  </a:lnTo>
                  <a:lnTo>
                    <a:pt x="18563" y="8074"/>
                  </a:lnTo>
                  <a:lnTo>
                    <a:pt x="18453" y="8025"/>
                  </a:lnTo>
                  <a:lnTo>
                    <a:pt x="18472" y="8129"/>
                  </a:lnTo>
                  <a:lnTo>
                    <a:pt x="18429" y="8074"/>
                  </a:lnTo>
                  <a:lnTo>
                    <a:pt x="18362" y="7816"/>
                  </a:lnTo>
                  <a:lnTo>
                    <a:pt x="18338" y="7302"/>
                  </a:lnTo>
                  <a:lnTo>
                    <a:pt x="18383" y="7302"/>
                  </a:lnTo>
                  <a:lnTo>
                    <a:pt x="18292" y="6885"/>
                  </a:lnTo>
                  <a:lnTo>
                    <a:pt x="18316" y="6781"/>
                  </a:lnTo>
                  <a:lnTo>
                    <a:pt x="18383" y="6726"/>
                  </a:lnTo>
                  <a:lnTo>
                    <a:pt x="18453" y="6824"/>
                  </a:lnTo>
                  <a:lnTo>
                    <a:pt x="18517" y="6309"/>
                  </a:lnTo>
                  <a:lnTo>
                    <a:pt x="18590" y="6781"/>
                  </a:lnTo>
                  <a:lnTo>
                    <a:pt x="18609" y="6309"/>
                  </a:lnTo>
                  <a:lnTo>
                    <a:pt x="18700" y="6101"/>
                  </a:lnTo>
                  <a:lnTo>
                    <a:pt x="18791" y="6058"/>
                  </a:lnTo>
                  <a:lnTo>
                    <a:pt x="18952" y="6371"/>
                  </a:lnTo>
                  <a:lnTo>
                    <a:pt x="19019" y="6413"/>
                  </a:lnTo>
                  <a:lnTo>
                    <a:pt x="18973" y="6101"/>
                  </a:lnTo>
                  <a:lnTo>
                    <a:pt x="19043" y="5642"/>
                  </a:lnTo>
                  <a:lnTo>
                    <a:pt x="19019" y="5580"/>
                  </a:lnTo>
                  <a:lnTo>
                    <a:pt x="19062" y="5580"/>
                  </a:lnTo>
                  <a:lnTo>
                    <a:pt x="19043" y="5433"/>
                  </a:lnTo>
                  <a:lnTo>
                    <a:pt x="19062" y="5378"/>
                  </a:lnTo>
                  <a:lnTo>
                    <a:pt x="19043" y="5329"/>
                  </a:lnTo>
                  <a:lnTo>
                    <a:pt x="19062" y="5329"/>
                  </a:lnTo>
                  <a:lnTo>
                    <a:pt x="19062" y="5066"/>
                  </a:lnTo>
                  <a:lnTo>
                    <a:pt x="19107" y="5121"/>
                  </a:lnTo>
                  <a:lnTo>
                    <a:pt x="19161" y="5023"/>
                  </a:lnTo>
                  <a:lnTo>
                    <a:pt x="19180" y="4711"/>
                  </a:lnTo>
                  <a:lnTo>
                    <a:pt x="19340" y="4337"/>
                  </a:lnTo>
                  <a:lnTo>
                    <a:pt x="19316" y="4190"/>
                  </a:lnTo>
                  <a:lnTo>
                    <a:pt x="19542" y="4398"/>
                  </a:lnTo>
                  <a:lnTo>
                    <a:pt x="19523" y="4031"/>
                  </a:lnTo>
                  <a:lnTo>
                    <a:pt x="19295" y="3614"/>
                  </a:lnTo>
                  <a:lnTo>
                    <a:pt x="19252" y="3614"/>
                  </a:lnTo>
                  <a:lnTo>
                    <a:pt x="19252" y="3510"/>
                  </a:lnTo>
                  <a:lnTo>
                    <a:pt x="19271" y="3510"/>
                  </a:lnTo>
                  <a:lnTo>
                    <a:pt x="19206" y="3302"/>
                  </a:lnTo>
                  <a:lnTo>
                    <a:pt x="19161" y="3302"/>
                  </a:lnTo>
                  <a:lnTo>
                    <a:pt x="19161" y="3198"/>
                  </a:lnTo>
                  <a:lnTo>
                    <a:pt x="19088" y="3051"/>
                  </a:lnTo>
                  <a:lnTo>
                    <a:pt x="19043" y="3155"/>
                  </a:lnTo>
                  <a:lnTo>
                    <a:pt x="18906" y="2885"/>
                  </a:lnTo>
                  <a:lnTo>
                    <a:pt x="18836" y="3155"/>
                  </a:lnTo>
                  <a:lnTo>
                    <a:pt x="18791" y="2842"/>
                  </a:lnTo>
                  <a:lnTo>
                    <a:pt x="18882" y="2842"/>
                  </a:lnTo>
                  <a:lnTo>
                    <a:pt x="18861" y="2738"/>
                  </a:lnTo>
                  <a:lnTo>
                    <a:pt x="18772" y="2781"/>
                  </a:lnTo>
                  <a:lnTo>
                    <a:pt x="18818" y="2683"/>
                  </a:lnTo>
                  <a:lnTo>
                    <a:pt x="18997" y="2885"/>
                  </a:lnTo>
                  <a:lnTo>
                    <a:pt x="19062" y="2842"/>
                  </a:lnTo>
                  <a:lnTo>
                    <a:pt x="19088" y="2885"/>
                  </a:lnTo>
                  <a:lnTo>
                    <a:pt x="19107" y="2683"/>
                  </a:lnTo>
                  <a:lnTo>
                    <a:pt x="19088" y="2119"/>
                  </a:lnTo>
                  <a:lnTo>
                    <a:pt x="18906" y="1642"/>
                  </a:lnTo>
                  <a:lnTo>
                    <a:pt x="18928" y="1599"/>
                  </a:lnTo>
                  <a:lnTo>
                    <a:pt x="18906" y="1495"/>
                  </a:lnTo>
                  <a:lnTo>
                    <a:pt x="18973" y="1599"/>
                  </a:lnTo>
                  <a:lnTo>
                    <a:pt x="18952" y="1391"/>
                  </a:lnTo>
                  <a:lnTo>
                    <a:pt x="19019" y="1746"/>
                  </a:lnTo>
                  <a:lnTo>
                    <a:pt x="19161" y="2015"/>
                  </a:lnTo>
                  <a:lnTo>
                    <a:pt x="19271" y="1954"/>
                  </a:lnTo>
                  <a:lnTo>
                    <a:pt x="19271" y="1746"/>
                  </a:lnTo>
                  <a:lnTo>
                    <a:pt x="19295" y="1850"/>
                  </a:lnTo>
                  <a:lnTo>
                    <a:pt x="19408" y="1850"/>
                  </a:lnTo>
                  <a:lnTo>
                    <a:pt x="19523" y="2162"/>
                  </a:lnTo>
                  <a:lnTo>
                    <a:pt x="19633" y="2266"/>
                  </a:lnTo>
                  <a:lnTo>
                    <a:pt x="19660" y="2162"/>
                  </a:lnTo>
                  <a:lnTo>
                    <a:pt x="19885" y="2475"/>
                  </a:lnTo>
                  <a:lnTo>
                    <a:pt x="19842" y="2266"/>
                  </a:lnTo>
                  <a:lnTo>
                    <a:pt x="19952" y="2475"/>
                  </a:lnTo>
                  <a:lnTo>
                    <a:pt x="19930" y="2266"/>
                  </a:lnTo>
                  <a:lnTo>
                    <a:pt x="19997" y="2328"/>
                  </a:lnTo>
                  <a:lnTo>
                    <a:pt x="19815" y="2119"/>
                  </a:lnTo>
                  <a:lnTo>
                    <a:pt x="19861" y="1850"/>
                  </a:lnTo>
                  <a:lnTo>
                    <a:pt x="19769" y="1746"/>
                  </a:lnTo>
                  <a:lnTo>
                    <a:pt x="19796" y="1642"/>
                  </a:lnTo>
                  <a:lnTo>
                    <a:pt x="19769" y="1538"/>
                  </a:lnTo>
                  <a:lnTo>
                    <a:pt x="19660" y="1433"/>
                  </a:lnTo>
                  <a:lnTo>
                    <a:pt x="19885" y="1495"/>
                  </a:lnTo>
                  <a:lnTo>
                    <a:pt x="19751" y="1182"/>
                  </a:lnTo>
                  <a:lnTo>
                    <a:pt x="19906" y="1335"/>
                  </a:lnTo>
                  <a:lnTo>
                    <a:pt x="19842" y="1127"/>
                  </a:lnTo>
                  <a:lnTo>
                    <a:pt x="19885" y="876"/>
                  </a:lnTo>
                  <a:lnTo>
                    <a:pt x="19477" y="564"/>
                  </a:lnTo>
                  <a:lnTo>
                    <a:pt x="19362" y="606"/>
                  </a:lnTo>
                  <a:lnTo>
                    <a:pt x="19408" y="668"/>
                  </a:lnTo>
                  <a:lnTo>
                    <a:pt x="19362" y="711"/>
                  </a:lnTo>
                  <a:lnTo>
                    <a:pt x="19271" y="668"/>
                  </a:lnTo>
                  <a:lnTo>
                    <a:pt x="19206" y="668"/>
                  </a:lnTo>
                  <a:lnTo>
                    <a:pt x="19386" y="919"/>
                  </a:lnTo>
                  <a:lnTo>
                    <a:pt x="19432" y="1182"/>
                  </a:lnTo>
                  <a:lnTo>
                    <a:pt x="19386" y="1023"/>
                  </a:lnTo>
                  <a:lnTo>
                    <a:pt x="19386" y="1127"/>
                  </a:lnTo>
                  <a:lnTo>
                    <a:pt x="19252" y="980"/>
                  </a:lnTo>
                  <a:lnTo>
                    <a:pt x="19088" y="606"/>
                  </a:lnTo>
                  <a:lnTo>
                    <a:pt x="18906" y="459"/>
                  </a:lnTo>
                  <a:lnTo>
                    <a:pt x="18928" y="564"/>
                  </a:lnTo>
                  <a:lnTo>
                    <a:pt x="18818" y="417"/>
                  </a:lnTo>
                  <a:lnTo>
                    <a:pt x="18453" y="251"/>
                  </a:lnTo>
                  <a:lnTo>
                    <a:pt x="18247" y="43"/>
                  </a:lnTo>
                  <a:lnTo>
                    <a:pt x="18228" y="147"/>
                  </a:lnTo>
                  <a:lnTo>
                    <a:pt x="17630" y="0"/>
                  </a:lnTo>
                  <a:lnTo>
                    <a:pt x="17657" y="43"/>
                  </a:lnTo>
                  <a:lnTo>
                    <a:pt x="17584" y="0"/>
                  </a:lnTo>
                  <a:lnTo>
                    <a:pt x="17383" y="251"/>
                  </a:lnTo>
                  <a:lnTo>
                    <a:pt x="17067" y="251"/>
                  </a:lnTo>
                  <a:lnTo>
                    <a:pt x="17158" y="459"/>
                  </a:lnTo>
                  <a:lnTo>
                    <a:pt x="17158" y="606"/>
                  </a:lnTo>
                  <a:lnTo>
                    <a:pt x="17223" y="564"/>
                  </a:lnTo>
                  <a:lnTo>
                    <a:pt x="17338" y="772"/>
                  </a:lnTo>
                  <a:lnTo>
                    <a:pt x="17405" y="1023"/>
                  </a:lnTo>
                  <a:lnTo>
                    <a:pt x="17086" y="919"/>
                  </a:lnTo>
                  <a:lnTo>
                    <a:pt x="16903" y="711"/>
                  </a:lnTo>
                  <a:lnTo>
                    <a:pt x="16885" y="919"/>
                  </a:lnTo>
                  <a:lnTo>
                    <a:pt x="16697" y="1023"/>
                  </a:lnTo>
                  <a:lnTo>
                    <a:pt x="16587" y="980"/>
                  </a:lnTo>
                  <a:lnTo>
                    <a:pt x="16424" y="1182"/>
                  </a:lnTo>
                  <a:lnTo>
                    <a:pt x="16424" y="1391"/>
                  </a:lnTo>
                  <a:lnTo>
                    <a:pt x="16359" y="1231"/>
                  </a:lnTo>
                  <a:lnTo>
                    <a:pt x="16359" y="1391"/>
                  </a:lnTo>
                  <a:lnTo>
                    <a:pt x="16180" y="1286"/>
                  </a:lnTo>
                  <a:lnTo>
                    <a:pt x="16016" y="876"/>
                  </a:lnTo>
                  <a:lnTo>
                    <a:pt x="15788" y="772"/>
                  </a:lnTo>
                  <a:lnTo>
                    <a:pt x="15563" y="815"/>
                  </a:lnTo>
                  <a:lnTo>
                    <a:pt x="15290" y="1286"/>
                  </a:lnTo>
                  <a:lnTo>
                    <a:pt x="15155" y="1231"/>
                  </a:lnTo>
                  <a:lnTo>
                    <a:pt x="15198" y="1182"/>
                  </a:lnTo>
                  <a:lnTo>
                    <a:pt x="14992" y="1078"/>
                  </a:lnTo>
                  <a:lnTo>
                    <a:pt x="14973" y="1231"/>
                  </a:lnTo>
                  <a:lnTo>
                    <a:pt x="14946" y="1078"/>
                  </a:lnTo>
                  <a:lnTo>
                    <a:pt x="14700" y="980"/>
                  </a:lnTo>
                  <a:lnTo>
                    <a:pt x="14676" y="876"/>
                  </a:lnTo>
                  <a:lnTo>
                    <a:pt x="14791" y="919"/>
                  </a:lnTo>
                  <a:lnTo>
                    <a:pt x="14791" y="876"/>
                  </a:lnTo>
                  <a:lnTo>
                    <a:pt x="14700" y="772"/>
                  </a:lnTo>
                  <a:lnTo>
                    <a:pt x="14448" y="815"/>
                  </a:lnTo>
                  <a:lnTo>
                    <a:pt x="14421" y="1335"/>
                  </a:lnTo>
                  <a:lnTo>
                    <a:pt x="14332" y="1182"/>
                  </a:lnTo>
                  <a:lnTo>
                    <a:pt x="14402" y="1127"/>
                  </a:lnTo>
                  <a:lnTo>
                    <a:pt x="14357" y="1023"/>
                  </a:lnTo>
                  <a:lnTo>
                    <a:pt x="14265" y="1127"/>
                  </a:lnTo>
                  <a:lnTo>
                    <a:pt x="14287" y="919"/>
                  </a:lnTo>
                  <a:lnTo>
                    <a:pt x="14421" y="980"/>
                  </a:lnTo>
                  <a:lnTo>
                    <a:pt x="14375" y="876"/>
                  </a:lnTo>
                  <a:lnTo>
                    <a:pt x="13743" y="980"/>
                  </a:lnTo>
                  <a:lnTo>
                    <a:pt x="13743" y="1023"/>
                  </a:lnTo>
                  <a:lnTo>
                    <a:pt x="13858" y="1231"/>
                  </a:lnTo>
                  <a:lnTo>
                    <a:pt x="13743" y="1335"/>
                  </a:lnTo>
                  <a:lnTo>
                    <a:pt x="13786" y="1495"/>
                  </a:lnTo>
                  <a:lnTo>
                    <a:pt x="13831" y="1433"/>
                  </a:lnTo>
                  <a:lnTo>
                    <a:pt x="13877" y="1538"/>
                  </a:lnTo>
                  <a:lnTo>
                    <a:pt x="13858" y="1599"/>
                  </a:lnTo>
                  <a:lnTo>
                    <a:pt x="13995" y="1703"/>
                  </a:lnTo>
                  <a:lnTo>
                    <a:pt x="13949" y="1850"/>
                  </a:lnTo>
                  <a:lnTo>
                    <a:pt x="13858" y="1746"/>
                  </a:lnTo>
                  <a:lnTo>
                    <a:pt x="13831" y="1850"/>
                  </a:lnTo>
                  <a:lnTo>
                    <a:pt x="13877" y="2058"/>
                  </a:lnTo>
                  <a:lnTo>
                    <a:pt x="13606" y="1954"/>
                  </a:lnTo>
                  <a:lnTo>
                    <a:pt x="13542" y="2162"/>
                  </a:lnTo>
                  <a:lnTo>
                    <a:pt x="13450" y="2224"/>
                  </a:lnTo>
                  <a:lnTo>
                    <a:pt x="13241" y="2015"/>
                  </a:lnTo>
                  <a:lnTo>
                    <a:pt x="13332" y="2371"/>
                  </a:lnTo>
                  <a:lnTo>
                    <a:pt x="13351" y="2683"/>
                  </a:lnTo>
                  <a:lnTo>
                    <a:pt x="13332" y="2738"/>
                  </a:lnTo>
                  <a:lnTo>
                    <a:pt x="12971" y="2426"/>
                  </a:lnTo>
                  <a:lnTo>
                    <a:pt x="13016" y="2328"/>
                  </a:lnTo>
                  <a:lnTo>
                    <a:pt x="12925" y="2224"/>
                  </a:lnTo>
                  <a:lnTo>
                    <a:pt x="12925" y="2371"/>
                  </a:lnTo>
                  <a:lnTo>
                    <a:pt x="12627" y="2162"/>
                  </a:lnTo>
                  <a:lnTo>
                    <a:pt x="12697" y="2371"/>
                  </a:lnTo>
                  <a:lnTo>
                    <a:pt x="12651" y="2371"/>
                  </a:lnTo>
                  <a:lnTo>
                    <a:pt x="12560" y="2162"/>
                  </a:lnTo>
                  <a:lnTo>
                    <a:pt x="12651" y="1911"/>
                  </a:lnTo>
                  <a:lnTo>
                    <a:pt x="12627" y="1807"/>
                  </a:lnTo>
                  <a:lnTo>
                    <a:pt x="12697" y="1703"/>
                  </a:lnTo>
                  <a:lnTo>
                    <a:pt x="12673" y="1599"/>
                  </a:lnTo>
                  <a:lnTo>
                    <a:pt x="12263" y="1642"/>
                  </a:lnTo>
                  <a:lnTo>
                    <a:pt x="12147" y="1538"/>
                  </a:lnTo>
                  <a:lnTo>
                    <a:pt x="12083" y="1642"/>
                  </a:lnTo>
                  <a:lnTo>
                    <a:pt x="12083" y="1746"/>
                  </a:lnTo>
                  <a:lnTo>
                    <a:pt x="12038" y="1703"/>
                  </a:lnTo>
                  <a:lnTo>
                    <a:pt x="12038" y="1850"/>
                  </a:lnTo>
                  <a:lnTo>
                    <a:pt x="12193" y="1954"/>
                  </a:lnTo>
                  <a:lnTo>
                    <a:pt x="12102" y="2162"/>
                  </a:lnTo>
                  <a:lnTo>
                    <a:pt x="11965" y="2224"/>
                  </a:lnTo>
                  <a:lnTo>
                    <a:pt x="11901" y="2266"/>
                  </a:lnTo>
                  <a:lnTo>
                    <a:pt x="11920" y="2328"/>
                  </a:lnTo>
                  <a:lnTo>
                    <a:pt x="11737" y="2328"/>
                  </a:lnTo>
                  <a:lnTo>
                    <a:pt x="11718" y="2224"/>
                  </a:lnTo>
                  <a:lnTo>
                    <a:pt x="11764" y="2162"/>
                  </a:lnTo>
                  <a:lnTo>
                    <a:pt x="11737" y="2119"/>
                  </a:lnTo>
                  <a:lnTo>
                    <a:pt x="11448" y="2266"/>
                  </a:lnTo>
                  <a:lnTo>
                    <a:pt x="11330" y="2371"/>
                  </a:lnTo>
                  <a:lnTo>
                    <a:pt x="11421" y="2475"/>
                  </a:lnTo>
                  <a:lnTo>
                    <a:pt x="11375" y="2634"/>
                  </a:lnTo>
                  <a:lnTo>
                    <a:pt x="11284" y="2328"/>
                  </a:lnTo>
                  <a:lnTo>
                    <a:pt x="11193" y="2224"/>
                  </a:lnTo>
                  <a:lnTo>
                    <a:pt x="11193" y="2328"/>
                  </a:lnTo>
                  <a:lnTo>
                    <a:pt x="11078" y="2328"/>
                  </a:lnTo>
                  <a:lnTo>
                    <a:pt x="11078" y="2224"/>
                  </a:lnTo>
                  <a:lnTo>
                    <a:pt x="10877" y="2266"/>
                  </a:lnTo>
                  <a:lnTo>
                    <a:pt x="10850" y="2426"/>
                  </a:lnTo>
                  <a:lnTo>
                    <a:pt x="10877" y="2530"/>
                  </a:lnTo>
                  <a:lnTo>
                    <a:pt x="10968" y="2426"/>
                  </a:lnTo>
                  <a:lnTo>
                    <a:pt x="11078" y="2426"/>
                  </a:lnTo>
                  <a:lnTo>
                    <a:pt x="10968" y="2683"/>
                  </a:lnTo>
                  <a:lnTo>
                    <a:pt x="10850" y="2634"/>
                  </a:lnTo>
                  <a:lnTo>
                    <a:pt x="10877" y="2738"/>
                  </a:lnTo>
                  <a:lnTo>
                    <a:pt x="10759" y="2781"/>
                  </a:lnTo>
                  <a:lnTo>
                    <a:pt x="10759" y="2885"/>
                  </a:lnTo>
                  <a:lnTo>
                    <a:pt x="10740" y="2842"/>
                  </a:lnTo>
                  <a:lnTo>
                    <a:pt x="10625" y="3051"/>
                  </a:lnTo>
                  <a:lnTo>
                    <a:pt x="10694" y="3093"/>
                  </a:lnTo>
                  <a:lnTo>
                    <a:pt x="10558" y="3198"/>
                  </a:lnTo>
                  <a:lnTo>
                    <a:pt x="10579" y="2738"/>
                  </a:lnTo>
                  <a:lnTo>
                    <a:pt x="10558" y="2683"/>
                  </a:lnTo>
                  <a:lnTo>
                    <a:pt x="10625" y="2683"/>
                  </a:lnTo>
                  <a:lnTo>
                    <a:pt x="10804" y="2224"/>
                  </a:lnTo>
                  <a:lnTo>
                    <a:pt x="10740" y="2162"/>
                  </a:lnTo>
                  <a:lnTo>
                    <a:pt x="10850" y="2119"/>
                  </a:lnTo>
                  <a:lnTo>
                    <a:pt x="10877" y="1850"/>
                  </a:lnTo>
                  <a:lnTo>
                    <a:pt x="10941" y="1807"/>
                  </a:lnTo>
                  <a:lnTo>
                    <a:pt x="10922" y="1746"/>
                  </a:lnTo>
                  <a:lnTo>
                    <a:pt x="10941" y="1391"/>
                  </a:lnTo>
                  <a:lnTo>
                    <a:pt x="10850" y="1286"/>
                  </a:lnTo>
                  <a:lnTo>
                    <a:pt x="10804" y="1335"/>
                  </a:lnTo>
                  <a:lnTo>
                    <a:pt x="10740" y="1127"/>
                  </a:lnTo>
                  <a:lnTo>
                    <a:pt x="10877" y="1231"/>
                  </a:lnTo>
                  <a:lnTo>
                    <a:pt x="10850" y="980"/>
                  </a:lnTo>
                  <a:lnTo>
                    <a:pt x="10713" y="815"/>
                  </a:lnTo>
                  <a:lnTo>
                    <a:pt x="10713" y="919"/>
                  </a:lnTo>
                  <a:lnTo>
                    <a:pt x="10670" y="815"/>
                  </a:lnTo>
                  <a:lnTo>
                    <a:pt x="10424" y="668"/>
                  </a:lnTo>
                  <a:lnTo>
                    <a:pt x="10260" y="772"/>
                  </a:lnTo>
                  <a:lnTo>
                    <a:pt x="10260" y="876"/>
                  </a:lnTo>
                  <a:lnTo>
                    <a:pt x="10196" y="772"/>
                  </a:lnTo>
                  <a:lnTo>
                    <a:pt x="10008" y="919"/>
                  </a:lnTo>
                  <a:lnTo>
                    <a:pt x="10035" y="1078"/>
                  </a:lnTo>
                  <a:lnTo>
                    <a:pt x="9962" y="1182"/>
                  </a:lnTo>
                  <a:lnTo>
                    <a:pt x="9944" y="876"/>
                  </a:lnTo>
                  <a:lnTo>
                    <a:pt x="9871" y="772"/>
                  </a:lnTo>
                  <a:lnTo>
                    <a:pt x="9826" y="876"/>
                  </a:lnTo>
                  <a:lnTo>
                    <a:pt x="9807" y="711"/>
                  </a:lnTo>
                  <a:lnTo>
                    <a:pt x="9761" y="668"/>
                  </a:lnTo>
                  <a:lnTo>
                    <a:pt x="9735" y="711"/>
                  </a:lnTo>
                  <a:lnTo>
                    <a:pt x="9646" y="668"/>
                  </a:lnTo>
                  <a:lnTo>
                    <a:pt x="9716" y="502"/>
                  </a:lnTo>
                  <a:lnTo>
                    <a:pt x="9670" y="355"/>
                  </a:lnTo>
                  <a:lnTo>
                    <a:pt x="9555" y="312"/>
                  </a:lnTo>
                  <a:lnTo>
                    <a:pt x="9509" y="417"/>
                  </a:lnTo>
                  <a:lnTo>
                    <a:pt x="9534" y="980"/>
                  </a:lnTo>
                  <a:lnTo>
                    <a:pt x="9625" y="1182"/>
                  </a:lnTo>
                  <a:lnTo>
                    <a:pt x="9689" y="1231"/>
                  </a:lnTo>
                  <a:lnTo>
                    <a:pt x="9780" y="1078"/>
                  </a:lnTo>
                  <a:lnTo>
                    <a:pt x="9780" y="1335"/>
                  </a:lnTo>
                  <a:lnTo>
                    <a:pt x="9625" y="1286"/>
                  </a:lnTo>
                  <a:lnTo>
                    <a:pt x="9534" y="1391"/>
                  </a:lnTo>
                  <a:lnTo>
                    <a:pt x="9418" y="1335"/>
                  </a:lnTo>
                  <a:lnTo>
                    <a:pt x="9601" y="1642"/>
                  </a:lnTo>
                  <a:lnTo>
                    <a:pt x="9534" y="1703"/>
                  </a:lnTo>
                  <a:lnTo>
                    <a:pt x="9509" y="1538"/>
                  </a:lnTo>
                  <a:lnTo>
                    <a:pt x="9491" y="1850"/>
                  </a:lnTo>
                  <a:lnTo>
                    <a:pt x="9464" y="1850"/>
                  </a:lnTo>
                  <a:lnTo>
                    <a:pt x="9418" y="2015"/>
                  </a:lnTo>
                  <a:lnTo>
                    <a:pt x="9418" y="1911"/>
                  </a:lnTo>
                  <a:lnTo>
                    <a:pt x="9327" y="2015"/>
                  </a:lnTo>
                  <a:lnTo>
                    <a:pt x="9327" y="1850"/>
                  </a:lnTo>
                  <a:lnTo>
                    <a:pt x="9190" y="1911"/>
                  </a:lnTo>
                  <a:lnTo>
                    <a:pt x="9056" y="2015"/>
                  </a:lnTo>
                  <a:lnTo>
                    <a:pt x="9172" y="2058"/>
                  </a:lnTo>
                  <a:lnTo>
                    <a:pt x="9011" y="2224"/>
                  </a:lnTo>
                  <a:lnTo>
                    <a:pt x="9011" y="2328"/>
                  </a:lnTo>
                  <a:lnTo>
                    <a:pt x="8847" y="2371"/>
                  </a:lnTo>
                  <a:lnTo>
                    <a:pt x="8783" y="2530"/>
                  </a:lnTo>
                  <a:lnTo>
                    <a:pt x="8756" y="2426"/>
                  </a:lnTo>
                  <a:lnTo>
                    <a:pt x="8737" y="2781"/>
                  </a:lnTo>
                  <a:lnTo>
                    <a:pt x="8622" y="2781"/>
                  </a:lnTo>
                  <a:lnTo>
                    <a:pt x="8737" y="2842"/>
                  </a:lnTo>
                  <a:lnTo>
                    <a:pt x="8692" y="2842"/>
                  </a:lnTo>
                  <a:lnTo>
                    <a:pt x="8665" y="2989"/>
                  </a:lnTo>
                  <a:lnTo>
                    <a:pt x="8622" y="2989"/>
                  </a:lnTo>
                  <a:lnTo>
                    <a:pt x="8622" y="3093"/>
                  </a:lnTo>
                  <a:lnTo>
                    <a:pt x="8737" y="3155"/>
                  </a:lnTo>
                  <a:lnTo>
                    <a:pt x="8646" y="3259"/>
                  </a:lnTo>
                  <a:lnTo>
                    <a:pt x="8847" y="3363"/>
                  </a:lnTo>
                  <a:lnTo>
                    <a:pt x="8874" y="3406"/>
                  </a:lnTo>
                  <a:lnTo>
                    <a:pt x="8783" y="3363"/>
                  </a:lnTo>
                  <a:lnTo>
                    <a:pt x="8874" y="3614"/>
                  </a:lnTo>
                  <a:lnTo>
                    <a:pt x="8802" y="3675"/>
                  </a:lnTo>
                  <a:lnTo>
                    <a:pt x="8828" y="3571"/>
                  </a:lnTo>
                  <a:lnTo>
                    <a:pt x="8802" y="3510"/>
                  </a:lnTo>
                  <a:lnTo>
                    <a:pt x="8284" y="3877"/>
                  </a:lnTo>
                  <a:lnTo>
                    <a:pt x="8330" y="4129"/>
                  </a:lnTo>
                  <a:lnTo>
                    <a:pt x="8440" y="4398"/>
                  </a:lnTo>
                  <a:lnTo>
                    <a:pt x="8601" y="4441"/>
                  </a:lnTo>
                  <a:lnTo>
                    <a:pt x="8665" y="4606"/>
                  </a:lnTo>
                  <a:lnTo>
                    <a:pt x="8756" y="4649"/>
                  </a:lnTo>
                  <a:lnTo>
                    <a:pt x="8802" y="4962"/>
                  </a:lnTo>
                  <a:lnTo>
                    <a:pt x="8944" y="5225"/>
                  </a:lnTo>
                  <a:lnTo>
                    <a:pt x="8893" y="5378"/>
                  </a:lnTo>
                  <a:lnTo>
                    <a:pt x="8965" y="5476"/>
                  </a:lnTo>
                  <a:lnTo>
                    <a:pt x="9145" y="5538"/>
                  </a:lnTo>
                  <a:lnTo>
                    <a:pt x="9099" y="5642"/>
                  </a:lnTo>
                  <a:lnTo>
                    <a:pt x="8965" y="5538"/>
                  </a:lnTo>
                  <a:lnTo>
                    <a:pt x="8874" y="5476"/>
                  </a:lnTo>
                  <a:lnTo>
                    <a:pt x="8802" y="5121"/>
                  </a:lnTo>
                  <a:lnTo>
                    <a:pt x="8802" y="5225"/>
                  </a:lnTo>
                  <a:lnTo>
                    <a:pt x="8737" y="5066"/>
                  </a:lnTo>
                  <a:lnTo>
                    <a:pt x="8710" y="4919"/>
                  </a:lnTo>
                  <a:lnTo>
                    <a:pt x="8756" y="4858"/>
                  </a:lnTo>
                  <a:lnTo>
                    <a:pt x="8756" y="4711"/>
                  </a:lnTo>
                  <a:lnTo>
                    <a:pt x="8576" y="4711"/>
                  </a:lnTo>
                  <a:lnTo>
                    <a:pt x="8330" y="4502"/>
                  </a:lnTo>
                  <a:lnTo>
                    <a:pt x="8239" y="4545"/>
                  </a:lnTo>
                  <a:lnTo>
                    <a:pt x="8193" y="4711"/>
                  </a:lnTo>
                  <a:lnTo>
                    <a:pt x="8284" y="4753"/>
                  </a:lnTo>
                  <a:lnTo>
                    <a:pt x="8102" y="4753"/>
                  </a:lnTo>
                  <a:lnTo>
                    <a:pt x="8075" y="4858"/>
                  </a:lnTo>
                  <a:lnTo>
                    <a:pt x="8466" y="5274"/>
                  </a:lnTo>
                  <a:lnTo>
                    <a:pt x="8147" y="5170"/>
                  </a:lnTo>
                  <a:lnTo>
                    <a:pt x="8056" y="5121"/>
                  </a:lnTo>
                  <a:lnTo>
                    <a:pt x="8011" y="4919"/>
                  </a:lnTo>
                  <a:lnTo>
                    <a:pt x="8011" y="4711"/>
                  </a:lnTo>
                  <a:lnTo>
                    <a:pt x="7874" y="4398"/>
                  </a:lnTo>
                  <a:lnTo>
                    <a:pt x="7920" y="4858"/>
                  </a:lnTo>
                  <a:lnTo>
                    <a:pt x="7850" y="4962"/>
                  </a:lnTo>
                  <a:lnTo>
                    <a:pt x="7850" y="5170"/>
                  </a:lnTo>
                  <a:lnTo>
                    <a:pt x="8032" y="5433"/>
                  </a:lnTo>
                  <a:lnTo>
                    <a:pt x="8056" y="5893"/>
                  </a:lnTo>
                  <a:lnTo>
                    <a:pt x="8147" y="6266"/>
                  </a:lnTo>
                  <a:lnTo>
                    <a:pt x="8303" y="6101"/>
                  </a:lnTo>
                  <a:lnTo>
                    <a:pt x="8531" y="6205"/>
                  </a:lnTo>
                  <a:lnTo>
                    <a:pt x="8622" y="6469"/>
                  </a:lnTo>
                  <a:lnTo>
                    <a:pt x="8601" y="6518"/>
                  </a:lnTo>
                  <a:lnTo>
                    <a:pt x="8622" y="6726"/>
                  </a:lnTo>
                  <a:lnTo>
                    <a:pt x="8783" y="6781"/>
                  </a:lnTo>
                  <a:lnTo>
                    <a:pt x="8576" y="6726"/>
                  </a:lnTo>
                  <a:lnTo>
                    <a:pt x="8531" y="6371"/>
                  </a:lnTo>
                  <a:lnTo>
                    <a:pt x="8421" y="6205"/>
                  </a:lnTo>
                  <a:lnTo>
                    <a:pt x="8239" y="6413"/>
                  </a:lnTo>
                  <a:lnTo>
                    <a:pt x="8349" y="6824"/>
                  </a:lnTo>
                  <a:lnTo>
                    <a:pt x="8330" y="7136"/>
                  </a:lnTo>
                  <a:lnTo>
                    <a:pt x="8212" y="7345"/>
                  </a:lnTo>
                  <a:lnTo>
                    <a:pt x="8239" y="7510"/>
                  </a:lnTo>
                  <a:lnTo>
                    <a:pt x="8011" y="7553"/>
                  </a:lnTo>
                  <a:lnTo>
                    <a:pt x="7831" y="7406"/>
                  </a:lnTo>
                  <a:lnTo>
                    <a:pt x="7941" y="7302"/>
                  </a:lnTo>
                  <a:lnTo>
                    <a:pt x="8032" y="7449"/>
                  </a:lnTo>
                  <a:lnTo>
                    <a:pt x="8121" y="7345"/>
                  </a:lnTo>
                  <a:lnTo>
                    <a:pt x="8102" y="7240"/>
                  </a:lnTo>
                  <a:lnTo>
                    <a:pt x="8193" y="6885"/>
                  </a:lnTo>
                  <a:lnTo>
                    <a:pt x="8147" y="6622"/>
                  </a:lnTo>
                  <a:lnTo>
                    <a:pt x="8193" y="6518"/>
                  </a:lnTo>
                  <a:lnTo>
                    <a:pt x="8056" y="6413"/>
                  </a:lnTo>
                  <a:lnTo>
                    <a:pt x="7874" y="5476"/>
                  </a:lnTo>
                  <a:lnTo>
                    <a:pt x="7732" y="5170"/>
                  </a:lnTo>
                  <a:lnTo>
                    <a:pt x="7732" y="4815"/>
                  </a:lnTo>
                  <a:lnTo>
                    <a:pt x="7686" y="4545"/>
                  </a:lnTo>
                  <a:lnTo>
                    <a:pt x="7351" y="4545"/>
                  </a:lnTo>
                  <a:lnTo>
                    <a:pt x="7397" y="5066"/>
                  </a:lnTo>
                  <a:lnTo>
                    <a:pt x="7370" y="5329"/>
                  </a:lnTo>
                  <a:lnTo>
                    <a:pt x="7306" y="5433"/>
                  </a:lnTo>
                  <a:lnTo>
                    <a:pt x="7279" y="5580"/>
                  </a:lnTo>
                  <a:lnTo>
                    <a:pt x="7324" y="5538"/>
                  </a:lnTo>
                  <a:lnTo>
                    <a:pt x="7324" y="5746"/>
                  </a:lnTo>
                  <a:lnTo>
                    <a:pt x="7370" y="5642"/>
                  </a:lnTo>
                  <a:lnTo>
                    <a:pt x="7442" y="5997"/>
                  </a:lnTo>
                  <a:lnTo>
                    <a:pt x="7416" y="6058"/>
                  </a:lnTo>
                  <a:lnTo>
                    <a:pt x="7397" y="6058"/>
                  </a:lnTo>
                  <a:lnTo>
                    <a:pt x="7416" y="6205"/>
                  </a:lnTo>
                  <a:lnTo>
                    <a:pt x="7552" y="6205"/>
                  </a:lnTo>
                  <a:lnTo>
                    <a:pt x="7552" y="6371"/>
                  </a:lnTo>
                  <a:lnTo>
                    <a:pt x="7713" y="6469"/>
                  </a:lnTo>
                  <a:lnTo>
                    <a:pt x="7686" y="6824"/>
                  </a:lnTo>
                  <a:lnTo>
                    <a:pt x="7531" y="6573"/>
                  </a:lnTo>
                  <a:lnTo>
                    <a:pt x="7260" y="6413"/>
                  </a:lnTo>
                  <a:lnTo>
                    <a:pt x="6826" y="6309"/>
                  </a:lnTo>
                  <a:lnTo>
                    <a:pt x="6807" y="6413"/>
                  </a:lnTo>
                  <a:lnTo>
                    <a:pt x="6917" y="6726"/>
                  </a:lnTo>
                  <a:lnTo>
                    <a:pt x="6853" y="6824"/>
                  </a:lnTo>
                  <a:lnTo>
                    <a:pt x="6853" y="6989"/>
                  </a:lnTo>
                  <a:lnTo>
                    <a:pt x="6807" y="6989"/>
                  </a:lnTo>
                  <a:lnTo>
                    <a:pt x="6761" y="6726"/>
                  </a:lnTo>
                  <a:lnTo>
                    <a:pt x="6574" y="6928"/>
                  </a:lnTo>
                  <a:lnTo>
                    <a:pt x="6461" y="6928"/>
                  </a:lnTo>
                  <a:lnTo>
                    <a:pt x="6391" y="6989"/>
                  </a:lnTo>
                  <a:lnTo>
                    <a:pt x="6391" y="7198"/>
                  </a:lnTo>
                  <a:lnTo>
                    <a:pt x="6346" y="7136"/>
                  </a:lnTo>
                  <a:lnTo>
                    <a:pt x="6255" y="7302"/>
                  </a:lnTo>
                  <a:lnTo>
                    <a:pt x="6236" y="7240"/>
                  </a:lnTo>
                  <a:lnTo>
                    <a:pt x="6282" y="7093"/>
                  </a:lnTo>
                  <a:lnTo>
                    <a:pt x="6236" y="6885"/>
                  </a:lnTo>
                  <a:lnTo>
                    <a:pt x="6300" y="6824"/>
                  </a:lnTo>
                  <a:lnTo>
                    <a:pt x="6255" y="6824"/>
                  </a:lnTo>
                  <a:lnTo>
                    <a:pt x="6118" y="7032"/>
                  </a:lnTo>
                  <a:lnTo>
                    <a:pt x="6164" y="7093"/>
                  </a:lnTo>
                  <a:lnTo>
                    <a:pt x="6145" y="7198"/>
                  </a:lnTo>
                  <a:lnTo>
                    <a:pt x="6099" y="7032"/>
                  </a:lnTo>
                  <a:lnTo>
                    <a:pt x="5802" y="7406"/>
                  </a:lnTo>
                  <a:lnTo>
                    <a:pt x="5847" y="7510"/>
                  </a:lnTo>
                  <a:lnTo>
                    <a:pt x="5756" y="7553"/>
                  </a:lnTo>
                  <a:lnTo>
                    <a:pt x="5756" y="7816"/>
                  </a:lnTo>
                  <a:lnTo>
                    <a:pt x="5646" y="7920"/>
                  </a:lnTo>
                  <a:lnTo>
                    <a:pt x="5483" y="7657"/>
                  </a:lnTo>
                  <a:lnTo>
                    <a:pt x="5483" y="7553"/>
                  </a:lnTo>
                  <a:lnTo>
                    <a:pt x="5619" y="7449"/>
                  </a:lnTo>
                  <a:lnTo>
                    <a:pt x="5528" y="7240"/>
                  </a:lnTo>
                  <a:lnTo>
                    <a:pt x="5257" y="7198"/>
                  </a:lnTo>
                  <a:lnTo>
                    <a:pt x="5349" y="7302"/>
                  </a:lnTo>
                  <a:lnTo>
                    <a:pt x="5367" y="7761"/>
                  </a:lnTo>
                  <a:lnTo>
                    <a:pt x="5458" y="7920"/>
                  </a:lnTo>
                  <a:lnTo>
                    <a:pt x="5458" y="8276"/>
                  </a:lnTo>
                  <a:lnTo>
                    <a:pt x="5367" y="8129"/>
                  </a:lnTo>
                  <a:lnTo>
                    <a:pt x="5231" y="8129"/>
                  </a:lnTo>
                  <a:lnTo>
                    <a:pt x="5121" y="8380"/>
                  </a:lnTo>
                  <a:lnTo>
                    <a:pt x="5048" y="8588"/>
                  </a:lnTo>
                  <a:lnTo>
                    <a:pt x="5166" y="9060"/>
                  </a:lnTo>
                  <a:lnTo>
                    <a:pt x="4914" y="9060"/>
                  </a:lnTo>
                  <a:lnTo>
                    <a:pt x="4914" y="8962"/>
                  </a:lnTo>
                  <a:lnTo>
                    <a:pt x="4777" y="8796"/>
                  </a:lnTo>
                  <a:lnTo>
                    <a:pt x="4732" y="8962"/>
                  </a:lnTo>
                  <a:lnTo>
                    <a:pt x="4823" y="9164"/>
                  </a:lnTo>
                  <a:lnTo>
                    <a:pt x="4893" y="9213"/>
                  </a:lnTo>
                  <a:lnTo>
                    <a:pt x="4938" y="9421"/>
                  </a:lnTo>
                  <a:lnTo>
                    <a:pt x="4869" y="9476"/>
                  </a:lnTo>
                  <a:lnTo>
                    <a:pt x="4595" y="9213"/>
                  </a:lnTo>
                  <a:lnTo>
                    <a:pt x="4531" y="8796"/>
                  </a:lnTo>
                  <a:lnTo>
                    <a:pt x="4550" y="8545"/>
                  </a:lnTo>
                  <a:lnTo>
                    <a:pt x="4233" y="7969"/>
                  </a:lnTo>
                  <a:lnTo>
                    <a:pt x="4869" y="8380"/>
                  </a:lnTo>
                  <a:lnTo>
                    <a:pt x="5029" y="8233"/>
                  </a:lnTo>
                  <a:lnTo>
                    <a:pt x="5139" y="7865"/>
                  </a:lnTo>
                  <a:lnTo>
                    <a:pt x="4960" y="7510"/>
                  </a:lnTo>
                  <a:lnTo>
                    <a:pt x="4485" y="7093"/>
                  </a:lnTo>
                  <a:lnTo>
                    <a:pt x="4298" y="7093"/>
                  </a:lnTo>
                  <a:lnTo>
                    <a:pt x="4279" y="7198"/>
                  </a:lnTo>
                  <a:lnTo>
                    <a:pt x="4279" y="7032"/>
                  </a:lnTo>
                  <a:lnTo>
                    <a:pt x="4161" y="6989"/>
                  </a:lnTo>
                  <a:lnTo>
                    <a:pt x="4233" y="6928"/>
                  </a:lnTo>
                  <a:lnTo>
                    <a:pt x="4024" y="6928"/>
                  </a:lnTo>
                  <a:lnTo>
                    <a:pt x="3979" y="6885"/>
                  </a:lnTo>
                  <a:lnTo>
                    <a:pt x="3936" y="6885"/>
                  </a:lnTo>
                  <a:lnTo>
                    <a:pt x="3914" y="6928"/>
                  </a:lnTo>
                  <a:lnTo>
                    <a:pt x="3869" y="6824"/>
                  </a:lnTo>
                  <a:lnTo>
                    <a:pt x="3799" y="6781"/>
                  </a:lnTo>
                  <a:lnTo>
                    <a:pt x="3936" y="6781"/>
                  </a:lnTo>
                  <a:lnTo>
                    <a:pt x="4005" y="6677"/>
                  </a:lnTo>
                  <a:lnTo>
                    <a:pt x="3960" y="6573"/>
                  </a:lnTo>
                  <a:lnTo>
                    <a:pt x="3914" y="6573"/>
                  </a:lnTo>
                  <a:lnTo>
                    <a:pt x="3936" y="6573"/>
                  </a:lnTo>
                  <a:lnTo>
                    <a:pt x="3869" y="6469"/>
                  </a:lnTo>
                  <a:lnTo>
                    <a:pt x="3845" y="6518"/>
                  </a:lnTo>
                  <a:lnTo>
                    <a:pt x="3823" y="6469"/>
                  </a:lnTo>
                  <a:lnTo>
                    <a:pt x="3799" y="6469"/>
                  </a:lnTo>
                  <a:lnTo>
                    <a:pt x="3753" y="6622"/>
                  </a:lnTo>
                  <a:lnTo>
                    <a:pt x="3708" y="6622"/>
                  </a:lnTo>
                  <a:lnTo>
                    <a:pt x="3753" y="6573"/>
                  </a:lnTo>
                  <a:lnTo>
                    <a:pt x="3708" y="6518"/>
                  </a:lnTo>
                  <a:lnTo>
                    <a:pt x="3753" y="6469"/>
                  </a:lnTo>
                  <a:lnTo>
                    <a:pt x="3753" y="6413"/>
                  </a:lnTo>
                  <a:lnTo>
                    <a:pt x="3708" y="6371"/>
                  </a:lnTo>
                  <a:lnTo>
                    <a:pt x="3643" y="6371"/>
                  </a:lnTo>
                  <a:lnTo>
                    <a:pt x="3617" y="6469"/>
                  </a:lnTo>
                  <a:lnTo>
                    <a:pt x="3662" y="6518"/>
                  </a:lnTo>
                  <a:lnTo>
                    <a:pt x="3643" y="6573"/>
                  </a:lnTo>
                  <a:lnTo>
                    <a:pt x="3617" y="6622"/>
                  </a:lnTo>
                  <a:lnTo>
                    <a:pt x="3598" y="6677"/>
                  </a:lnTo>
                  <a:lnTo>
                    <a:pt x="3571" y="6573"/>
                  </a:lnTo>
                  <a:lnTo>
                    <a:pt x="3571" y="6469"/>
                  </a:lnTo>
                  <a:lnTo>
                    <a:pt x="3480" y="6726"/>
                  </a:lnTo>
                  <a:lnTo>
                    <a:pt x="3480" y="6824"/>
                  </a:lnTo>
                  <a:lnTo>
                    <a:pt x="3461" y="6781"/>
                  </a:lnTo>
                  <a:lnTo>
                    <a:pt x="3461" y="6622"/>
                  </a:lnTo>
                  <a:lnTo>
                    <a:pt x="3507" y="6469"/>
                  </a:lnTo>
                  <a:lnTo>
                    <a:pt x="3461" y="6469"/>
                  </a:lnTo>
                  <a:lnTo>
                    <a:pt x="3389" y="6469"/>
                  </a:lnTo>
                  <a:lnTo>
                    <a:pt x="3370" y="6573"/>
                  </a:lnTo>
                  <a:lnTo>
                    <a:pt x="3389" y="6622"/>
                  </a:lnTo>
                  <a:lnTo>
                    <a:pt x="3370" y="6677"/>
                  </a:lnTo>
                  <a:lnTo>
                    <a:pt x="3324" y="6573"/>
                  </a:lnTo>
                  <a:lnTo>
                    <a:pt x="3324" y="6726"/>
                  </a:lnTo>
                  <a:lnTo>
                    <a:pt x="3279" y="6824"/>
                  </a:lnTo>
                  <a:lnTo>
                    <a:pt x="3255" y="6781"/>
                  </a:lnTo>
                  <a:lnTo>
                    <a:pt x="3164" y="6781"/>
                  </a:lnTo>
                  <a:lnTo>
                    <a:pt x="3091" y="6781"/>
                  </a:lnTo>
                  <a:lnTo>
                    <a:pt x="3137" y="6885"/>
                  </a:lnTo>
                  <a:lnTo>
                    <a:pt x="3182" y="6885"/>
                  </a:lnTo>
                  <a:lnTo>
                    <a:pt x="3182" y="7032"/>
                  </a:lnTo>
                  <a:lnTo>
                    <a:pt x="3118" y="6928"/>
                  </a:lnTo>
                  <a:lnTo>
                    <a:pt x="3091" y="6989"/>
                  </a:lnTo>
                  <a:lnTo>
                    <a:pt x="3046" y="7032"/>
                  </a:lnTo>
                  <a:lnTo>
                    <a:pt x="3072" y="7136"/>
                  </a:lnTo>
                  <a:lnTo>
                    <a:pt x="3046" y="7198"/>
                  </a:lnTo>
                  <a:lnTo>
                    <a:pt x="3027" y="7198"/>
                  </a:lnTo>
                  <a:lnTo>
                    <a:pt x="3000" y="6989"/>
                  </a:lnTo>
                  <a:lnTo>
                    <a:pt x="2981" y="7032"/>
                  </a:lnTo>
                  <a:lnTo>
                    <a:pt x="2981" y="7136"/>
                  </a:lnTo>
                  <a:lnTo>
                    <a:pt x="2954" y="6989"/>
                  </a:lnTo>
                  <a:lnTo>
                    <a:pt x="2890" y="7093"/>
                  </a:lnTo>
                  <a:lnTo>
                    <a:pt x="2912" y="7198"/>
                  </a:lnTo>
                  <a:lnTo>
                    <a:pt x="2954" y="7198"/>
                  </a:lnTo>
                  <a:lnTo>
                    <a:pt x="2954" y="7240"/>
                  </a:lnTo>
                  <a:lnTo>
                    <a:pt x="2936" y="7240"/>
                  </a:lnTo>
                  <a:lnTo>
                    <a:pt x="2890" y="7136"/>
                  </a:lnTo>
                  <a:lnTo>
                    <a:pt x="2756" y="7198"/>
                  </a:lnTo>
                  <a:lnTo>
                    <a:pt x="2729" y="7302"/>
                  </a:lnTo>
                  <a:lnTo>
                    <a:pt x="2756" y="7345"/>
                  </a:lnTo>
                  <a:lnTo>
                    <a:pt x="2799" y="7302"/>
                  </a:lnTo>
                  <a:lnTo>
                    <a:pt x="2820" y="7302"/>
                  </a:lnTo>
                  <a:lnTo>
                    <a:pt x="2799" y="7345"/>
                  </a:lnTo>
                  <a:lnTo>
                    <a:pt x="2799" y="7406"/>
                  </a:lnTo>
                  <a:lnTo>
                    <a:pt x="2756" y="7510"/>
                  </a:lnTo>
                  <a:lnTo>
                    <a:pt x="2729" y="7510"/>
                  </a:lnTo>
                  <a:lnTo>
                    <a:pt x="2710" y="7614"/>
                  </a:lnTo>
                  <a:lnTo>
                    <a:pt x="2756" y="7614"/>
                  </a:lnTo>
                  <a:lnTo>
                    <a:pt x="2799" y="7553"/>
                  </a:lnTo>
                  <a:lnTo>
                    <a:pt x="2799" y="7614"/>
                  </a:lnTo>
                  <a:lnTo>
                    <a:pt x="2756" y="7614"/>
                  </a:lnTo>
                  <a:lnTo>
                    <a:pt x="2710" y="7614"/>
                  </a:lnTo>
                  <a:lnTo>
                    <a:pt x="2684" y="7761"/>
                  </a:lnTo>
                  <a:lnTo>
                    <a:pt x="2710" y="7761"/>
                  </a:lnTo>
                  <a:lnTo>
                    <a:pt x="2684" y="7816"/>
                  </a:lnTo>
                  <a:lnTo>
                    <a:pt x="2684" y="7761"/>
                  </a:lnTo>
                  <a:lnTo>
                    <a:pt x="2638" y="7761"/>
                  </a:lnTo>
                  <a:lnTo>
                    <a:pt x="2638" y="7816"/>
                  </a:lnTo>
                  <a:lnTo>
                    <a:pt x="2619" y="7816"/>
                  </a:lnTo>
                  <a:lnTo>
                    <a:pt x="2547" y="7865"/>
                  </a:lnTo>
                  <a:lnTo>
                    <a:pt x="2574" y="7920"/>
                  </a:lnTo>
                  <a:lnTo>
                    <a:pt x="2619" y="7865"/>
                  </a:lnTo>
                  <a:lnTo>
                    <a:pt x="2592" y="7920"/>
                  </a:lnTo>
                  <a:lnTo>
                    <a:pt x="2619" y="7969"/>
                  </a:lnTo>
                  <a:lnTo>
                    <a:pt x="2619" y="8025"/>
                  </a:lnTo>
                  <a:lnTo>
                    <a:pt x="2592" y="7969"/>
                  </a:lnTo>
                  <a:lnTo>
                    <a:pt x="2574" y="7969"/>
                  </a:lnTo>
                  <a:lnTo>
                    <a:pt x="2501" y="8074"/>
                  </a:lnTo>
                  <a:lnTo>
                    <a:pt x="2619" y="8074"/>
                  </a:lnTo>
                  <a:lnTo>
                    <a:pt x="2619" y="8129"/>
                  </a:lnTo>
                  <a:lnTo>
                    <a:pt x="2483" y="8129"/>
                  </a:lnTo>
                  <a:lnTo>
                    <a:pt x="2437" y="8233"/>
                  </a:lnTo>
                  <a:lnTo>
                    <a:pt x="2391" y="8380"/>
                  </a:lnTo>
                  <a:lnTo>
                    <a:pt x="2391" y="8545"/>
                  </a:lnTo>
                  <a:lnTo>
                    <a:pt x="2501" y="8484"/>
                  </a:lnTo>
                  <a:lnTo>
                    <a:pt x="2501" y="8545"/>
                  </a:lnTo>
                  <a:lnTo>
                    <a:pt x="2391" y="8588"/>
                  </a:lnTo>
                  <a:lnTo>
                    <a:pt x="2410" y="8692"/>
                  </a:lnTo>
                  <a:lnTo>
                    <a:pt x="2365" y="8692"/>
                  </a:lnTo>
                  <a:lnTo>
                    <a:pt x="2346" y="8858"/>
                  </a:lnTo>
                  <a:lnTo>
                    <a:pt x="2365" y="8900"/>
                  </a:lnTo>
                  <a:lnTo>
                    <a:pt x="2322" y="8858"/>
                  </a:lnTo>
                  <a:lnTo>
                    <a:pt x="2322" y="9005"/>
                  </a:lnTo>
                  <a:lnTo>
                    <a:pt x="2346" y="8962"/>
                  </a:lnTo>
                  <a:lnTo>
                    <a:pt x="2346" y="9005"/>
                  </a:lnTo>
                  <a:lnTo>
                    <a:pt x="2391" y="9005"/>
                  </a:lnTo>
                  <a:lnTo>
                    <a:pt x="2365" y="9109"/>
                  </a:lnTo>
                  <a:lnTo>
                    <a:pt x="2322" y="9060"/>
                  </a:lnTo>
                  <a:lnTo>
                    <a:pt x="2300" y="9164"/>
                  </a:lnTo>
                  <a:lnTo>
                    <a:pt x="2255" y="9317"/>
                  </a:lnTo>
                  <a:lnTo>
                    <a:pt x="2276" y="9317"/>
                  </a:lnTo>
                  <a:lnTo>
                    <a:pt x="2255" y="9421"/>
                  </a:lnTo>
                  <a:lnTo>
                    <a:pt x="2209" y="9372"/>
                  </a:lnTo>
                  <a:lnTo>
                    <a:pt x="2139" y="9580"/>
                  </a:lnTo>
                  <a:lnTo>
                    <a:pt x="2139" y="9623"/>
                  </a:lnTo>
                  <a:lnTo>
                    <a:pt x="2067" y="9727"/>
                  </a:lnTo>
                  <a:lnTo>
                    <a:pt x="2139" y="9832"/>
                  </a:lnTo>
                  <a:lnTo>
                    <a:pt x="2209" y="9685"/>
                  </a:lnTo>
                  <a:lnTo>
                    <a:pt x="2255" y="9580"/>
                  </a:lnTo>
                  <a:lnTo>
                    <a:pt x="2255" y="9623"/>
                  </a:lnTo>
                  <a:lnTo>
                    <a:pt x="2255" y="9685"/>
                  </a:lnTo>
                  <a:lnTo>
                    <a:pt x="2209" y="9832"/>
                  </a:lnTo>
                  <a:lnTo>
                    <a:pt x="2121" y="9893"/>
                  </a:lnTo>
                  <a:lnTo>
                    <a:pt x="2094" y="9789"/>
                  </a:lnTo>
                  <a:lnTo>
                    <a:pt x="1976" y="9893"/>
                  </a:lnTo>
                  <a:lnTo>
                    <a:pt x="1976" y="9997"/>
                  </a:lnTo>
                  <a:lnTo>
                    <a:pt x="1957" y="9997"/>
                  </a:lnTo>
                  <a:lnTo>
                    <a:pt x="1976" y="10040"/>
                  </a:lnTo>
                  <a:lnTo>
                    <a:pt x="2003" y="10144"/>
                  </a:lnTo>
                  <a:lnTo>
                    <a:pt x="1930" y="10040"/>
                  </a:lnTo>
                  <a:lnTo>
                    <a:pt x="1912" y="10101"/>
                  </a:lnTo>
                  <a:lnTo>
                    <a:pt x="1957" y="10205"/>
                  </a:lnTo>
                  <a:lnTo>
                    <a:pt x="1887" y="10144"/>
                  </a:lnTo>
                  <a:lnTo>
                    <a:pt x="1820" y="10101"/>
                  </a:lnTo>
                  <a:lnTo>
                    <a:pt x="1820" y="10144"/>
                  </a:lnTo>
                  <a:lnTo>
                    <a:pt x="1912" y="10144"/>
                  </a:lnTo>
                  <a:lnTo>
                    <a:pt x="1842" y="10248"/>
                  </a:lnTo>
                  <a:lnTo>
                    <a:pt x="1820" y="10205"/>
                  </a:lnTo>
                  <a:lnTo>
                    <a:pt x="1732" y="10248"/>
                  </a:lnTo>
                  <a:lnTo>
                    <a:pt x="1732" y="10309"/>
                  </a:lnTo>
                  <a:lnTo>
                    <a:pt x="1820" y="10309"/>
                  </a:lnTo>
                  <a:lnTo>
                    <a:pt x="1842" y="10407"/>
                  </a:lnTo>
                  <a:lnTo>
                    <a:pt x="1820" y="10407"/>
                  </a:lnTo>
                  <a:lnTo>
                    <a:pt x="1820" y="10352"/>
                  </a:lnTo>
                  <a:lnTo>
                    <a:pt x="1732" y="10407"/>
                  </a:lnTo>
                  <a:lnTo>
                    <a:pt x="1686" y="10456"/>
                  </a:lnTo>
                  <a:lnTo>
                    <a:pt x="1641" y="10456"/>
                  </a:lnTo>
                  <a:lnTo>
                    <a:pt x="1641" y="10511"/>
                  </a:lnTo>
                  <a:lnTo>
                    <a:pt x="1705" y="10511"/>
                  </a:lnTo>
                  <a:lnTo>
                    <a:pt x="1775" y="10616"/>
                  </a:lnTo>
                  <a:lnTo>
                    <a:pt x="1751" y="10616"/>
                  </a:lnTo>
                  <a:lnTo>
                    <a:pt x="1660" y="10616"/>
                  </a:lnTo>
                  <a:lnTo>
                    <a:pt x="1614" y="10665"/>
                  </a:lnTo>
                  <a:lnTo>
                    <a:pt x="1660" y="10720"/>
                  </a:lnTo>
                  <a:lnTo>
                    <a:pt x="1641" y="10763"/>
                  </a:lnTo>
                  <a:lnTo>
                    <a:pt x="1641" y="10824"/>
                  </a:lnTo>
                  <a:lnTo>
                    <a:pt x="1660" y="10867"/>
                  </a:lnTo>
                  <a:lnTo>
                    <a:pt x="1775" y="10867"/>
                  </a:lnTo>
                  <a:lnTo>
                    <a:pt x="1820" y="10867"/>
                  </a:lnTo>
                  <a:lnTo>
                    <a:pt x="1866" y="10867"/>
                  </a:lnTo>
                  <a:lnTo>
                    <a:pt x="1866" y="10824"/>
                  </a:lnTo>
                  <a:lnTo>
                    <a:pt x="1887" y="10867"/>
                  </a:lnTo>
                  <a:lnTo>
                    <a:pt x="1866" y="10928"/>
                  </a:lnTo>
                  <a:lnTo>
                    <a:pt x="1775" y="10928"/>
                  </a:lnTo>
                  <a:lnTo>
                    <a:pt x="1641" y="10928"/>
                  </a:lnTo>
                  <a:lnTo>
                    <a:pt x="1641" y="11032"/>
                  </a:lnTo>
                  <a:lnTo>
                    <a:pt x="1660" y="11179"/>
                  </a:lnTo>
                  <a:lnTo>
                    <a:pt x="1660" y="11345"/>
                  </a:lnTo>
                  <a:lnTo>
                    <a:pt x="1686" y="11240"/>
                  </a:lnTo>
                  <a:lnTo>
                    <a:pt x="1705" y="11345"/>
                  </a:lnTo>
                  <a:lnTo>
                    <a:pt x="1732" y="11240"/>
                  </a:lnTo>
                  <a:lnTo>
                    <a:pt x="1820" y="11179"/>
                  </a:lnTo>
                  <a:lnTo>
                    <a:pt x="1751" y="11345"/>
                  </a:lnTo>
                  <a:lnTo>
                    <a:pt x="1705" y="11449"/>
                  </a:lnTo>
                  <a:lnTo>
                    <a:pt x="1732" y="11449"/>
                  </a:lnTo>
                  <a:lnTo>
                    <a:pt x="1705" y="11492"/>
                  </a:lnTo>
                  <a:lnTo>
                    <a:pt x="1686" y="11492"/>
                  </a:lnTo>
                  <a:lnTo>
                    <a:pt x="1641" y="11657"/>
                  </a:lnTo>
                  <a:lnTo>
                    <a:pt x="1660" y="11743"/>
                  </a:lnTo>
                  <a:lnTo>
                    <a:pt x="1705" y="11657"/>
                  </a:lnTo>
                  <a:lnTo>
                    <a:pt x="1732" y="11596"/>
                  </a:lnTo>
                  <a:lnTo>
                    <a:pt x="1751" y="11596"/>
                  </a:lnTo>
                  <a:lnTo>
                    <a:pt x="1732" y="11743"/>
                  </a:lnTo>
                  <a:lnTo>
                    <a:pt x="1751" y="11847"/>
                  </a:lnTo>
                  <a:lnTo>
                    <a:pt x="1686" y="11804"/>
                  </a:lnTo>
                  <a:lnTo>
                    <a:pt x="1686" y="11908"/>
                  </a:lnTo>
                  <a:lnTo>
                    <a:pt x="1775" y="12110"/>
                  </a:lnTo>
                  <a:lnTo>
                    <a:pt x="1866" y="12214"/>
                  </a:lnTo>
                  <a:lnTo>
                    <a:pt x="1976" y="12159"/>
                  </a:lnTo>
                  <a:lnTo>
                    <a:pt x="2048" y="12012"/>
                  </a:lnTo>
                  <a:lnTo>
                    <a:pt x="2121" y="11804"/>
                  </a:lnTo>
                  <a:lnTo>
                    <a:pt x="2094" y="11743"/>
                  </a:lnTo>
                  <a:lnTo>
                    <a:pt x="2121" y="11700"/>
                  </a:lnTo>
                  <a:lnTo>
                    <a:pt x="2166" y="11804"/>
                  </a:lnTo>
                  <a:lnTo>
                    <a:pt x="2209" y="11657"/>
                  </a:lnTo>
                  <a:lnTo>
                    <a:pt x="2185" y="11553"/>
                  </a:lnTo>
                  <a:lnTo>
                    <a:pt x="2209" y="11553"/>
                  </a:lnTo>
                  <a:lnTo>
                    <a:pt x="2209" y="11449"/>
                  </a:lnTo>
                  <a:lnTo>
                    <a:pt x="2231" y="11387"/>
                  </a:lnTo>
                  <a:lnTo>
                    <a:pt x="2231" y="11449"/>
                  </a:lnTo>
                  <a:lnTo>
                    <a:pt x="2231" y="11657"/>
                  </a:lnTo>
                  <a:lnTo>
                    <a:pt x="2276" y="11743"/>
                  </a:lnTo>
                  <a:lnTo>
                    <a:pt x="2276" y="11804"/>
                  </a:lnTo>
                  <a:lnTo>
                    <a:pt x="2300" y="12012"/>
                  </a:lnTo>
                  <a:lnTo>
                    <a:pt x="2322" y="12110"/>
                  </a:lnTo>
                  <a:lnTo>
                    <a:pt x="2346" y="12055"/>
                  </a:lnTo>
                  <a:lnTo>
                    <a:pt x="2365" y="12159"/>
                  </a:lnTo>
                  <a:lnTo>
                    <a:pt x="2346" y="12263"/>
                  </a:lnTo>
                  <a:lnTo>
                    <a:pt x="2391" y="12423"/>
                  </a:lnTo>
                  <a:lnTo>
                    <a:pt x="2437" y="12631"/>
                  </a:lnTo>
                  <a:lnTo>
                    <a:pt x="2483" y="12735"/>
                  </a:lnTo>
                  <a:lnTo>
                    <a:pt x="2483" y="12839"/>
                  </a:lnTo>
                  <a:lnTo>
                    <a:pt x="2456" y="12839"/>
                  </a:lnTo>
                  <a:lnTo>
                    <a:pt x="2483" y="12882"/>
                  </a:lnTo>
                  <a:lnTo>
                    <a:pt x="2456" y="12943"/>
                  </a:lnTo>
                  <a:lnTo>
                    <a:pt x="2501" y="13090"/>
                  </a:lnTo>
                  <a:lnTo>
                    <a:pt x="2501" y="13256"/>
                  </a:lnTo>
                  <a:lnTo>
                    <a:pt x="2528" y="13256"/>
                  </a:lnTo>
                  <a:lnTo>
                    <a:pt x="2574" y="13256"/>
                  </a:lnTo>
                  <a:lnTo>
                    <a:pt x="2619" y="13256"/>
                  </a:lnTo>
                  <a:lnTo>
                    <a:pt x="2638" y="13152"/>
                  </a:lnTo>
                  <a:lnTo>
                    <a:pt x="2619" y="13090"/>
                  </a:lnTo>
                  <a:lnTo>
                    <a:pt x="2619" y="13047"/>
                  </a:lnTo>
                  <a:lnTo>
                    <a:pt x="2665" y="12986"/>
                  </a:lnTo>
                  <a:lnTo>
                    <a:pt x="2684" y="12943"/>
                  </a:lnTo>
                  <a:lnTo>
                    <a:pt x="2799" y="12943"/>
                  </a:lnTo>
                  <a:lnTo>
                    <a:pt x="2845" y="12631"/>
                  </a:lnTo>
                  <a:lnTo>
                    <a:pt x="2866" y="12319"/>
                  </a:lnTo>
                  <a:lnTo>
                    <a:pt x="2845" y="12263"/>
                  </a:lnTo>
                  <a:lnTo>
                    <a:pt x="2866" y="12214"/>
                  </a:lnTo>
                  <a:lnTo>
                    <a:pt x="2866" y="12110"/>
                  </a:lnTo>
                  <a:lnTo>
                    <a:pt x="2866" y="11951"/>
                  </a:lnTo>
                  <a:lnTo>
                    <a:pt x="2820" y="11908"/>
                  </a:lnTo>
                  <a:lnTo>
                    <a:pt x="2866" y="11908"/>
                  </a:lnTo>
                  <a:lnTo>
                    <a:pt x="2912" y="11847"/>
                  </a:lnTo>
                  <a:lnTo>
                    <a:pt x="2954" y="11743"/>
                  </a:lnTo>
                  <a:lnTo>
                    <a:pt x="2981" y="11804"/>
                  </a:lnTo>
                  <a:lnTo>
                    <a:pt x="2981" y="11743"/>
                  </a:lnTo>
                  <a:lnTo>
                    <a:pt x="3027" y="11700"/>
                  </a:lnTo>
                  <a:lnTo>
                    <a:pt x="3000" y="11596"/>
                  </a:lnTo>
                  <a:lnTo>
                    <a:pt x="3072" y="11449"/>
                  </a:lnTo>
                  <a:lnTo>
                    <a:pt x="3046" y="11283"/>
                  </a:lnTo>
                  <a:lnTo>
                    <a:pt x="3000" y="11240"/>
                  </a:lnTo>
                  <a:lnTo>
                    <a:pt x="2954" y="11075"/>
                  </a:lnTo>
                  <a:lnTo>
                    <a:pt x="2936" y="11136"/>
                  </a:lnTo>
                  <a:lnTo>
                    <a:pt x="2912" y="11075"/>
                  </a:lnTo>
                  <a:lnTo>
                    <a:pt x="2866" y="10867"/>
                  </a:lnTo>
                  <a:lnTo>
                    <a:pt x="2866" y="10720"/>
                  </a:lnTo>
                  <a:lnTo>
                    <a:pt x="2866" y="10616"/>
                  </a:lnTo>
                  <a:lnTo>
                    <a:pt x="2890" y="10616"/>
                  </a:lnTo>
                  <a:lnTo>
                    <a:pt x="2890" y="10560"/>
                  </a:lnTo>
                  <a:lnTo>
                    <a:pt x="2890" y="10407"/>
                  </a:lnTo>
                  <a:lnTo>
                    <a:pt x="2890" y="10309"/>
                  </a:lnTo>
                  <a:lnTo>
                    <a:pt x="2890" y="10248"/>
                  </a:lnTo>
                  <a:lnTo>
                    <a:pt x="2912" y="10248"/>
                  </a:lnTo>
                  <a:lnTo>
                    <a:pt x="2936" y="10248"/>
                  </a:lnTo>
                  <a:lnTo>
                    <a:pt x="2936" y="10101"/>
                  </a:lnTo>
                  <a:lnTo>
                    <a:pt x="2954" y="10101"/>
                  </a:lnTo>
                  <a:lnTo>
                    <a:pt x="2981" y="10101"/>
                  </a:lnTo>
                  <a:lnTo>
                    <a:pt x="2954" y="10040"/>
                  </a:lnTo>
                  <a:lnTo>
                    <a:pt x="2981" y="9936"/>
                  </a:lnTo>
                  <a:lnTo>
                    <a:pt x="3027" y="9936"/>
                  </a:lnTo>
                  <a:lnTo>
                    <a:pt x="3046" y="9832"/>
                  </a:lnTo>
                  <a:lnTo>
                    <a:pt x="3072" y="9789"/>
                  </a:lnTo>
                  <a:lnTo>
                    <a:pt x="3072" y="9727"/>
                  </a:lnTo>
                  <a:lnTo>
                    <a:pt x="3091" y="9789"/>
                  </a:lnTo>
                  <a:lnTo>
                    <a:pt x="3164" y="9685"/>
                  </a:lnTo>
                  <a:lnTo>
                    <a:pt x="3182" y="9623"/>
                  </a:lnTo>
                  <a:lnTo>
                    <a:pt x="3209" y="9476"/>
                  </a:lnTo>
                  <a:lnTo>
                    <a:pt x="3255" y="9317"/>
                  </a:lnTo>
                  <a:lnTo>
                    <a:pt x="3228" y="9268"/>
                  </a:lnTo>
                  <a:lnTo>
                    <a:pt x="3209" y="9213"/>
                  </a:lnTo>
                  <a:lnTo>
                    <a:pt x="3228" y="9109"/>
                  </a:lnTo>
                  <a:lnTo>
                    <a:pt x="3255" y="8962"/>
                  </a:lnTo>
                  <a:lnTo>
                    <a:pt x="3228" y="8900"/>
                  </a:lnTo>
                  <a:lnTo>
                    <a:pt x="3279" y="8858"/>
                  </a:lnTo>
                  <a:lnTo>
                    <a:pt x="3300" y="8649"/>
                  </a:lnTo>
                  <a:lnTo>
                    <a:pt x="3389" y="8692"/>
                  </a:lnTo>
                  <a:lnTo>
                    <a:pt x="3389" y="8649"/>
                  </a:lnTo>
                  <a:lnTo>
                    <a:pt x="3480" y="8649"/>
                  </a:lnTo>
                  <a:lnTo>
                    <a:pt x="3525" y="8649"/>
                  </a:lnTo>
                  <a:lnTo>
                    <a:pt x="3552" y="8692"/>
                  </a:lnTo>
                  <a:lnTo>
                    <a:pt x="3617" y="8796"/>
                  </a:lnTo>
                  <a:lnTo>
                    <a:pt x="3617" y="8962"/>
                  </a:lnTo>
                  <a:lnTo>
                    <a:pt x="3643" y="9060"/>
                  </a:lnTo>
                  <a:lnTo>
                    <a:pt x="3598" y="9060"/>
                  </a:lnTo>
                  <a:lnTo>
                    <a:pt x="3552" y="9164"/>
                  </a:lnTo>
                  <a:lnTo>
                    <a:pt x="3525" y="9268"/>
                  </a:lnTo>
                  <a:lnTo>
                    <a:pt x="3461" y="9476"/>
                  </a:lnTo>
                  <a:lnTo>
                    <a:pt x="3434" y="9623"/>
                  </a:lnTo>
                  <a:lnTo>
                    <a:pt x="3389" y="9685"/>
                  </a:lnTo>
                  <a:lnTo>
                    <a:pt x="3389" y="9727"/>
                  </a:lnTo>
                  <a:lnTo>
                    <a:pt x="3346" y="9789"/>
                  </a:lnTo>
                  <a:lnTo>
                    <a:pt x="3370" y="9832"/>
                  </a:lnTo>
                  <a:lnTo>
                    <a:pt x="3324" y="9893"/>
                  </a:lnTo>
                  <a:lnTo>
                    <a:pt x="3300" y="9893"/>
                  </a:lnTo>
                  <a:lnTo>
                    <a:pt x="3300" y="9997"/>
                  </a:lnTo>
                  <a:lnTo>
                    <a:pt x="3255" y="10101"/>
                  </a:lnTo>
                  <a:lnTo>
                    <a:pt x="3255" y="10144"/>
                  </a:lnTo>
                  <a:lnTo>
                    <a:pt x="3279" y="10456"/>
                  </a:lnTo>
                  <a:lnTo>
                    <a:pt x="3324" y="10665"/>
                  </a:lnTo>
                  <a:lnTo>
                    <a:pt x="3300" y="10665"/>
                  </a:lnTo>
                  <a:lnTo>
                    <a:pt x="3324" y="10824"/>
                  </a:lnTo>
                  <a:lnTo>
                    <a:pt x="3300" y="10867"/>
                  </a:lnTo>
                  <a:lnTo>
                    <a:pt x="3324" y="11032"/>
                  </a:lnTo>
                  <a:lnTo>
                    <a:pt x="3346" y="11075"/>
                  </a:lnTo>
                  <a:lnTo>
                    <a:pt x="3389" y="11075"/>
                  </a:lnTo>
                  <a:lnTo>
                    <a:pt x="3434" y="11136"/>
                  </a:lnTo>
                  <a:lnTo>
                    <a:pt x="3434" y="11179"/>
                  </a:lnTo>
                  <a:lnTo>
                    <a:pt x="3461" y="11240"/>
                  </a:lnTo>
                  <a:lnTo>
                    <a:pt x="3480" y="11136"/>
                  </a:lnTo>
                  <a:lnTo>
                    <a:pt x="3480" y="11240"/>
                  </a:lnTo>
                  <a:lnTo>
                    <a:pt x="3434" y="11240"/>
                  </a:lnTo>
                  <a:lnTo>
                    <a:pt x="3434" y="11283"/>
                  </a:lnTo>
                  <a:lnTo>
                    <a:pt x="3507" y="11387"/>
                  </a:lnTo>
                  <a:lnTo>
                    <a:pt x="3643" y="11240"/>
                  </a:lnTo>
                  <a:lnTo>
                    <a:pt x="3735" y="11179"/>
                  </a:lnTo>
                  <a:lnTo>
                    <a:pt x="3823" y="11075"/>
                  </a:lnTo>
                  <a:lnTo>
                    <a:pt x="3936" y="11075"/>
                  </a:lnTo>
                  <a:lnTo>
                    <a:pt x="3979" y="11032"/>
                  </a:lnTo>
                  <a:lnTo>
                    <a:pt x="4051" y="10928"/>
                  </a:lnTo>
                  <a:lnTo>
                    <a:pt x="4097" y="11179"/>
                  </a:lnTo>
                  <a:lnTo>
                    <a:pt x="4188" y="11179"/>
                  </a:lnTo>
                  <a:lnTo>
                    <a:pt x="4233" y="11345"/>
                  </a:lnTo>
                  <a:lnTo>
                    <a:pt x="4115" y="11283"/>
                  </a:lnTo>
                  <a:lnTo>
                    <a:pt x="4005" y="11387"/>
                  </a:lnTo>
                  <a:lnTo>
                    <a:pt x="4005" y="11492"/>
                  </a:lnTo>
                  <a:lnTo>
                    <a:pt x="3936" y="11492"/>
                  </a:lnTo>
                  <a:lnTo>
                    <a:pt x="3799" y="11449"/>
                  </a:lnTo>
                  <a:lnTo>
                    <a:pt x="3552" y="11657"/>
                  </a:lnTo>
                  <a:lnTo>
                    <a:pt x="3571" y="11847"/>
                  </a:lnTo>
                  <a:lnTo>
                    <a:pt x="3643" y="12055"/>
                  </a:lnTo>
                  <a:lnTo>
                    <a:pt x="3662" y="12012"/>
                  </a:lnTo>
                  <a:lnTo>
                    <a:pt x="3662" y="12214"/>
                  </a:lnTo>
                  <a:lnTo>
                    <a:pt x="3662" y="12472"/>
                  </a:lnTo>
                  <a:lnTo>
                    <a:pt x="3617" y="12527"/>
                  </a:lnTo>
                  <a:lnTo>
                    <a:pt x="3571" y="12527"/>
                  </a:lnTo>
                  <a:lnTo>
                    <a:pt x="3480" y="12214"/>
                  </a:lnTo>
                  <a:lnTo>
                    <a:pt x="3370" y="12423"/>
                  </a:lnTo>
                  <a:lnTo>
                    <a:pt x="3324" y="12839"/>
                  </a:lnTo>
                  <a:lnTo>
                    <a:pt x="3389" y="13403"/>
                  </a:lnTo>
                  <a:lnTo>
                    <a:pt x="3255" y="13403"/>
                  </a:lnTo>
                  <a:lnTo>
                    <a:pt x="3228" y="13507"/>
                  </a:lnTo>
                  <a:lnTo>
                    <a:pt x="3300" y="13458"/>
                  </a:lnTo>
                  <a:lnTo>
                    <a:pt x="3228" y="13562"/>
                  </a:lnTo>
                  <a:lnTo>
                    <a:pt x="3209" y="13666"/>
                  </a:lnTo>
                  <a:lnTo>
                    <a:pt x="3164" y="13611"/>
                  </a:lnTo>
                  <a:lnTo>
                    <a:pt x="3118" y="13611"/>
                  </a:lnTo>
                  <a:lnTo>
                    <a:pt x="3091" y="13562"/>
                  </a:lnTo>
                  <a:lnTo>
                    <a:pt x="3072" y="13458"/>
                  </a:lnTo>
                  <a:lnTo>
                    <a:pt x="2936" y="13507"/>
                  </a:lnTo>
                  <a:lnTo>
                    <a:pt x="2912" y="13507"/>
                  </a:lnTo>
                  <a:lnTo>
                    <a:pt x="2866" y="13562"/>
                  </a:lnTo>
                  <a:lnTo>
                    <a:pt x="2845" y="13666"/>
                  </a:lnTo>
                  <a:lnTo>
                    <a:pt x="2710" y="13770"/>
                  </a:lnTo>
                  <a:lnTo>
                    <a:pt x="2710" y="13874"/>
                  </a:lnTo>
                  <a:lnTo>
                    <a:pt x="2684" y="13874"/>
                  </a:lnTo>
                  <a:lnTo>
                    <a:pt x="2665" y="13917"/>
                  </a:lnTo>
                  <a:lnTo>
                    <a:pt x="2592" y="13813"/>
                  </a:lnTo>
                  <a:lnTo>
                    <a:pt x="2574" y="13770"/>
                  </a:lnTo>
                  <a:lnTo>
                    <a:pt x="2483" y="13666"/>
                  </a:lnTo>
                  <a:lnTo>
                    <a:pt x="2456" y="13562"/>
                  </a:lnTo>
                  <a:lnTo>
                    <a:pt x="2365" y="13715"/>
                  </a:lnTo>
                  <a:lnTo>
                    <a:pt x="2346" y="13813"/>
                  </a:lnTo>
                  <a:lnTo>
                    <a:pt x="2276" y="13813"/>
                  </a:lnTo>
                  <a:lnTo>
                    <a:pt x="2300" y="13666"/>
                  </a:lnTo>
                  <a:lnTo>
                    <a:pt x="2255" y="13666"/>
                  </a:lnTo>
                  <a:lnTo>
                    <a:pt x="2209" y="13666"/>
                  </a:lnTo>
                  <a:lnTo>
                    <a:pt x="2185" y="13611"/>
                  </a:lnTo>
                  <a:lnTo>
                    <a:pt x="2185" y="13562"/>
                  </a:lnTo>
                  <a:lnTo>
                    <a:pt x="2185" y="13507"/>
                  </a:lnTo>
                  <a:lnTo>
                    <a:pt x="2139" y="13458"/>
                  </a:lnTo>
                  <a:lnTo>
                    <a:pt x="2139" y="13360"/>
                  </a:lnTo>
                  <a:lnTo>
                    <a:pt x="2139" y="13194"/>
                  </a:lnTo>
                  <a:lnTo>
                    <a:pt x="2185" y="13152"/>
                  </a:lnTo>
                  <a:lnTo>
                    <a:pt x="2209" y="13047"/>
                  </a:lnTo>
                  <a:lnTo>
                    <a:pt x="2209" y="12986"/>
                  </a:lnTo>
                  <a:lnTo>
                    <a:pt x="2209" y="12943"/>
                  </a:lnTo>
                  <a:lnTo>
                    <a:pt x="2255" y="12943"/>
                  </a:lnTo>
                  <a:lnTo>
                    <a:pt x="2276" y="12839"/>
                  </a:lnTo>
                  <a:lnTo>
                    <a:pt x="2231" y="12778"/>
                  </a:lnTo>
                  <a:lnTo>
                    <a:pt x="2185" y="12631"/>
                  </a:lnTo>
                  <a:lnTo>
                    <a:pt x="2094" y="12631"/>
                  </a:lnTo>
                  <a:lnTo>
                    <a:pt x="2094" y="12735"/>
                  </a:lnTo>
                  <a:lnTo>
                    <a:pt x="2048" y="12674"/>
                  </a:lnTo>
                  <a:lnTo>
                    <a:pt x="2021" y="12839"/>
                  </a:lnTo>
                  <a:lnTo>
                    <a:pt x="1976" y="12778"/>
                  </a:lnTo>
                  <a:lnTo>
                    <a:pt x="1976" y="12943"/>
                  </a:lnTo>
                  <a:lnTo>
                    <a:pt x="1976" y="13194"/>
                  </a:lnTo>
                  <a:lnTo>
                    <a:pt x="2003" y="13152"/>
                  </a:lnTo>
                  <a:lnTo>
                    <a:pt x="2021" y="13194"/>
                  </a:lnTo>
                  <a:lnTo>
                    <a:pt x="2021" y="13403"/>
                  </a:lnTo>
                  <a:lnTo>
                    <a:pt x="2003" y="13403"/>
                  </a:lnTo>
                  <a:lnTo>
                    <a:pt x="1976" y="13458"/>
                  </a:lnTo>
                  <a:lnTo>
                    <a:pt x="2021" y="13458"/>
                  </a:lnTo>
                  <a:lnTo>
                    <a:pt x="2048" y="13562"/>
                  </a:lnTo>
                  <a:lnTo>
                    <a:pt x="2048" y="13666"/>
                  </a:lnTo>
                  <a:lnTo>
                    <a:pt x="2048" y="13715"/>
                  </a:lnTo>
                  <a:lnTo>
                    <a:pt x="2067" y="13715"/>
                  </a:lnTo>
                  <a:lnTo>
                    <a:pt x="2048" y="13813"/>
                  </a:lnTo>
                  <a:lnTo>
                    <a:pt x="2067" y="13874"/>
                  </a:lnTo>
                  <a:lnTo>
                    <a:pt x="2021" y="13874"/>
                  </a:lnTo>
                  <a:lnTo>
                    <a:pt x="2003" y="14021"/>
                  </a:lnTo>
                  <a:lnTo>
                    <a:pt x="1976" y="13917"/>
                  </a:lnTo>
                  <a:lnTo>
                    <a:pt x="1887" y="13917"/>
                  </a:lnTo>
                  <a:lnTo>
                    <a:pt x="1866" y="14021"/>
                  </a:lnTo>
                  <a:lnTo>
                    <a:pt x="1866" y="14083"/>
                  </a:lnTo>
                  <a:lnTo>
                    <a:pt x="1842" y="13979"/>
                  </a:lnTo>
                  <a:lnTo>
                    <a:pt x="1775" y="14021"/>
                  </a:lnTo>
                  <a:lnTo>
                    <a:pt x="1705" y="14126"/>
                  </a:lnTo>
                  <a:lnTo>
                    <a:pt x="1705" y="14230"/>
                  </a:lnTo>
                  <a:lnTo>
                    <a:pt x="1732" y="14230"/>
                  </a:lnTo>
                  <a:lnTo>
                    <a:pt x="1705" y="14334"/>
                  </a:lnTo>
                  <a:lnTo>
                    <a:pt x="1732" y="14499"/>
                  </a:lnTo>
                  <a:lnTo>
                    <a:pt x="1686" y="14438"/>
                  </a:lnTo>
                  <a:lnTo>
                    <a:pt x="1660" y="14291"/>
                  </a:lnTo>
                  <a:lnTo>
                    <a:pt x="1614" y="14126"/>
                  </a:lnTo>
                  <a:lnTo>
                    <a:pt x="1595" y="14395"/>
                  </a:lnTo>
                  <a:lnTo>
                    <a:pt x="1550" y="14542"/>
                  </a:lnTo>
                  <a:lnTo>
                    <a:pt x="1568" y="14603"/>
                  </a:lnTo>
                  <a:lnTo>
                    <a:pt x="1614" y="14646"/>
                  </a:lnTo>
                  <a:lnTo>
                    <a:pt x="1550" y="14646"/>
                  </a:lnTo>
                  <a:lnTo>
                    <a:pt x="1504" y="14708"/>
                  </a:lnTo>
                  <a:lnTo>
                    <a:pt x="1504" y="14806"/>
                  </a:lnTo>
                  <a:lnTo>
                    <a:pt x="1477" y="14806"/>
                  </a:lnTo>
                  <a:lnTo>
                    <a:pt x="1413" y="14910"/>
                  </a:lnTo>
                  <a:lnTo>
                    <a:pt x="1276" y="14959"/>
                  </a:lnTo>
                  <a:lnTo>
                    <a:pt x="1276" y="15222"/>
                  </a:lnTo>
                  <a:lnTo>
                    <a:pt x="1252" y="15326"/>
                  </a:lnTo>
                  <a:lnTo>
                    <a:pt x="1161" y="15369"/>
                  </a:lnTo>
                  <a:lnTo>
                    <a:pt x="1115" y="15430"/>
                  </a:lnTo>
                  <a:lnTo>
                    <a:pt x="1097" y="15534"/>
                  </a:lnTo>
                  <a:lnTo>
                    <a:pt x="1024" y="15534"/>
                  </a:lnTo>
                  <a:lnTo>
                    <a:pt x="979" y="15473"/>
                  </a:lnTo>
                  <a:lnTo>
                    <a:pt x="979" y="15369"/>
                  </a:lnTo>
                  <a:lnTo>
                    <a:pt x="933" y="15369"/>
                  </a:lnTo>
                  <a:lnTo>
                    <a:pt x="887" y="15369"/>
                  </a:lnTo>
                  <a:lnTo>
                    <a:pt x="906" y="15577"/>
                  </a:lnTo>
                  <a:lnTo>
                    <a:pt x="933" y="15786"/>
                  </a:lnTo>
                  <a:lnTo>
                    <a:pt x="887" y="15786"/>
                  </a:lnTo>
                  <a:lnTo>
                    <a:pt x="842" y="15786"/>
                  </a:lnTo>
                  <a:lnTo>
                    <a:pt x="818" y="15847"/>
                  </a:lnTo>
                  <a:lnTo>
                    <a:pt x="751" y="15743"/>
                  </a:lnTo>
                  <a:lnTo>
                    <a:pt x="708" y="15743"/>
                  </a:lnTo>
                  <a:lnTo>
                    <a:pt x="662" y="15743"/>
                  </a:lnTo>
                  <a:lnTo>
                    <a:pt x="590" y="15786"/>
                  </a:lnTo>
                  <a:lnTo>
                    <a:pt x="571" y="15847"/>
                  </a:lnTo>
                  <a:lnTo>
                    <a:pt x="617" y="15847"/>
                  </a:lnTo>
                  <a:lnTo>
                    <a:pt x="635" y="15890"/>
                  </a:lnTo>
                  <a:lnTo>
                    <a:pt x="590" y="15890"/>
                  </a:lnTo>
                  <a:lnTo>
                    <a:pt x="617" y="15951"/>
                  </a:lnTo>
                  <a:lnTo>
                    <a:pt x="590" y="15951"/>
                  </a:lnTo>
                  <a:lnTo>
                    <a:pt x="617" y="16055"/>
                  </a:lnTo>
                  <a:lnTo>
                    <a:pt x="751" y="16153"/>
                  </a:lnTo>
                  <a:lnTo>
                    <a:pt x="818" y="16202"/>
                  </a:lnTo>
                  <a:lnTo>
                    <a:pt x="863" y="16257"/>
                  </a:lnTo>
                  <a:lnTo>
                    <a:pt x="863" y="16410"/>
                  </a:lnTo>
                  <a:lnTo>
                    <a:pt x="952" y="16613"/>
                  </a:lnTo>
                  <a:lnTo>
                    <a:pt x="952" y="16778"/>
                  </a:lnTo>
                  <a:lnTo>
                    <a:pt x="1005" y="16821"/>
                  </a:lnTo>
                  <a:lnTo>
                    <a:pt x="1024" y="16986"/>
                  </a:lnTo>
                  <a:lnTo>
                    <a:pt x="979" y="16821"/>
                  </a:lnTo>
                  <a:lnTo>
                    <a:pt x="952" y="17090"/>
                  </a:lnTo>
                  <a:lnTo>
                    <a:pt x="979" y="17133"/>
                  </a:lnTo>
                  <a:lnTo>
                    <a:pt x="952" y="17194"/>
                  </a:lnTo>
                  <a:lnTo>
                    <a:pt x="906" y="17550"/>
                  </a:lnTo>
                  <a:lnTo>
                    <a:pt x="796" y="17550"/>
                  </a:lnTo>
                  <a:lnTo>
                    <a:pt x="681" y="17550"/>
                  </a:lnTo>
                  <a:lnTo>
                    <a:pt x="544" y="17550"/>
                  </a:lnTo>
                  <a:lnTo>
                    <a:pt x="434" y="17501"/>
                  </a:lnTo>
                  <a:lnTo>
                    <a:pt x="362" y="17501"/>
                  </a:lnTo>
                  <a:lnTo>
                    <a:pt x="252" y="17501"/>
                  </a:lnTo>
                  <a:lnTo>
                    <a:pt x="206" y="17446"/>
                  </a:lnTo>
                  <a:lnTo>
                    <a:pt x="161" y="17501"/>
                  </a:lnTo>
                  <a:lnTo>
                    <a:pt x="161" y="17550"/>
                  </a:lnTo>
                  <a:lnTo>
                    <a:pt x="91" y="17550"/>
                  </a:lnTo>
                  <a:lnTo>
                    <a:pt x="46" y="17605"/>
                  </a:lnTo>
                  <a:lnTo>
                    <a:pt x="72" y="17758"/>
                  </a:lnTo>
                  <a:lnTo>
                    <a:pt x="72" y="17813"/>
                  </a:lnTo>
                  <a:lnTo>
                    <a:pt x="91" y="17813"/>
                  </a:lnTo>
                  <a:lnTo>
                    <a:pt x="118" y="17917"/>
                  </a:lnTo>
                  <a:lnTo>
                    <a:pt x="91" y="17960"/>
                  </a:lnTo>
                  <a:lnTo>
                    <a:pt x="118" y="18438"/>
                  </a:lnTo>
                  <a:lnTo>
                    <a:pt x="46" y="18848"/>
                  </a:lnTo>
                  <a:lnTo>
                    <a:pt x="27" y="18897"/>
                  </a:lnTo>
                  <a:lnTo>
                    <a:pt x="0" y="19106"/>
                  </a:lnTo>
                  <a:lnTo>
                    <a:pt x="46" y="19106"/>
                  </a:lnTo>
                  <a:lnTo>
                    <a:pt x="46" y="19161"/>
                  </a:lnTo>
                  <a:lnTo>
                    <a:pt x="72" y="19161"/>
                  </a:lnTo>
                  <a:lnTo>
                    <a:pt x="72" y="19204"/>
                  </a:lnTo>
                  <a:lnTo>
                    <a:pt x="72" y="19516"/>
                  </a:lnTo>
                  <a:lnTo>
                    <a:pt x="46" y="19620"/>
                  </a:lnTo>
                  <a:lnTo>
                    <a:pt x="118" y="19620"/>
                  </a:lnTo>
                  <a:lnTo>
                    <a:pt x="161" y="19681"/>
                  </a:lnTo>
                  <a:lnTo>
                    <a:pt x="252" y="19620"/>
                  </a:lnTo>
                  <a:lnTo>
                    <a:pt x="273" y="19620"/>
                  </a:lnTo>
                  <a:lnTo>
                    <a:pt x="343" y="19681"/>
                  </a:lnTo>
                  <a:lnTo>
                    <a:pt x="343" y="19786"/>
                  </a:lnTo>
                  <a:lnTo>
                    <a:pt x="362" y="19890"/>
                  </a:lnTo>
                  <a:lnTo>
                    <a:pt x="453" y="19994"/>
                  </a:lnTo>
                  <a:lnTo>
                    <a:pt x="525" y="19828"/>
                  </a:lnTo>
                  <a:lnTo>
                    <a:pt x="571" y="19828"/>
                  </a:lnTo>
                  <a:lnTo>
                    <a:pt x="617" y="19786"/>
                  </a:lnTo>
                  <a:lnTo>
                    <a:pt x="681" y="19786"/>
                  </a:lnTo>
                  <a:lnTo>
                    <a:pt x="708" y="19786"/>
                  </a:lnTo>
                  <a:lnTo>
                    <a:pt x="751" y="19786"/>
                  </a:lnTo>
                  <a:lnTo>
                    <a:pt x="772" y="19786"/>
                  </a:lnTo>
                  <a:lnTo>
                    <a:pt x="796" y="19724"/>
                  </a:lnTo>
                  <a:lnTo>
                    <a:pt x="818" y="19724"/>
                  </a:lnTo>
                  <a:lnTo>
                    <a:pt x="842" y="19786"/>
                  </a:lnTo>
                  <a:lnTo>
                    <a:pt x="863" y="19620"/>
                  </a:lnTo>
                  <a:lnTo>
                    <a:pt x="906" y="19516"/>
                  </a:lnTo>
                  <a:lnTo>
                    <a:pt x="979" y="19516"/>
                  </a:lnTo>
                  <a:lnTo>
                    <a:pt x="1005" y="19473"/>
                  </a:lnTo>
                  <a:lnTo>
                    <a:pt x="1005" y="19412"/>
                  </a:lnTo>
                  <a:lnTo>
                    <a:pt x="1024" y="19308"/>
                  </a:lnTo>
                  <a:lnTo>
                    <a:pt x="1070" y="19204"/>
                  </a:lnTo>
                  <a:lnTo>
                    <a:pt x="1115" y="19161"/>
                  </a:lnTo>
                  <a:lnTo>
                    <a:pt x="1115" y="19106"/>
                  </a:lnTo>
                  <a:lnTo>
                    <a:pt x="1070" y="18953"/>
                  </a:lnTo>
                  <a:lnTo>
                    <a:pt x="1051" y="18848"/>
                  </a:lnTo>
                  <a:lnTo>
                    <a:pt x="1142" y="18646"/>
                  </a:lnTo>
                  <a:lnTo>
                    <a:pt x="1185" y="18542"/>
                  </a:lnTo>
                  <a:lnTo>
                    <a:pt x="1185" y="18377"/>
                  </a:lnTo>
                  <a:lnTo>
                    <a:pt x="1206" y="18377"/>
                  </a:lnTo>
                  <a:lnTo>
                    <a:pt x="1252" y="18334"/>
                  </a:lnTo>
                  <a:lnTo>
                    <a:pt x="1340" y="18334"/>
                  </a:lnTo>
                  <a:lnTo>
                    <a:pt x="1413" y="18168"/>
                  </a:lnTo>
                  <a:lnTo>
                    <a:pt x="1458" y="18064"/>
                  </a:lnTo>
                  <a:lnTo>
                    <a:pt x="1458" y="17960"/>
                  </a:lnTo>
                  <a:lnTo>
                    <a:pt x="1477" y="17917"/>
                  </a:lnTo>
                  <a:lnTo>
                    <a:pt x="1458" y="17856"/>
                  </a:lnTo>
                  <a:lnTo>
                    <a:pt x="1458" y="17709"/>
                  </a:lnTo>
                  <a:lnTo>
                    <a:pt x="1523" y="17605"/>
                  </a:lnTo>
                  <a:lnTo>
                    <a:pt x="1550" y="17550"/>
                  </a:lnTo>
                  <a:lnTo>
                    <a:pt x="1568" y="17550"/>
                  </a:lnTo>
                  <a:lnTo>
                    <a:pt x="1614" y="17550"/>
                  </a:lnTo>
                  <a:lnTo>
                    <a:pt x="1614" y="17605"/>
                  </a:lnTo>
                  <a:lnTo>
                    <a:pt x="1660" y="17605"/>
                  </a:lnTo>
                  <a:lnTo>
                    <a:pt x="1686" y="17605"/>
                  </a:lnTo>
                  <a:lnTo>
                    <a:pt x="1705" y="17654"/>
                  </a:lnTo>
                  <a:lnTo>
                    <a:pt x="1751" y="17709"/>
                  </a:lnTo>
                  <a:lnTo>
                    <a:pt x="1842" y="17709"/>
                  </a:lnTo>
                  <a:lnTo>
                    <a:pt x="1842" y="17605"/>
                  </a:lnTo>
                  <a:lnTo>
                    <a:pt x="1887" y="17550"/>
                  </a:lnTo>
                  <a:lnTo>
                    <a:pt x="1930" y="17550"/>
                  </a:lnTo>
                  <a:lnTo>
                    <a:pt x="1930" y="17501"/>
                  </a:lnTo>
                  <a:lnTo>
                    <a:pt x="1957" y="17501"/>
                  </a:lnTo>
                  <a:lnTo>
                    <a:pt x="1976" y="17446"/>
                  </a:lnTo>
                  <a:lnTo>
                    <a:pt x="2003" y="17446"/>
                  </a:lnTo>
                  <a:lnTo>
                    <a:pt x="2048" y="17342"/>
                  </a:lnTo>
                  <a:lnTo>
                    <a:pt x="2094" y="17299"/>
                  </a:lnTo>
                  <a:lnTo>
                    <a:pt x="2166" y="17299"/>
                  </a:lnTo>
                  <a:lnTo>
                    <a:pt x="2231" y="17342"/>
                  </a:lnTo>
                  <a:lnTo>
                    <a:pt x="2255" y="17446"/>
                  </a:lnTo>
                  <a:lnTo>
                    <a:pt x="2276" y="17605"/>
                  </a:lnTo>
                  <a:lnTo>
                    <a:pt x="2300" y="17654"/>
                  </a:lnTo>
                  <a:lnTo>
                    <a:pt x="2276" y="17758"/>
                  </a:lnTo>
                  <a:lnTo>
                    <a:pt x="2322" y="17758"/>
                  </a:lnTo>
                  <a:lnTo>
                    <a:pt x="2365" y="17813"/>
                  </a:lnTo>
                  <a:lnTo>
                    <a:pt x="2437" y="17960"/>
                  </a:lnTo>
                  <a:lnTo>
                    <a:pt x="2456" y="18021"/>
                  </a:lnTo>
                  <a:lnTo>
                    <a:pt x="2528" y="18230"/>
                  </a:lnTo>
                  <a:lnTo>
                    <a:pt x="2592" y="18273"/>
                  </a:lnTo>
                  <a:lnTo>
                    <a:pt x="2684" y="18273"/>
                  </a:lnTo>
                  <a:lnTo>
                    <a:pt x="2684" y="18377"/>
                  </a:lnTo>
                  <a:lnTo>
                    <a:pt x="2710" y="18438"/>
                  </a:lnTo>
                  <a:lnTo>
                    <a:pt x="2729" y="18438"/>
                  </a:lnTo>
                  <a:lnTo>
                    <a:pt x="2756" y="18481"/>
                  </a:lnTo>
                  <a:lnTo>
                    <a:pt x="2799" y="18481"/>
                  </a:lnTo>
                  <a:lnTo>
                    <a:pt x="2820" y="18585"/>
                  </a:lnTo>
                  <a:lnTo>
                    <a:pt x="2820" y="18646"/>
                  </a:lnTo>
                  <a:lnTo>
                    <a:pt x="2866" y="18689"/>
                  </a:lnTo>
                  <a:lnTo>
                    <a:pt x="2890" y="18689"/>
                  </a:lnTo>
                  <a:lnTo>
                    <a:pt x="2954" y="19106"/>
                  </a:lnTo>
                  <a:lnTo>
                    <a:pt x="2936" y="19161"/>
                  </a:lnTo>
                  <a:lnTo>
                    <a:pt x="2936" y="19265"/>
                  </a:lnTo>
                  <a:lnTo>
                    <a:pt x="2912" y="19308"/>
                  </a:lnTo>
                  <a:lnTo>
                    <a:pt x="2912" y="19412"/>
                  </a:lnTo>
                  <a:lnTo>
                    <a:pt x="2954" y="19369"/>
                  </a:lnTo>
                  <a:lnTo>
                    <a:pt x="3000" y="19204"/>
                  </a:lnTo>
                  <a:lnTo>
                    <a:pt x="3000" y="19106"/>
                  </a:lnTo>
                  <a:lnTo>
                    <a:pt x="3072" y="19057"/>
                  </a:lnTo>
                  <a:lnTo>
                    <a:pt x="3046" y="18848"/>
                  </a:lnTo>
                  <a:lnTo>
                    <a:pt x="3027" y="18848"/>
                  </a:lnTo>
                  <a:lnTo>
                    <a:pt x="2981" y="18793"/>
                  </a:lnTo>
                  <a:lnTo>
                    <a:pt x="3027" y="18585"/>
                  </a:lnTo>
                  <a:lnTo>
                    <a:pt x="3046" y="18542"/>
                  </a:lnTo>
                  <a:lnTo>
                    <a:pt x="3118" y="18585"/>
                  </a:lnTo>
                  <a:lnTo>
                    <a:pt x="3137" y="18689"/>
                  </a:lnTo>
                  <a:lnTo>
                    <a:pt x="3164" y="18750"/>
                  </a:lnTo>
                  <a:lnTo>
                    <a:pt x="3209" y="18750"/>
                  </a:lnTo>
                  <a:lnTo>
                    <a:pt x="3209" y="18646"/>
                  </a:lnTo>
                  <a:lnTo>
                    <a:pt x="3118" y="18438"/>
                  </a:lnTo>
                  <a:lnTo>
                    <a:pt x="3000" y="18334"/>
                  </a:lnTo>
                  <a:lnTo>
                    <a:pt x="2912" y="18230"/>
                  </a:lnTo>
                  <a:lnTo>
                    <a:pt x="2912" y="18168"/>
                  </a:lnTo>
                  <a:lnTo>
                    <a:pt x="2936" y="18126"/>
                  </a:lnTo>
                  <a:lnTo>
                    <a:pt x="2912" y="18064"/>
                  </a:lnTo>
                  <a:lnTo>
                    <a:pt x="2866" y="18064"/>
                  </a:lnTo>
                  <a:lnTo>
                    <a:pt x="2729" y="17917"/>
                  </a:lnTo>
                  <a:lnTo>
                    <a:pt x="2638" y="17550"/>
                  </a:lnTo>
                  <a:lnTo>
                    <a:pt x="2483" y="17194"/>
                  </a:lnTo>
                  <a:lnTo>
                    <a:pt x="2483" y="17090"/>
                  </a:lnTo>
                  <a:lnTo>
                    <a:pt x="2501" y="17029"/>
                  </a:lnTo>
                  <a:lnTo>
                    <a:pt x="2483" y="16925"/>
                  </a:lnTo>
                  <a:lnTo>
                    <a:pt x="2528" y="16882"/>
                  </a:lnTo>
                  <a:lnTo>
                    <a:pt x="2574" y="16821"/>
                  </a:lnTo>
                  <a:lnTo>
                    <a:pt x="2574" y="16778"/>
                  </a:lnTo>
                  <a:lnTo>
                    <a:pt x="2619" y="16778"/>
                  </a:lnTo>
                  <a:lnTo>
                    <a:pt x="2638" y="16821"/>
                  </a:lnTo>
                  <a:lnTo>
                    <a:pt x="2619" y="16882"/>
                  </a:lnTo>
                  <a:lnTo>
                    <a:pt x="2665" y="17090"/>
                  </a:lnTo>
                  <a:lnTo>
                    <a:pt x="2710" y="16925"/>
                  </a:lnTo>
                  <a:lnTo>
                    <a:pt x="2775" y="17029"/>
                  </a:lnTo>
                  <a:lnTo>
                    <a:pt x="2775" y="17133"/>
                  </a:lnTo>
                  <a:lnTo>
                    <a:pt x="2866" y="17299"/>
                  </a:lnTo>
                  <a:lnTo>
                    <a:pt x="2799" y="17342"/>
                  </a:lnTo>
                  <a:lnTo>
                    <a:pt x="2912" y="17605"/>
                  </a:lnTo>
                  <a:lnTo>
                    <a:pt x="2954" y="17550"/>
                  </a:lnTo>
                  <a:lnTo>
                    <a:pt x="3027" y="17605"/>
                  </a:lnTo>
                  <a:lnTo>
                    <a:pt x="3091" y="17758"/>
                  </a:lnTo>
                  <a:lnTo>
                    <a:pt x="3046" y="17709"/>
                  </a:lnTo>
                  <a:lnTo>
                    <a:pt x="3046" y="17758"/>
                  </a:lnTo>
                  <a:lnTo>
                    <a:pt x="3137" y="17813"/>
                  </a:lnTo>
                  <a:lnTo>
                    <a:pt x="3209" y="17856"/>
                  </a:lnTo>
                  <a:lnTo>
                    <a:pt x="3279" y="18064"/>
                  </a:lnTo>
                  <a:lnTo>
                    <a:pt x="3324" y="18168"/>
                  </a:lnTo>
                  <a:lnTo>
                    <a:pt x="3324" y="18334"/>
                  </a:lnTo>
                  <a:lnTo>
                    <a:pt x="3346" y="18377"/>
                  </a:lnTo>
                  <a:lnTo>
                    <a:pt x="3324" y="18438"/>
                  </a:lnTo>
                  <a:lnTo>
                    <a:pt x="3324" y="18585"/>
                  </a:lnTo>
                  <a:lnTo>
                    <a:pt x="3300" y="18585"/>
                  </a:lnTo>
                  <a:lnTo>
                    <a:pt x="3370" y="18689"/>
                  </a:lnTo>
                  <a:lnTo>
                    <a:pt x="3416" y="18793"/>
                  </a:lnTo>
                  <a:lnTo>
                    <a:pt x="3416" y="18848"/>
                  </a:lnTo>
                  <a:lnTo>
                    <a:pt x="3480" y="19002"/>
                  </a:lnTo>
                  <a:lnTo>
                    <a:pt x="3525" y="19002"/>
                  </a:lnTo>
                  <a:lnTo>
                    <a:pt x="3525" y="19057"/>
                  </a:lnTo>
                  <a:lnTo>
                    <a:pt x="3480" y="19057"/>
                  </a:lnTo>
                  <a:lnTo>
                    <a:pt x="3525" y="19265"/>
                  </a:lnTo>
                  <a:lnTo>
                    <a:pt x="3643" y="19204"/>
                  </a:lnTo>
                  <a:lnTo>
                    <a:pt x="3689" y="19204"/>
                  </a:lnTo>
                  <a:lnTo>
                    <a:pt x="3753" y="19308"/>
                  </a:lnTo>
                  <a:lnTo>
                    <a:pt x="3735" y="19369"/>
                  </a:lnTo>
                  <a:lnTo>
                    <a:pt x="3643" y="19265"/>
                  </a:lnTo>
                  <a:lnTo>
                    <a:pt x="3571" y="19308"/>
                  </a:lnTo>
                  <a:lnTo>
                    <a:pt x="3525" y="19412"/>
                  </a:lnTo>
                  <a:lnTo>
                    <a:pt x="3598" y="19516"/>
                  </a:lnTo>
                  <a:lnTo>
                    <a:pt x="3598" y="19620"/>
                  </a:lnTo>
                  <a:lnTo>
                    <a:pt x="3617" y="19724"/>
                  </a:lnTo>
                  <a:lnTo>
                    <a:pt x="3643" y="19786"/>
                  </a:lnTo>
                  <a:lnTo>
                    <a:pt x="3617" y="19681"/>
                  </a:lnTo>
                  <a:lnTo>
                    <a:pt x="3662" y="19681"/>
                  </a:lnTo>
                  <a:lnTo>
                    <a:pt x="3689" y="19828"/>
                  </a:lnTo>
                  <a:lnTo>
                    <a:pt x="3708" y="19828"/>
                  </a:lnTo>
                  <a:lnTo>
                    <a:pt x="3708" y="19786"/>
                  </a:lnTo>
                  <a:lnTo>
                    <a:pt x="3708" y="19724"/>
                  </a:lnTo>
                  <a:lnTo>
                    <a:pt x="3780" y="19828"/>
                  </a:lnTo>
                  <a:lnTo>
                    <a:pt x="3780" y="19786"/>
                  </a:lnTo>
                  <a:lnTo>
                    <a:pt x="3780" y="19724"/>
                  </a:lnTo>
                  <a:lnTo>
                    <a:pt x="3708" y="19473"/>
                  </a:lnTo>
                  <a:lnTo>
                    <a:pt x="3780" y="19577"/>
                  </a:lnTo>
                  <a:lnTo>
                    <a:pt x="3799" y="19577"/>
                  </a:lnTo>
                  <a:lnTo>
                    <a:pt x="3753" y="19412"/>
                  </a:lnTo>
                  <a:lnTo>
                    <a:pt x="3799" y="19369"/>
                  </a:lnTo>
                  <a:lnTo>
                    <a:pt x="3869" y="19473"/>
                  </a:lnTo>
                  <a:lnTo>
                    <a:pt x="3845" y="19265"/>
                  </a:lnTo>
                  <a:lnTo>
                    <a:pt x="3799" y="19161"/>
                  </a:lnTo>
                  <a:lnTo>
                    <a:pt x="3753" y="19057"/>
                  </a:lnTo>
                  <a:lnTo>
                    <a:pt x="3780" y="19002"/>
                  </a:lnTo>
                  <a:lnTo>
                    <a:pt x="3823" y="19106"/>
                  </a:lnTo>
                  <a:lnTo>
                    <a:pt x="3869" y="19106"/>
                  </a:lnTo>
                  <a:lnTo>
                    <a:pt x="3890" y="19265"/>
                  </a:lnTo>
                  <a:lnTo>
                    <a:pt x="3914" y="19308"/>
                  </a:lnTo>
                  <a:lnTo>
                    <a:pt x="3914" y="19369"/>
                  </a:lnTo>
                  <a:lnTo>
                    <a:pt x="3890" y="19369"/>
                  </a:lnTo>
                  <a:lnTo>
                    <a:pt x="3845" y="19265"/>
                  </a:lnTo>
                  <a:lnTo>
                    <a:pt x="3753" y="19106"/>
                  </a:lnTo>
                  <a:lnTo>
                    <a:pt x="3689" y="19057"/>
                  </a:lnTo>
                  <a:lnTo>
                    <a:pt x="3735" y="19057"/>
                  </a:lnTo>
                  <a:lnTo>
                    <a:pt x="3780" y="18953"/>
                  </a:lnTo>
                  <a:lnTo>
                    <a:pt x="3689" y="18689"/>
                  </a:lnTo>
                  <a:lnTo>
                    <a:pt x="3689" y="18542"/>
                  </a:lnTo>
                  <a:lnTo>
                    <a:pt x="3735" y="18481"/>
                  </a:lnTo>
                  <a:lnTo>
                    <a:pt x="3735" y="18542"/>
                  </a:lnTo>
                  <a:lnTo>
                    <a:pt x="3708" y="18542"/>
                  </a:lnTo>
                  <a:lnTo>
                    <a:pt x="3780" y="18646"/>
                  </a:lnTo>
                  <a:lnTo>
                    <a:pt x="3845" y="18689"/>
                  </a:lnTo>
                  <a:lnTo>
                    <a:pt x="3845" y="18646"/>
                  </a:lnTo>
                  <a:lnTo>
                    <a:pt x="3823" y="18585"/>
                  </a:lnTo>
                  <a:lnTo>
                    <a:pt x="3845" y="18585"/>
                  </a:lnTo>
                  <a:lnTo>
                    <a:pt x="3869" y="18646"/>
                  </a:lnTo>
                  <a:lnTo>
                    <a:pt x="3823" y="18481"/>
                  </a:lnTo>
                  <a:lnTo>
                    <a:pt x="3869" y="18438"/>
                  </a:lnTo>
                  <a:lnTo>
                    <a:pt x="3890" y="18377"/>
                  </a:lnTo>
                  <a:lnTo>
                    <a:pt x="3914" y="18377"/>
                  </a:lnTo>
                  <a:lnTo>
                    <a:pt x="3960" y="18334"/>
                  </a:lnTo>
                  <a:lnTo>
                    <a:pt x="3979" y="18377"/>
                  </a:lnTo>
                  <a:lnTo>
                    <a:pt x="4070" y="18438"/>
                  </a:lnTo>
                  <a:lnTo>
                    <a:pt x="4097" y="18481"/>
                  </a:lnTo>
                  <a:lnTo>
                    <a:pt x="4097" y="18438"/>
                  </a:lnTo>
                  <a:lnTo>
                    <a:pt x="4142" y="18438"/>
                  </a:lnTo>
                  <a:lnTo>
                    <a:pt x="4097" y="18542"/>
                  </a:lnTo>
                  <a:lnTo>
                    <a:pt x="4097" y="18646"/>
                  </a:lnTo>
                  <a:lnTo>
                    <a:pt x="4142" y="18542"/>
                  </a:lnTo>
                  <a:lnTo>
                    <a:pt x="4206" y="18438"/>
                  </a:lnTo>
                  <a:lnTo>
                    <a:pt x="4233" y="18377"/>
                  </a:lnTo>
                  <a:lnTo>
                    <a:pt x="4343" y="18334"/>
                  </a:lnTo>
                  <a:lnTo>
                    <a:pt x="4458" y="18377"/>
                  </a:lnTo>
                  <a:lnTo>
                    <a:pt x="4504" y="18377"/>
                  </a:lnTo>
                  <a:lnTo>
                    <a:pt x="4413" y="18481"/>
                  </a:lnTo>
                  <a:lnTo>
                    <a:pt x="4413" y="18542"/>
                  </a:lnTo>
                  <a:lnTo>
                    <a:pt x="4324" y="18542"/>
                  </a:lnTo>
                  <a:lnTo>
                    <a:pt x="4298" y="18481"/>
                  </a:lnTo>
                  <a:lnTo>
                    <a:pt x="4279" y="18542"/>
                  </a:lnTo>
                  <a:lnTo>
                    <a:pt x="4279" y="18585"/>
                  </a:lnTo>
                  <a:lnTo>
                    <a:pt x="4206" y="18542"/>
                  </a:lnTo>
                  <a:lnTo>
                    <a:pt x="4161" y="18585"/>
                  </a:lnTo>
                  <a:lnTo>
                    <a:pt x="4097" y="18689"/>
                  </a:lnTo>
                  <a:lnTo>
                    <a:pt x="4097" y="18848"/>
                  </a:lnTo>
                  <a:lnTo>
                    <a:pt x="4188" y="18848"/>
                  </a:lnTo>
                  <a:lnTo>
                    <a:pt x="4161" y="18953"/>
                  </a:lnTo>
                  <a:lnTo>
                    <a:pt x="4188" y="19057"/>
                  </a:lnTo>
                  <a:lnTo>
                    <a:pt x="4206" y="19057"/>
                  </a:lnTo>
                  <a:lnTo>
                    <a:pt x="4188" y="19161"/>
                  </a:lnTo>
                  <a:lnTo>
                    <a:pt x="4206" y="19204"/>
                  </a:lnTo>
                  <a:lnTo>
                    <a:pt x="4161" y="19204"/>
                  </a:lnTo>
                  <a:lnTo>
                    <a:pt x="4142" y="19161"/>
                  </a:lnTo>
                  <a:lnTo>
                    <a:pt x="4115" y="19161"/>
                  </a:lnTo>
                  <a:lnTo>
                    <a:pt x="4142" y="19204"/>
                  </a:lnTo>
                  <a:lnTo>
                    <a:pt x="4115" y="19265"/>
                  </a:lnTo>
                  <a:lnTo>
                    <a:pt x="4188" y="19265"/>
                  </a:lnTo>
                  <a:lnTo>
                    <a:pt x="4233" y="19369"/>
                  </a:lnTo>
                  <a:lnTo>
                    <a:pt x="4233" y="19473"/>
                  </a:lnTo>
                  <a:lnTo>
                    <a:pt x="4233" y="19577"/>
                  </a:lnTo>
                  <a:lnTo>
                    <a:pt x="4279" y="19577"/>
                  </a:lnTo>
                  <a:lnTo>
                    <a:pt x="4279" y="19620"/>
                  </a:lnTo>
                  <a:lnTo>
                    <a:pt x="4233" y="19620"/>
                  </a:lnTo>
                  <a:lnTo>
                    <a:pt x="4252" y="19681"/>
                  </a:lnTo>
                  <a:lnTo>
                    <a:pt x="4370" y="19681"/>
                  </a:lnTo>
                  <a:lnTo>
                    <a:pt x="4279" y="19724"/>
                  </a:lnTo>
                  <a:lnTo>
                    <a:pt x="4279" y="19786"/>
                  </a:lnTo>
                  <a:lnTo>
                    <a:pt x="4343" y="19786"/>
                  </a:lnTo>
                  <a:lnTo>
                    <a:pt x="4370" y="19724"/>
                  </a:lnTo>
                  <a:lnTo>
                    <a:pt x="4394" y="19724"/>
                  </a:lnTo>
                  <a:lnTo>
                    <a:pt x="4458" y="19786"/>
                  </a:lnTo>
                  <a:lnTo>
                    <a:pt x="4485" y="19890"/>
                  </a:lnTo>
                  <a:lnTo>
                    <a:pt x="4550" y="19933"/>
                  </a:lnTo>
                  <a:lnTo>
                    <a:pt x="4622" y="19890"/>
                  </a:lnTo>
                  <a:lnTo>
                    <a:pt x="4641" y="19890"/>
                  </a:lnTo>
                  <a:lnTo>
                    <a:pt x="4641" y="19724"/>
                  </a:lnTo>
                  <a:lnTo>
                    <a:pt x="4713" y="19724"/>
                  </a:lnTo>
                  <a:lnTo>
                    <a:pt x="4823" y="19828"/>
                  </a:lnTo>
                  <a:lnTo>
                    <a:pt x="4847" y="19933"/>
                  </a:lnTo>
                  <a:lnTo>
                    <a:pt x="4914" y="19933"/>
                  </a:lnTo>
                  <a:lnTo>
                    <a:pt x="5029" y="19890"/>
                  </a:lnTo>
                  <a:lnTo>
                    <a:pt x="5094" y="19681"/>
                  </a:lnTo>
                  <a:lnTo>
                    <a:pt x="5212" y="19786"/>
                  </a:lnTo>
                  <a:lnTo>
                    <a:pt x="5276" y="19681"/>
                  </a:lnTo>
                  <a:lnTo>
                    <a:pt x="5276" y="19724"/>
                  </a:lnTo>
                  <a:lnTo>
                    <a:pt x="5257" y="19828"/>
                  </a:lnTo>
                  <a:lnTo>
                    <a:pt x="5276" y="19933"/>
                  </a:lnTo>
                  <a:lnTo>
                    <a:pt x="5303" y="19994"/>
                  </a:lnTo>
                  <a:lnTo>
                    <a:pt x="5349" y="19933"/>
                  </a:lnTo>
                  <a:lnTo>
                    <a:pt x="5367" y="19890"/>
                  </a:lnTo>
                  <a:lnTo>
                    <a:pt x="5367" y="19828"/>
                  </a:lnTo>
                  <a:lnTo>
                    <a:pt x="5367" y="19681"/>
                  </a:lnTo>
                  <a:lnTo>
                    <a:pt x="5394" y="19681"/>
                  </a:lnTo>
                  <a:lnTo>
                    <a:pt x="5413" y="19724"/>
                  </a:lnTo>
                  <a:lnTo>
                    <a:pt x="5483" y="19724"/>
                  </a:lnTo>
                  <a:lnTo>
                    <a:pt x="5555" y="19681"/>
                  </a:lnTo>
                  <a:lnTo>
                    <a:pt x="5646" y="19724"/>
                  </a:lnTo>
                  <a:lnTo>
                    <a:pt x="5737" y="19724"/>
                  </a:lnTo>
                  <a:lnTo>
                    <a:pt x="5828" y="19577"/>
                  </a:lnTo>
                  <a:lnTo>
                    <a:pt x="5893" y="19577"/>
                  </a:lnTo>
                  <a:lnTo>
                    <a:pt x="5938" y="19577"/>
                  </a:lnTo>
                  <a:lnTo>
                    <a:pt x="5984" y="19516"/>
                  </a:lnTo>
                  <a:lnTo>
                    <a:pt x="6008" y="19577"/>
                  </a:lnTo>
                  <a:lnTo>
                    <a:pt x="6072" y="19473"/>
                  </a:lnTo>
                  <a:lnTo>
                    <a:pt x="6145" y="19516"/>
                  </a:lnTo>
                  <a:lnTo>
                    <a:pt x="6255" y="19577"/>
                  </a:lnTo>
                  <a:lnTo>
                    <a:pt x="6300" y="19577"/>
                  </a:lnTo>
                  <a:lnTo>
                    <a:pt x="6282" y="19412"/>
                  </a:lnTo>
                  <a:lnTo>
                    <a:pt x="6255" y="19265"/>
                  </a:lnTo>
                  <a:lnTo>
                    <a:pt x="6255" y="19204"/>
                  </a:lnTo>
                  <a:lnTo>
                    <a:pt x="6236" y="19057"/>
                  </a:lnTo>
                  <a:lnTo>
                    <a:pt x="6190" y="18793"/>
                  </a:lnTo>
                  <a:lnTo>
                    <a:pt x="6236" y="18793"/>
                  </a:lnTo>
                  <a:lnTo>
                    <a:pt x="6236" y="18689"/>
                  </a:lnTo>
                  <a:lnTo>
                    <a:pt x="6255" y="18793"/>
                  </a:lnTo>
                  <a:lnTo>
                    <a:pt x="6327" y="18953"/>
                  </a:lnTo>
                  <a:lnTo>
                    <a:pt x="6483" y="19002"/>
                  </a:lnTo>
                  <a:lnTo>
                    <a:pt x="6528" y="18897"/>
                  </a:lnTo>
                  <a:lnTo>
                    <a:pt x="6643" y="18750"/>
                  </a:lnTo>
                  <a:lnTo>
                    <a:pt x="6643" y="19002"/>
                  </a:lnTo>
                  <a:lnTo>
                    <a:pt x="6735" y="19106"/>
                  </a:lnTo>
                  <a:lnTo>
                    <a:pt x="6689" y="18848"/>
                  </a:lnTo>
                  <a:lnTo>
                    <a:pt x="6735" y="18793"/>
                  </a:lnTo>
                  <a:lnTo>
                    <a:pt x="6761" y="18848"/>
                  </a:lnTo>
                  <a:lnTo>
                    <a:pt x="6761" y="18750"/>
                  </a:lnTo>
                  <a:lnTo>
                    <a:pt x="6761" y="18542"/>
                  </a:lnTo>
                  <a:lnTo>
                    <a:pt x="6871" y="18438"/>
                  </a:lnTo>
                  <a:lnTo>
                    <a:pt x="6761" y="18334"/>
                  </a:lnTo>
                  <a:lnTo>
                    <a:pt x="6670" y="18064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5" name="Freeform 11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30" y="1939"/>
              <a:ext cx="241" cy="149"/>
            </a:xfrm>
            <a:custGeom>
              <a:avLst/>
              <a:gdLst>
                <a:gd name="T0" fmla="*/ 38 w 20000"/>
                <a:gd name="T1" fmla="*/ 41 h 20000"/>
                <a:gd name="T2" fmla="*/ 58 w 20000"/>
                <a:gd name="T3" fmla="*/ 20 h 20000"/>
                <a:gd name="T4" fmla="*/ 65 w 20000"/>
                <a:gd name="T5" fmla="*/ 23 h 20000"/>
                <a:gd name="T6" fmla="*/ 72 w 20000"/>
                <a:gd name="T7" fmla="*/ 27 h 20000"/>
                <a:gd name="T8" fmla="*/ 65 w 20000"/>
                <a:gd name="T9" fmla="*/ 27 h 20000"/>
                <a:gd name="T10" fmla="*/ 95 w 20000"/>
                <a:gd name="T11" fmla="*/ 37 h 20000"/>
                <a:gd name="T12" fmla="*/ 85 w 20000"/>
                <a:gd name="T13" fmla="*/ 47 h 20000"/>
                <a:gd name="T14" fmla="*/ 85 w 20000"/>
                <a:gd name="T15" fmla="*/ 54 h 20000"/>
                <a:gd name="T16" fmla="*/ 95 w 20000"/>
                <a:gd name="T17" fmla="*/ 71 h 20000"/>
                <a:gd name="T18" fmla="*/ 122 w 20000"/>
                <a:gd name="T19" fmla="*/ 64 h 20000"/>
                <a:gd name="T20" fmla="*/ 142 w 20000"/>
                <a:gd name="T21" fmla="*/ 57 h 20000"/>
                <a:gd name="T22" fmla="*/ 146 w 20000"/>
                <a:gd name="T23" fmla="*/ 54 h 20000"/>
                <a:gd name="T24" fmla="*/ 112 w 20000"/>
                <a:gd name="T25" fmla="*/ 37 h 20000"/>
                <a:gd name="T26" fmla="*/ 135 w 20000"/>
                <a:gd name="T27" fmla="*/ 41 h 20000"/>
                <a:gd name="T28" fmla="*/ 169 w 20000"/>
                <a:gd name="T29" fmla="*/ 10 h 20000"/>
                <a:gd name="T30" fmla="*/ 193 w 20000"/>
                <a:gd name="T31" fmla="*/ 7 h 20000"/>
                <a:gd name="T32" fmla="*/ 179 w 20000"/>
                <a:gd name="T33" fmla="*/ 20 h 20000"/>
                <a:gd name="T34" fmla="*/ 155 w 20000"/>
                <a:gd name="T35" fmla="*/ 57 h 20000"/>
                <a:gd name="T36" fmla="*/ 193 w 20000"/>
                <a:gd name="T37" fmla="*/ 81 h 20000"/>
                <a:gd name="T38" fmla="*/ 231 w 20000"/>
                <a:gd name="T39" fmla="*/ 104 h 20000"/>
                <a:gd name="T40" fmla="*/ 241 w 20000"/>
                <a:gd name="T41" fmla="*/ 135 h 20000"/>
                <a:gd name="T42" fmla="*/ 211 w 20000"/>
                <a:gd name="T43" fmla="*/ 149 h 20000"/>
                <a:gd name="T44" fmla="*/ 183 w 20000"/>
                <a:gd name="T45" fmla="*/ 149 h 20000"/>
                <a:gd name="T46" fmla="*/ 173 w 20000"/>
                <a:gd name="T47" fmla="*/ 149 h 20000"/>
                <a:gd name="T48" fmla="*/ 155 w 20000"/>
                <a:gd name="T49" fmla="*/ 138 h 20000"/>
                <a:gd name="T50" fmla="*/ 146 w 20000"/>
                <a:gd name="T51" fmla="*/ 135 h 20000"/>
                <a:gd name="T52" fmla="*/ 128 w 20000"/>
                <a:gd name="T53" fmla="*/ 128 h 20000"/>
                <a:gd name="T54" fmla="*/ 126 w 20000"/>
                <a:gd name="T55" fmla="*/ 124 h 20000"/>
                <a:gd name="T56" fmla="*/ 102 w 20000"/>
                <a:gd name="T57" fmla="*/ 128 h 20000"/>
                <a:gd name="T58" fmla="*/ 78 w 20000"/>
                <a:gd name="T59" fmla="*/ 138 h 20000"/>
                <a:gd name="T60" fmla="*/ 65 w 20000"/>
                <a:gd name="T61" fmla="*/ 149 h 20000"/>
                <a:gd name="T62" fmla="*/ 47 w 20000"/>
                <a:gd name="T63" fmla="*/ 145 h 20000"/>
                <a:gd name="T64" fmla="*/ 27 w 20000"/>
                <a:gd name="T65" fmla="*/ 145 h 20000"/>
                <a:gd name="T66" fmla="*/ 10 w 20000"/>
                <a:gd name="T67" fmla="*/ 128 h 20000"/>
                <a:gd name="T68" fmla="*/ 7 w 20000"/>
                <a:gd name="T69" fmla="*/ 115 h 20000"/>
                <a:gd name="T70" fmla="*/ 10 w 20000"/>
                <a:gd name="T71" fmla="*/ 97 h 20000"/>
                <a:gd name="T72" fmla="*/ 14 w 20000"/>
                <a:gd name="T73" fmla="*/ 88 h 20000"/>
                <a:gd name="T74" fmla="*/ 16 w 20000"/>
                <a:gd name="T75" fmla="*/ 71 h 20000"/>
                <a:gd name="T76" fmla="*/ 16 w 20000"/>
                <a:gd name="T77" fmla="*/ 61 h 20000"/>
                <a:gd name="T78" fmla="*/ 20 w 20000"/>
                <a:gd name="T79" fmla="*/ 67 h 20000"/>
                <a:gd name="T80" fmla="*/ 31 w 20000"/>
                <a:gd name="T81" fmla="*/ 50 h 2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00" h="20000">
                  <a:moveTo>
                    <a:pt x="2554" y="6738"/>
                  </a:moveTo>
                  <a:lnTo>
                    <a:pt x="3118" y="5455"/>
                  </a:lnTo>
                  <a:lnTo>
                    <a:pt x="3914" y="3102"/>
                  </a:lnTo>
                  <a:lnTo>
                    <a:pt x="4809" y="2727"/>
                  </a:lnTo>
                  <a:lnTo>
                    <a:pt x="5041" y="2727"/>
                  </a:lnTo>
                  <a:lnTo>
                    <a:pt x="5373" y="3102"/>
                  </a:lnTo>
                  <a:lnTo>
                    <a:pt x="5373" y="2193"/>
                  </a:lnTo>
                  <a:lnTo>
                    <a:pt x="5937" y="3636"/>
                  </a:lnTo>
                  <a:lnTo>
                    <a:pt x="5605" y="3636"/>
                  </a:lnTo>
                  <a:lnTo>
                    <a:pt x="5373" y="3636"/>
                  </a:lnTo>
                  <a:lnTo>
                    <a:pt x="5605" y="4545"/>
                  </a:lnTo>
                  <a:lnTo>
                    <a:pt x="7861" y="4920"/>
                  </a:lnTo>
                  <a:lnTo>
                    <a:pt x="8159" y="5455"/>
                  </a:lnTo>
                  <a:lnTo>
                    <a:pt x="7065" y="6364"/>
                  </a:lnTo>
                  <a:lnTo>
                    <a:pt x="6501" y="6738"/>
                  </a:lnTo>
                  <a:lnTo>
                    <a:pt x="7065" y="7219"/>
                  </a:lnTo>
                  <a:lnTo>
                    <a:pt x="8159" y="8128"/>
                  </a:lnTo>
                  <a:lnTo>
                    <a:pt x="7861" y="9465"/>
                  </a:lnTo>
                  <a:lnTo>
                    <a:pt x="8723" y="9947"/>
                  </a:lnTo>
                  <a:lnTo>
                    <a:pt x="10083" y="8556"/>
                  </a:lnTo>
                  <a:lnTo>
                    <a:pt x="10978" y="7647"/>
                  </a:lnTo>
                  <a:lnTo>
                    <a:pt x="11774" y="7647"/>
                  </a:lnTo>
                  <a:lnTo>
                    <a:pt x="12338" y="7647"/>
                  </a:lnTo>
                  <a:lnTo>
                    <a:pt x="12106" y="7219"/>
                  </a:lnTo>
                  <a:lnTo>
                    <a:pt x="9552" y="6364"/>
                  </a:lnTo>
                  <a:lnTo>
                    <a:pt x="9287" y="4920"/>
                  </a:lnTo>
                  <a:lnTo>
                    <a:pt x="10647" y="3636"/>
                  </a:lnTo>
                  <a:lnTo>
                    <a:pt x="11211" y="5455"/>
                  </a:lnTo>
                  <a:lnTo>
                    <a:pt x="10978" y="3102"/>
                  </a:lnTo>
                  <a:lnTo>
                    <a:pt x="14030" y="1283"/>
                  </a:lnTo>
                  <a:lnTo>
                    <a:pt x="15456" y="0"/>
                  </a:lnTo>
                  <a:lnTo>
                    <a:pt x="16020" y="909"/>
                  </a:lnTo>
                  <a:lnTo>
                    <a:pt x="15721" y="2727"/>
                  </a:lnTo>
                  <a:lnTo>
                    <a:pt x="14892" y="2727"/>
                  </a:lnTo>
                  <a:lnTo>
                    <a:pt x="12902" y="6738"/>
                  </a:lnTo>
                  <a:lnTo>
                    <a:pt x="12902" y="7647"/>
                  </a:lnTo>
                  <a:lnTo>
                    <a:pt x="14892" y="9465"/>
                  </a:lnTo>
                  <a:lnTo>
                    <a:pt x="16020" y="10856"/>
                  </a:lnTo>
                  <a:lnTo>
                    <a:pt x="17479" y="12674"/>
                  </a:lnTo>
                  <a:lnTo>
                    <a:pt x="19138" y="13957"/>
                  </a:lnTo>
                  <a:lnTo>
                    <a:pt x="19967" y="16310"/>
                  </a:lnTo>
                  <a:lnTo>
                    <a:pt x="19967" y="18128"/>
                  </a:lnTo>
                  <a:lnTo>
                    <a:pt x="18839" y="19412"/>
                  </a:lnTo>
                  <a:lnTo>
                    <a:pt x="17479" y="19947"/>
                  </a:lnTo>
                  <a:lnTo>
                    <a:pt x="16915" y="19412"/>
                  </a:lnTo>
                  <a:lnTo>
                    <a:pt x="15158" y="19947"/>
                  </a:lnTo>
                  <a:lnTo>
                    <a:pt x="14594" y="19412"/>
                  </a:lnTo>
                  <a:lnTo>
                    <a:pt x="14328" y="19947"/>
                  </a:lnTo>
                  <a:lnTo>
                    <a:pt x="13234" y="19037"/>
                  </a:lnTo>
                  <a:lnTo>
                    <a:pt x="12902" y="18503"/>
                  </a:lnTo>
                  <a:lnTo>
                    <a:pt x="12902" y="19037"/>
                  </a:lnTo>
                  <a:lnTo>
                    <a:pt x="12106" y="18128"/>
                  </a:lnTo>
                  <a:lnTo>
                    <a:pt x="11542" y="18128"/>
                  </a:lnTo>
                  <a:lnTo>
                    <a:pt x="10647" y="17219"/>
                  </a:lnTo>
                  <a:lnTo>
                    <a:pt x="10647" y="16684"/>
                  </a:lnTo>
                  <a:lnTo>
                    <a:pt x="10415" y="16684"/>
                  </a:lnTo>
                  <a:lnTo>
                    <a:pt x="10415" y="17219"/>
                  </a:lnTo>
                  <a:lnTo>
                    <a:pt x="8425" y="17219"/>
                  </a:lnTo>
                  <a:lnTo>
                    <a:pt x="7297" y="17594"/>
                  </a:lnTo>
                  <a:lnTo>
                    <a:pt x="6501" y="18503"/>
                  </a:lnTo>
                  <a:lnTo>
                    <a:pt x="5605" y="19037"/>
                  </a:lnTo>
                  <a:lnTo>
                    <a:pt x="5373" y="19947"/>
                  </a:lnTo>
                  <a:lnTo>
                    <a:pt x="4478" y="19947"/>
                  </a:lnTo>
                  <a:lnTo>
                    <a:pt x="3914" y="19412"/>
                  </a:lnTo>
                  <a:lnTo>
                    <a:pt x="3682" y="19412"/>
                  </a:lnTo>
                  <a:lnTo>
                    <a:pt x="2255" y="19412"/>
                  </a:lnTo>
                  <a:lnTo>
                    <a:pt x="564" y="18128"/>
                  </a:lnTo>
                  <a:lnTo>
                    <a:pt x="796" y="17219"/>
                  </a:lnTo>
                  <a:lnTo>
                    <a:pt x="0" y="15775"/>
                  </a:lnTo>
                  <a:lnTo>
                    <a:pt x="564" y="15401"/>
                  </a:lnTo>
                  <a:lnTo>
                    <a:pt x="232" y="13957"/>
                  </a:lnTo>
                  <a:lnTo>
                    <a:pt x="796" y="13048"/>
                  </a:lnTo>
                  <a:lnTo>
                    <a:pt x="1128" y="13048"/>
                  </a:lnTo>
                  <a:lnTo>
                    <a:pt x="1128" y="11765"/>
                  </a:lnTo>
                  <a:lnTo>
                    <a:pt x="1360" y="9947"/>
                  </a:lnTo>
                  <a:lnTo>
                    <a:pt x="1360" y="9465"/>
                  </a:lnTo>
                  <a:lnTo>
                    <a:pt x="1360" y="9037"/>
                  </a:lnTo>
                  <a:lnTo>
                    <a:pt x="1360" y="8128"/>
                  </a:lnTo>
                  <a:lnTo>
                    <a:pt x="1692" y="8128"/>
                  </a:lnTo>
                  <a:lnTo>
                    <a:pt x="1692" y="9037"/>
                  </a:lnTo>
                  <a:lnTo>
                    <a:pt x="2554" y="8556"/>
                  </a:lnTo>
                  <a:lnTo>
                    <a:pt x="2554" y="6738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6" name="Freeform 11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41" y="1767"/>
              <a:ext cx="11" cy="6"/>
            </a:xfrm>
            <a:custGeom>
              <a:avLst/>
              <a:gdLst>
                <a:gd name="T0" fmla="*/ 7 w 20000"/>
                <a:gd name="T1" fmla="*/ 7 h 20000"/>
                <a:gd name="T2" fmla="*/ 11 w 20000"/>
                <a:gd name="T3" fmla="*/ 7 h 20000"/>
                <a:gd name="T4" fmla="*/ 11 w 20000"/>
                <a:gd name="T5" fmla="*/ 4 h 20000"/>
                <a:gd name="T6" fmla="*/ 7 w 20000"/>
                <a:gd name="T7" fmla="*/ 4 h 20000"/>
                <a:gd name="T8" fmla="*/ 3 w 20000"/>
                <a:gd name="T9" fmla="*/ 0 h 20000"/>
                <a:gd name="T10" fmla="*/ 0 w 20000"/>
                <a:gd name="T11" fmla="*/ 7 h 20000"/>
                <a:gd name="T12" fmla="*/ 7 w 20000"/>
                <a:gd name="T13" fmla="*/ 7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13077" y="18889"/>
                  </a:moveTo>
                  <a:lnTo>
                    <a:pt x="19231" y="18889"/>
                  </a:lnTo>
                  <a:lnTo>
                    <a:pt x="19231" y="11111"/>
                  </a:lnTo>
                  <a:lnTo>
                    <a:pt x="13077" y="11111"/>
                  </a:lnTo>
                  <a:lnTo>
                    <a:pt x="5385" y="0"/>
                  </a:lnTo>
                  <a:lnTo>
                    <a:pt x="0" y="18889"/>
                  </a:lnTo>
                  <a:lnTo>
                    <a:pt x="13077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7" name="Freeform 12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21" y="1752"/>
              <a:ext cx="14" cy="11"/>
            </a:xfrm>
            <a:custGeom>
              <a:avLst/>
              <a:gdLst>
                <a:gd name="T0" fmla="*/ 14 w 20000"/>
                <a:gd name="T1" fmla="*/ 11 h 20000"/>
                <a:gd name="T2" fmla="*/ 10 w 20000"/>
                <a:gd name="T3" fmla="*/ 0 h 20000"/>
                <a:gd name="T4" fmla="*/ 10 w 20000"/>
                <a:gd name="T5" fmla="*/ 0 h 20000"/>
                <a:gd name="T6" fmla="*/ 0 w 20000"/>
                <a:gd name="T7" fmla="*/ 4 h 20000"/>
                <a:gd name="T8" fmla="*/ 3 w 20000"/>
                <a:gd name="T9" fmla="*/ 7 h 20000"/>
                <a:gd name="T10" fmla="*/ 7 w 20000"/>
                <a:gd name="T11" fmla="*/ 11 h 20000"/>
                <a:gd name="T12" fmla="*/ 14 w 20000"/>
                <a:gd name="T13" fmla="*/ 11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19429" y="19286"/>
                  </a:moveTo>
                  <a:lnTo>
                    <a:pt x="13714" y="0"/>
                  </a:lnTo>
                  <a:lnTo>
                    <a:pt x="0" y="7143"/>
                  </a:lnTo>
                  <a:lnTo>
                    <a:pt x="4000" y="12143"/>
                  </a:lnTo>
                  <a:lnTo>
                    <a:pt x="9714" y="19286"/>
                  </a:lnTo>
                  <a:lnTo>
                    <a:pt x="19429" y="1928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8" name="Freeform 12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41" y="1738"/>
              <a:ext cx="24" cy="29"/>
            </a:xfrm>
            <a:custGeom>
              <a:avLst/>
              <a:gdLst>
                <a:gd name="T0" fmla="*/ 17 w 20000"/>
                <a:gd name="T1" fmla="*/ 28 h 20000"/>
                <a:gd name="T2" fmla="*/ 17 w 20000"/>
                <a:gd name="T3" fmla="*/ 21 h 20000"/>
                <a:gd name="T4" fmla="*/ 20 w 20000"/>
                <a:gd name="T5" fmla="*/ 17 h 20000"/>
                <a:gd name="T6" fmla="*/ 17 w 20000"/>
                <a:gd name="T7" fmla="*/ 14 h 20000"/>
                <a:gd name="T8" fmla="*/ 24 w 20000"/>
                <a:gd name="T9" fmla="*/ 11 h 20000"/>
                <a:gd name="T10" fmla="*/ 20 w 20000"/>
                <a:gd name="T11" fmla="*/ 0 h 20000"/>
                <a:gd name="T12" fmla="*/ 17 w 20000"/>
                <a:gd name="T13" fmla="*/ 0 h 20000"/>
                <a:gd name="T14" fmla="*/ 14 w 20000"/>
                <a:gd name="T15" fmla="*/ 4 h 20000"/>
                <a:gd name="T16" fmla="*/ 14 w 20000"/>
                <a:gd name="T17" fmla="*/ 4 h 20000"/>
                <a:gd name="T18" fmla="*/ 10 w 20000"/>
                <a:gd name="T19" fmla="*/ 7 h 20000"/>
                <a:gd name="T20" fmla="*/ 7 w 20000"/>
                <a:gd name="T21" fmla="*/ 4 h 20000"/>
                <a:gd name="T22" fmla="*/ 3 w 20000"/>
                <a:gd name="T23" fmla="*/ 7 h 20000"/>
                <a:gd name="T24" fmla="*/ 0 w 20000"/>
                <a:gd name="T25" fmla="*/ 7 h 20000"/>
                <a:gd name="T26" fmla="*/ 10 w 20000"/>
                <a:gd name="T27" fmla="*/ 21 h 20000"/>
                <a:gd name="T28" fmla="*/ 14 w 20000"/>
                <a:gd name="T29" fmla="*/ 28 h 20000"/>
                <a:gd name="T30" fmla="*/ 17 w 20000"/>
                <a:gd name="T31" fmla="*/ 28 h 20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0000" h="20000">
                  <a:moveTo>
                    <a:pt x="13898" y="19710"/>
                  </a:moveTo>
                  <a:lnTo>
                    <a:pt x="13898" y="14783"/>
                  </a:lnTo>
                  <a:lnTo>
                    <a:pt x="16949" y="12464"/>
                  </a:lnTo>
                  <a:lnTo>
                    <a:pt x="13898" y="9855"/>
                  </a:lnTo>
                  <a:lnTo>
                    <a:pt x="19661" y="7826"/>
                  </a:lnTo>
                  <a:lnTo>
                    <a:pt x="16949" y="0"/>
                  </a:lnTo>
                  <a:lnTo>
                    <a:pt x="13898" y="0"/>
                  </a:lnTo>
                  <a:lnTo>
                    <a:pt x="11525" y="2899"/>
                  </a:lnTo>
                  <a:lnTo>
                    <a:pt x="8136" y="4928"/>
                  </a:lnTo>
                  <a:lnTo>
                    <a:pt x="5763" y="2899"/>
                  </a:lnTo>
                  <a:lnTo>
                    <a:pt x="2373" y="4928"/>
                  </a:lnTo>
                  <a:lnTo>
                    <a:pt x="0" y="4928"/>
                  </a:lnTo>
                  <a:lnTo>
                    <a:pt x="8136" y="14783"/>
                  </a:lnTo>
                  <a:lnTo>
                    <a:pt x="11525" y="19710"/>
                  </a:lnTo>
                  <a:lnTo>
                    <a:pt x="13898" y="1971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19" name="Freeform 12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942" y="1695"/>
              <a:ext cx="7" cy="4"/>
            </a:xfrm>
            <a:custGeom>
              <a:avLst/>
              <a:gdLst>
                <a:gd name="T0" fmla="*/ 8 w 20000"/>
                <a:gd name="T1" fmla="*/ 4 h 20000"/>
                <a:gd name="T2" fmla="*/ 8 w 20000"/>
                <a:gd name="T3" fmla="*/ 0 h 20000"/>
                <a:gd name="T4" fmla="*/ 0 w 20000"/>
                <a:gd name="T5" fmla="*/ 0 h 20000"/>
                <a:gd name="T6" fmla="*/ 8 w 20000"/>
                <a:gd name="T7" fmla="*/ 4 h 200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000" h="20000">
                  <a:moveTo>
                    <a:pt x="18889" y="17778"/>
                  </a:moveTo>
                  <a:lnTo>
                    <a:pt x="18889" y="0"/>
                  </a:lnTo>
                  <a:lnTo>
                    <a:pt x="0" y="0"/>
                  </a:lnTo>
                  <a:lnTo>
                    <a:pt x="18889" y="17778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0" name="Freeform 12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952" y="1566"/>
              <a:ext cx="12" cy="12"/>
            </a:xfrm>
            <a:custGeom>
              <a:avLst/>
              <a:gdLst>
                <a:gd name="T0" fmla="*/ 7 w 20000"/>
                <a:gd name="T1" fmla="*/ 12 h 20000"/>
                <a:gd name="T2" fmla="*/ 12 w 20000"/>
                <a:gd name="T3" fmla="*/ 7 h 20000"/>
                <a:gd name="T4" fmla="*/ 4 w 20000"/>
                <a:gd name="T5" fmla="*/ 0 h 20000"/>
                <a:gd name="T6" fmla="*/ 0 w 20000"/>
                <a:gd name="T7" fmla="*/ 4 h 20000"/>
                <a:gd name="T8" fmla="*/ 7 w 20000"/>
                <a:gd name="T9" fmla="*/ 12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2143" y="19286"/>
                  </a:moveTo>
                  <a:lnTo>
                    <a:pt x="19286" y="12143"/>
                  </a:lnTo>
                  <a:lnTo>
                    <a:pt x="7143" y="0"/>
                  </a:lnTo>
                  <a:lnTo>
                    <a:pt x="0" y="7143"/>
                  </a:lnTo>
                  <a:lnTo>
                    <a:pt x="12143" y="1928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1" name="Freeform 12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946" y="1702"/>
              <a:ext cx="4" cy="7"/>
            </a:xfrm>
            <a:custGeom>
              <a:avLst/>
              <a:gdLst>
                <a:gd name="T0" fmla="*/ 4 w 20000"/>
                <a:gd name="T1" fmla="*/ 7 h 20000"/>
                <a:gd name="T2" fmla="*/ 4 w 20000"/>
                <a:gd name="T3" fmla="*/ 3 h 20000"/>
                <a:gd name="T4" fmla="*/ 0 w 20000"/>
                <a:gd name="T5" fmla="*/ 0 h 20000"/>
                <a:gd name="T6" fmla="*/ 0 w 20000"/>
                <a:gd name="T7" fmla="*/ 7 h 20000"/>
                <a:gd name="T8" fmla="*/ 4 w 20000"/>
                <a:gd name="T9" fmla="*/ 7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8182" y="18889"/>
                  </a:moveTo>
                  <a:lnTo>
                    <a:pt x="18182" y="7778"/>
                  </a:lnTo>
                  <a:lnTo>
                    <a:pt x="0" y="0"/>
                  </a:lnTo>
                  <a:lnTo>
                    <a:pt x="0" y="18889"/>
                  </a:lnTo>
                  <a:lnTo>
                    <a:pt x="18182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2" name="Freeform 12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010" y="1654"/>
              <a:ext cx="11" cy="8"/>
            </a:xfrm>
            <a:custGeom>
              <a:avLst/>
              <a:gdLst>
                <a:gd name="T0" fmla="*/ 11 w 20000"/>
                <a:gd name="T1" fmla="*/ 8 h 20000"/>
                <a:gd name="T2" fmla="*/ 11 w 20000"/>
                <a:gd name="T3" fmla="*/ 3 h 20000"/>
                <a:gd name="T4" fmla="*/ 3 w 20000"/>
                <a:gd name="T5" fmla="*/ 3 h 20000"/>
                <a:gd name="T6" fmla="*/ 3 w 20000"/>
                <a:gd name="T7" fmla="*/ 3 h 20000"/>
                <a:gd name="T8" fmla="*/ 0 w 20000"/>
                <a:gd name="T9" fmla="*/ 0 h 20000"/>
                <a:gd name="T10" fmla="*/ 0 w 20000"/>
                <a:gd name="T11" fmla="*/ 8 h 20000"/>
                <a:gd name="T12" fmla="*/ 11 w 20000"/>
                <a:gd name="T13" fmla="*/ 8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19231" y="18889"/>
                  </a:moveTo>
                  <a:lnTo>
                    <a:pt x="19231" y="7778"/>
                  </a:lnTo>
                  <a:lnTo>
                    <a:pt x="5385" y="7778"/>
                  </a:lnTo>
                  <a:lnTo>
                    <a:pt x="0" y="0"/>
                  </a:lnTo>
                  <a:lnTo>
                    <a:pt x="0" y="18889"/>
                  </a:lnTo>
                  <a:lnTo>
                    <a:pt x="19231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3" name="Freeform 12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037" y="1614"/>
              <a:ext cx="11" cy="20"/>
            </a:xfrm>
            <a:custGeom>
              <a:avLst/>
              <a:gdLst>
                <a:gd name="T0" fmla="*/ 3 w 20000"/>
                <a:gd name="T1" fmla="*/ 14 h 20000"/>
                <a:gd name="T2" fmla="*/ 0 w 20000"/>
                <a:gd name="T3" fmla="*/ 11 h 20000"/>
                <a:gd name="T4" fmla="*/ 3 w 20000"/>
                <a:gd name="T5" fmla="*/ 11 h 20000"/>
                <a:gd name="T6" fmla="*/ 0 w 20000"/>
                <a:gd name="T7" fmla="*/ 4 h 20000"/>
                <a:gd name="T8" fmla="*/ 7 w 20000"/>
                <a:gd name="T9" fmla="*/ 0 h 20000"/>
                <a:gd name="T10" fmla="*/ 7 w 20000"/>
                <a:gd name="T11" fmla="*/ 7 h 20000"/>
                <a:gd name="T12" fmla="*/ 11 w 20000"/>
                <a:gd name="T13" fmla="*/ 14 h 20000"/>
                <a:gd name="T14" fmla="*/ 3 w 20000"/>
                <a:gd name="T15" fmla="*/ 21 h 20000"/>
                <a:gd name="T16" fmla="*/ 3 w 20000"/>
                <a:gd name="T17" fmla="*/ 14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000" h="20000">
                  <a:moveTo>
                    <a:pt x="5000" y="13077"/>
                  </a:moveTo>
                  <a:lnTo>
                    <a:pt x="0" y="10385"/>
                  </a:lnTo>
                  <a:lnTo>
                    <a:pt x="5000" y="10385"/>
                  </a:lnTo>
                  <a:lnTo>
                    <a:pt x="0" y="3846"/>
                  </a:lnTo>
                  <a:lnTo>
                    <a:pt x="12143" y="0"/>
                  </a:lnTo>
                  <a:lnTo>
                    <a:pt x="12143" y="6538"/>
                  </a:lnTo>
                  <a:lnTo>
                    <a:pt x="19286" y="13077"/>
                  </a:lnTo>
                  <a:lnTo>
                    <a:pt x="5000" y="19615"/>
                  </a:lnTo>
                  <a:lnTo>
                    <a:pt x="5000" y="1307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4" name="Freeform 12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952" y="1675"/>
              <a:ext cx="12" cy="17"/>
            </a:xfrm>
            <a:custGeom>
              <a:avLst/>
              <a:gdLst>
                <a:gd name="T0" fmla="*/ 0 w 20000"/>
                <a:gd name="T1" fmla="*/ 17 h 20000"/>
                <a:gd name="T2" fmla="*/ 7 w 20000"/>
                <a:gd name="T3" fmla="*/ 13 h 20000"/>
                <a:gd name="T4" fmla="*/ 12 w 20000"/>
                <a:gd name="T5" fmla="*/ 9 h 20000"/>
                <a:gd name="T6" fmla="*/ 12 w 20000"/>
                <a:gd name="T7" fmla="*/ 9 h 20000"/>
                <a:gd name="T8" fmla="*/ 7 w 20000"/>
                <a:gd name="T9" fmla="*/ 9 h 20000"/>
                <a:gd name="T10" fmla="*/ 12 w 20000"/>
                <a:gd name="T11" fmla="*/ 3 h 20000"/>
                <a:gd name="T12" fmla="*/ 12 w 20000"/>
                <a:gd name="T13" fmla="*/ 0 h 20000"/>
                <a:gd name="T14" fmla="*/ 4 w 20000"/>
                <a:gd name="T15" fmla="*/ 3 h 20000"/>
                <a:gd name="T16" fmla="*/ 4 w 20000"/>
                <a:gd name="T17" fmla="*/ 7 h 20000"/>
                <a:gd name="T18" fmla="*/ 0 w 20000"/>
                <a:gd name="T19" fmla="*/ 7 h 20000"/>
                <a:gd name="T20" fmla="*/ 0 w 20000"/>
                <a:gd name="T21" fmla="*/ 9 h 20000"/>
                <a:gd name="T22" fmla="*/ 0 w 20000"/>
                <a:gd name="T23" fmla="*/ 13 h 20000"/>
                <a:gd name="T24" fmla="*/ 0 w 20000"/>
                <a:gd name="T25" fmla="*/ 17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000" h="20000">
                  <a:moveTo>
                    <a:pt x="0" y="19535"/>
                  </a:moveTo>
                  <a:lnTo>
                    <a:pt x="12143" y="15814"/>
                  </a:lnTo>
                  <a:lnTo>
                    <a:pt x="19286" y="11163"/>
                  </a:lnTo>
                  <a:lnTo>
                    <a:pt x="12143" y="11163"/>
                  </a:lnTo>
                  <a:lnTo>
                    <a:pt x="19286" y="3256"/>
                  </a:lnTo>
                  <a:lnTo>
                    <a:pt x="19286" y="0"/>
                  </a:lnTo>
                  <a:lnTo>
                    <a:pt x="7143" y="3256"/>
                  </a:lnTo>
                  <a:lnTo>
                    <a:pt x="7143" y="7907"/>
                  </a:lnTo>
                  <a:lnTo>
                    <a:pt x="0" y="7907"/>
                  </a:lnTo>
                  <a:lnTo>
                    <a:pt x="0" y="11163"/>
                  </a:lnTo>
                  <a:lnTo>
                    <a:pt x="0" y="15814"/>
                  </a:lnTo>
                  <a:lnTo>
                    <a:pt x="0" y="1953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5" name="Freeform 12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955" y="1695"/>
              <a:ext cx="18" cy="14"/>
            </a:xfrm>
            <a:custGeom>
              <a:avLst/>
              <a:gdLst>
                <a:gd name="T0" fmla="*/ 13 w 20000"/>
                <a:gd name="T1" fmla="*/ 14 h 20000"/>
                <a:gd name="T2" fmla="*/ 17 w 20000"/>
                <a:gd name="T3" fmla="*/ 10 h 20000"/>
                <a:gd name="T4" fmla="*/ 9 w 20000"/>
                <a:gd name="T5" fmla="*/ 10 h 20000"/>
                <a:gd name="T6" fmla="*/ 9 w 20000"/>
                <a:gd name="T7" fmla="*/ 0 h 20000"/>
                <a:gd name="T8" fmla="*/ 7 w 20000"/>
                <a:gd name="T9" fmla="*/ 0 h 20000"/>
                <a:gd name="T10" fmla="*/ 7 w 20000"/>
                <a:gd name="T11" fmla="*/ 0 h 20000"/>
                <a:gd name="T12" fmla="*/ 7 w 20000"/>
                <a:gd name="T13" fmla="*/ 3 h 20000"/>
                <a:gd name="T14" fmla="*/ 3 w 20000"/>
                <a:gd name="T15" fmla="*/ 0 h 20000"/>
                <a:gd name="T16" fmla="*/ 0 w 20000"/>
                <a:gd name="T17" fmla="*/ 7 h 20000"/>
                <a:gd name="T18" fmla="*/ 3 w 20000"/>
                <a:gd name="T19" fmla="*/ 7 h 20000"/>
                <a:gd name="T20" fmla="*/ 7 w 20000"/>
                <a:gd name="T21" fmla="*/ 14 h 20000"/>
                <a:gd name="T22" fmla="*/ 13 w 20000"/>
                <a:gd name="T23" fmla="*/ 14 h 20000"/>
                <a:gd name="T24" fmla="*/ 9 w 20000"/>
                <a:gd name="T25" fmla="*/ 14 h 20000"/>
                <a:gd name="T26" fmla="*/ 13 w 20000"/>
                <a:gd name="T27" fmla="*/ 14 h 200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0000" h="20000">
                  <a:moveTo>
                    <a:pt x="15814" y="19429"/>
                  </a:moveTo>
                  <a:lnTo>
                    <a:pt x="19535" y="13714"/>
                  </a:lnTo>
                  <a:lnTo>
                    <a:pt x="11163" y="13714"/>
                  </a:lnTo>
                  <a:lnTo>
                    <a:pt x="11163" y="0"/>
                  </a:lnTo>
                  <a:lnTo>
                    <a:pt x="7907" y="0"/>
                  </a:lnTo>
                  <a:lnTo>
                    <a:pt x="7907" y="4000"/>
                  </a:lnTo>
                  <a:lnTo>
                    <a:pt x="3256" y="0"/>
                  </a:lnTo>
                  <a:lnTo>
                    <a:pt x="0" y="9714"/>
                  </a:lnTo>
                  <a:lnTo>
                    <a:pt x="3256" y="9714"/>
                  </a:lnTo>
                  <a:lnTo>
                    <a:pt x="7907" y="19429"/>
                  </a:lnTo>
                  <a:lnTo>
                    <a:pt x="15814" y="19429"/>
                  </a:lnTo>
                  <a:lnTo>
                    <a:pt x="11163" y="19429"/>
                  </a:lnTo>
                  <a:lnTo>
                    <a:pt x="15814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6" name="Freeform 12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891" y="1756"/>
              <a:ext cx="86" cy="95"/>
            </a:xfrm>
            <a:custGeom>
              <a:avLst/>
              <a:gdLst>
                <a:gd name="T0" fmla="*/ 72 w 20000"/>
                <a:gd name="T1" fmla="*/ 3 h 20000"/>
                <a:gd name="T2" fmla="*/ 82 w 20000"/>
                <a:gd name="T3" fmla="*/ 14 h 20000"/>
                <a:gd name="T4" fmla="*/ 82 w 20000"/>
                <a:gd name="T5" fmla="*/ 16 h 20000"/>
                <a:gd name="T6" fmla="*/ 75 w 20000"/>
                <a:gd name="T7" fmla="*/ 34 h 20000"/>
                <a:gd name="T8" fmla="*/ 68 w 20000"/>
                <a:gd name="T9" fmla="*/ 34 h 20000"/>
                <a:gd name="T10" fmla="*/ 72 w 20000"/>
                <a:gd name="T11" fmla="*/ 50 h 20000"/>
                <a:gd name="T12" fmla="*/ 72 w 20000"/>
                <a:gd name="T13" fmla="*/ 54 h 20000"/>
                <a:gd name="T14" fmla="*/ 68 w 20000"/>
                <a:gd name="T15" fmla="*/ 67 h 20000"/>
                <a:gd name="T16" fmla="*/ 68 w 20000"/>
                <a:gd name="T17" fmla="*/ 81 h 20000"/>
                <a:gd name="T18" fmla="*/ 45 w 20000"/>
                <a:gd name="T19" fmla="*/ 84 h 20000"/>
                <a:gd name="T20" fmla="*/ 38 w 20000"/>
                <a:gd name="T21" fmla="*/ 88 h 20000"/>
                <a:gd name="T22" fmla="*/ 20 w 20000"/>
                <a:gd name="T23" fmla="*/ 95 h 20000"/>
                <a:gd name="T24" fmla="*/ 7 w 20000"/>
                <a:gd name="T25" fmla="*/ 95 h 20000"/>
                <a:gd name="T26" fmla="*/ 4 w 20000"/>
                <a:gd name="T27" fmla="*/ 88 h 20000"/>
                <a:gd name="T28" fmla="*/ 11 w 20000"/>
                <a:gd name="T29" fmla="*/ 81 h 20000"/>
                <a:gd name="T30" fmla="*/ 4 w 20000"/>
                <a:gd name="T31" fmla="*/ 77 h 20000"/>
                <a:gd name="T32" fmla="*/ 11 w 20000"/>
                <a:gd name="T33" fmla="*/ 74 h 20000"/>
                <a:gd name="T34" fmla="*/ 24 w 20000"/>
                <a:gd name="T35" fmla="*/ 67 h 20000"/>
                <a:gd name="T36" fmla="*/ 24 w 20000"/>
                <a:gd name="T37" fmla="*/ 63 h 20000"/>
                <a:gd name="T38" fmla="*/ 14 w 20000"/>
                <a:gd name="T39" fmla="*/ 67 h 20000"/>
                <a:gd name="T40" fmla="*/ 20 w 20000"/>
                <a:gd name="T41" fmla="*/ 57 h 20000"/>
                <a:gd name="T42" fmla="*/ 14 w 20000"/>
                <a:gd name="T43" fmla="*/ 50 h 20000"/>
                <a:gd name="T44" fmla="*/ 14 w 20000"/>
                <a:gd name="T45" fmla="*/ 40 h 20000"/>
                <a:gd name="T46" fmla="*/ 14 w 20000"/>
                <a:gd name="T47" fmla="*/ 37 h 20000"/>
                <a:gd name="T48" fmla="*/ 7 w 20000"/>
                <a:gd name="T49" fmla="*/ 34 h 20000"/>
                <a:gd name="T50" fmla="*/ 17 w 20000"/>
                <a:gd name="T51" fmla="*/ 27 h 20000"/>
                <a:gd name="T52" fmla="*/ 31 w 20000"/>
                <a:gd name="T53" fmla="*/ 27 h 20000"/>
                <a:gd name="T54" fmla="*/ 38 w 20000"/>
                <a:gd name="T55" fmla="*/ 23 h 20000"/>
                <a:gd name="T56" fmla="*/ 41 w 20000"/>
                <a:gd name="T57" fmla="*/ 16 h 20000"/>
                <a:gd name="T58" fmla="*/ 34 w 20000"/>
                <a:gd name="T59" fmla="*/ 14 h 20000"/>
                <a:gd name="T60" fmla="*/ 47 w 20000"/>
                <a:gd name="T61" fmla="*/ 3 h 20000"/>
                <a:gd name="T62" fmla="*/ 61 w 20000"/>
                <a:gd name="T63" fmla="*/ 3 h 20000"/>
                <a:gd name="T64" fmla="*/ 61 w 20000"/>
                <a:gd name="T65" fmla="*/ 7 h 2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0000" h="20000">
                  <a:moveTo>
                    <a:pt x="14206" y="1429"/>
                  </a:moveTo>
                  <a:lnTo>
                    <a:pt x="16729" y="588"/>
                  </a:lnTo>
                  <a:lnTo>
                    <a:pt x="17383" y="588"/>
                  </a:lnTo>
                  <a:lnTo>
                    <a:pt x="18972" y="2857"/>
                  </a:lnTo>
                  <a:lnTo>
                    <a:pt x="18318" y="3445"/>
                  </a:lnTo>
                  <a:lnTo>
                    <a:pt x="18972" y="3445"/>
                  </a:lnTo>
                  <a:lnTo>
                    <a:pt x="19907" y="5714"/>
                  </a:lnTo>
                  <a:lnTo>
                    <a:pt x="17383" y="7059"/>
                  </a:lnTo>
                  <a:lnTo>
                    <a:pt x="16729" y="7731"/>
                  </a:lnTo>
                  <a:lnTo>
                    <a:pt x="15794" y="7059"/>
                  </a:lnTo>
                  <a:lnTo>
                    <a:pt x="16729" y="9160"/>
                  </a:lnTo>
                  <a:lnTo>
                    <a:pt x="16729" y="10588"/>
                  </a:lnTo>
                  <a:lnTo>
                    <a:pt x="16729" y="11345"/>
                  </a:lnTo>
                  <a:lnTo>
                    <a:pt x="16729" y="13361"/>
                  </a:lnTo>
                  <a:lnTo>
                    <a:pt x="15794" y="14202"/>
                  </a:lnTo>
                  <a:lnTo>
                    <a:pt x="15794" y="14790"/>
                  </a:lnTo>
                  <a:lnTo>
                    <a:pt x="15794" y="17059"/>
                  </a:lnTo>
                  <a:lnTo>
                    <a:pt x="13551" y="17059"/>
                  </a:lnTo>
                  <a:lnTo>
                    <a:pt x="10374" y="17647"/>
                  </a:lnTo>
                  <a:lnTo>
                    <a:pt x="8785" y="19076"/>
                  </a:lnTo>
                  <a:lnTo>
                    <a:pt x="8785" y="18487"/>
                  </a:lnTo>
                  <a:lnTo>
                    <a:pt x="7196" y="19076"/>
                  </a:lnTo>
                  <a:lnTo>
                    <a:pt x="4766" y="19916"/>
                  </a:lnTo>
                  <a:lnTo>
                    <a:pt x="3178" y="19916"/>
                  </a:lnTo>
                  <a:lnTo>
                    <a:pt x="1589" y="19916"/>
                  </a:lnTo>
                  <a:lnTo>
                    <a:pt x="3178" y="18487"/>
                  </a:lnTo>
                  <a:lnTo>
                    <a:pt x="935" y="18487"/>
                  </a:lnTo>
                  <a:lnTo>
                    <a:pt x="935" y="17647"/>
                  </a:lnTo>
                  <a:lnTo>
                    <a:pt x="2523" y="17059"/>
                  </a:lnTo>
                  <a:lnTo>
                    <a:pt x="0" y="17059"/>
                  </a:lnTo>
                  <a:lnTo>
                    <a:pt x="935" y="16218"/>
                  </a:lnTo>
                  <a:lnTo>
                    <a:pt x="2523" y="16218"/>
                  </a:lnTo>
                  <a:lnTo>
                    <a:pt x="2523" y="15630"/>
                  </a:lnTo>
                  <a:lnTo>
                    <a:pt x="3178" y="14790"/>
                  </a:lnTo>
                  <a:lnTo>
                    <a:pt x="5607" y="14202"/>
                  </a:lnTo>
                  <a:lnTo>
                    <a:pt x="6355" y="14202"/>
                  </a:lnTo>
                  <a:lnTo>
                    <a:pt x="5607" y="13361"/>
                  </a:lnTo>
                  <a:lnTo>
                    <a:pt x="4766" y="14202"/>
                  </a:lnTo>
                  <a:lnTo>
                    <a:pt x="3178" y="14202"/>
                  </a:lnTo>
                  <a:lnTo>
                    <a:pt x="4019" y="13361"/>
                  </a:lnTo>
                  <a:lnTo>
                    <a:pt x="4766" y="11933"/>
                  </a:lnTo>
                  <a:lnTo>
                    <a:pt x="5607" y="11345"/>
                  </a:lnTo>
                  <a:lnTo>
                    <a:pt x="3178" y="10588"/>
                  </a:lnTo>
                  <a:lnTo>
                    <a:pt x="1589" y="9160"/>
                  </a:lnTo>
                  <a:lnTo>
                    <a:pt x="3178" y="8487"/>
                  </a:lnTo>
                  <a:lnTo>
                    <a:pt x="4019" y="8487"/>
                  </a:lnTo>
                  <a:lnTo>
                    <a:pt x="3178" y="7731"/>
                  </a:lnTo>
                  <a:lnTo>
                    <a:pt x="2523" y="6303"/>
                  </a:lnTo>
                  <a:lnTo>
                    <a:pt x="1589" y="7059"/>
                  </a:lnTo>
                  <a:lnTo>
                    <a:pt x="2523" y="5714"/>
                  </a:lnTo>
                  <a:lnTo>
                    <a:pt x="4019" y="5714"/>
                  </a:lnTo>
                  <a:lnTo>
                    <a:pt x="5607" y="6303"/>
                  </a:lnTo>
                  <a:lnTo>
                    <a:pt x="7196" y="5714"/>
                  </a:lnTo>
                  <a:lnTo>
                    <a:pt x="7944" y="5714"/>
                  </a:lnTo>
                  <a:lnTo>
                    <a:pt x="8785" y="4874"/>
                  </a:lnTo>
                  <a:lnTo>
                    <a:pt x="9439" y="4286"/>
                  </a:lnTo>
                  <a:lnTo>
                    <a:pt x="9439" y="3445"/>
                  </a:lnTo>
                  <a:lnTo>
                    <a:pt x="7196" y="3445"/>
                  </a:lnTo>
                  <a:lnTo>
                    <a:pt x="7944" y="2857"/>
                  </a:lnTo>
                  <a:lnTo>
                    <a:pt x="8785" y="2017"/>
                  </a:lnTo>
                  <a:lnTo>
                    <a:pt x="11028" y="588"/>
                  </a:lnTo>
                  <a:lnTo>
                    <a:pt x="12617" y="0"/>
                  </a:lnTo>
                  <a:lnTo>
                    <a:pt x="14206" y="588"/>
                  </a:lnTo>
                  <a:lnTo>
                    <a:pt x="12617" y="2017"/>
                  </a:lnTo>
                  <a:lnTo>
                    <a:pt x="14206" y="1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7" name="Freeform 13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966" y="1668"/>
              <a:ext cx="126" cy="220"/>
            </a:xfrm>
            <a:custGeom>
              <a:avLst/>
              <a:gdLst>
                <a:gd name="T0" fmla="*/ 27 w 20000"/>
                <a:gd name="T1" fmla="*/ 213 h 20000"/>
                <a:gd name="T2" fmla="*/ 41 w 20000"/>
                <a:gd name="T3" fmla="*/ 206 h 20000"/>
                <a:gd name="T4" fmla="*/ 65 w 20000"/>
                <a:gd name="T5" fmla="*/ 203 h 20000"/>
                <a:gd name="T6" fmla="*/ 89 w 20000"/>
                <a:gd name="T7" fmla="*/ 199 h 20000"/>
                <a:gd name="T8" fmla="*/ 112 w 20000"/>
                <a:gd name="T9" fmla="*/ 199 h 20000"/>
                <a:gd name="T10" fmla="*/ 105 w 20000"/>
                <a:gd name="T11" fmla="*/ 186 h 20000"/>
                <a:gd name="T12" fmla="*/ 112 w 20000"/>
                <a:gd name="T13" fmla="*/ 179 h 20000"/>
                <a:gd name="T14" fmla="*/ 126 w 20000"/>
                <a:gd name="T15" fmla="*/ 158 h 20000"/>
                <a:gd name="T16" fmla="*/ 105 w 20000"/>
                <a:gd name="T17" fmla="*/ 152 h 20000"/>
                <a:gd name="T18" fmla="*/ 98 w 20000"/>
                <a:gd name="T19" fmla="*/ 149 h 20000"/>
                <a:gd name="T20" fmla="*/ 96 w 20000"/>
                <a:gd name="T21" fmla="*/ 132 h 20000"/>
                <a:gd name="T22" fmla="*/ 96 w 20000"/>
                <a:gd name="T23" fmla="*/ 118 h 20000"/>
                <a:gd name="T24" fmla="*/ 71 w 20000"/>
                <a:gd name="T25" fmla="*/ 88 h 20000"/>
                <a:gd name="T26" fmla="*/ 41 w 20000"/>
                <a:gd name="T27" fmla="*/ 70 h 20000"/>
                <a:gd name="T28" fmla="*/ 47 w 20000"/>
                <a:gd name="T29" fmla="*/ 68 h 20000"/>
                <a:gd name="T30" fmla="*/ 51 w 20000"/>
                <a:gd name="T31" fmla="*/ 61 h 20000"/>
                <a:gd name="T32" fmla="*/ 67 w 20000"/>
                <a:gd name="T33" fmla="*/ 34 h 20000"/>
                <a:gd name="T34" fmla="*/ 41 w 20000"/>
                <a:gd name="T35" fmla="*/ 27 h 20000"/>
                <a:gd name="T36" fmla="*/ 34 w 20000"/>
                <a:gd name="T37" fmla="*/ 23 h 20000"/>
                <a:gd name="T38" fmla="*/ 47 w 20000"/>
                <a:gd name="T39" fmla="*/ 10 h 20000"/>
                <a:gd name="T40" fmla="*/ 34 w 20000"/>
                <a:gd name="T41" fmla="*/ 3 h 20000"/>
                <a:gd name="T42" fmla="*/ 18 w 20000"/>
                <a:gd name="T43" fmla="*/ 14 h 20000"/>
                <a:gd name="T44" fmla="*/ 14 w 20000"/>
                <a:gd name="T45" fmla="*/ 20 h 20000"/>
                <a:gd name="T46" fmla="*/ 4 w 20000"/>
                <a:gd name="T47" fmla="*/ 34 h 20000"/>
                <a:gd name="T48" fmla="*/ 7 w 20000"/>
                <a:gd name="T49" fmla="*/ 44 h 20000"/>
                <a:gd name="T50" fmla="*/ 7 w 20000"/>
                <a:gd name="T51" fmla="*/ 57 h 20000"/>
                <a:gd name="T52" fmla="*/ 7 w 20000"/>
                <a:gd name="T53" fmla="*/ 64 h 20000"/>
                <a:gd name="T54" fmla="*/ 7 w 20000"/>
                <a:gd name="T55" fmla="*/ 88 h 20000"/>
                <a:gd name="T56" fmla="*/ 11 w 20000"/>
                <a:gd name="T57" fmla="*/ 74 h 20000"/>
                <a:gd name="T58" fmla="*/ 20 w 20000"/>
                <a:gd name="T59" fmla="*/ 81 h 20000"/>
                <a:gd name="T60" fmla="*/ 14 w 20000"/>
                <a:gd name="T61" fmla="*/ 102 h 20000"/>
                <a:gd name="T62" fmla="*/ 31 w 20000"/>
                <a:gd name="T63" fmla="*/ 102 h 20000"/>
                <a:gd name="T64" fmla="*/ 47 w 20000"/>
                <a:gd name="T65" fmla="*/ 98 h 20000"/>
                <a:gd name="T66" fmla="*/ 41 w 20000"/>
                <a:gd name="T67" fmla="*/ 108 h 20000"/>
                <a:gd name="T68" fmla="*/ 47 w 20000"/>
                <a:gd name="T69" fmla="*/ 122 h 20000"/>
                <a:gd name="T70" fmla="*/ 47 w 20000"/>
                <a:gd name="T71" fmla="*/ 135 h 20000"/>
                <a:gd name="T72" fmla="*/ 37 w 20000"/>
                <a:gd name="T73" fmla="*/ 142 h 20000"/>
                <a:gd name="T74" fmla="*/ 20 w 20000"/>
                <a:gd name="T75" fmla="*/ 152 h 20000"/>
                <a:gd name="T76" fmla="*/ 31 w 20000"/>
                <a:gd name="T77" fmla="*/ 152 h 20000"/>
                <a:gd name="T78" fmla="*/ 14 w 20000"/>
                <a:gd name="T79" fmla="*/ 176 h 20000"/>
                <a:gd name="T80" fmla="*/ 24 w 20000"/>
                <a:gd name="T81" fmla="*/ 179 h 20000"/>
                <a:gd name="T82" fmla="*/ 41 w 20000"/>
                <a:gd name="T83" fmla="*/ 186 h 20000"/>
                <a:gd name="T84" fmla="*/ 44 w 20000"/>
                <a:gd name="T85" fmla="*/ 192 h 20000"/>
                <a:gd name="T86" fmla="*/ 24 w 20000"/>
                <a:gd name="T87" fmla="*/ 196 h 20000"/>
                <a:gd name="T88" fmla="*/ 4 w 20000"/>
                <a:gd name="T89" fmla="*/ 216 h 200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00" h="20000">
                  <a:moveTo>
                    <a:pt x="1709" y="19964"/>
                  </a:moveTo>
                  <a:lnTo>
                    <a:pt x="4304" y="19345"/>
                  </a:lnTo>
                  <a:lnTo>
                    <a:pt x="5380" y="19345"/>
                  </a:lnTo>
                  <a:lnTo>
                    <a:pt x="6456" y="18727"/>
                  </a:lnTo>
                  <a:lnTo>
                    <a:pt x="8101" y="18473"/>
                  </a:lnTo>
                  <a:lnTo>
                    <a:pt x="10253" y="18473"/>
                  </a:lnTo>
                  <a:lnTo>
                    <a:pt x="13038" y="18109"/>
                  </a:lnTo>
                  <a:lnTo>
                    <a:pt x="14114" y="18109"/>
                  </a:lnTo>
                  <a:lnTo>
                    <a:pt x="16266" y="18473"/>
                  </a:lnTo>
                  <a:lnTo>
                    <a:pt x="17785" y="18109"/>
                  </a:lnTo>
                  <a:lnTo>
                    <a:pt x="18861" y="17236"/>
                  </a:lnTo>
                  <a:lnTo>
                    <a:pt x="16709" y="16873"/>
                  </a:lnTo>
                  <a:lnTo>
                    <a:pt x="17278" y="16618"/>
                  </a:lnTo>
                  <a:lnTo>
                    <a:pt x="17785" y="16255"/>
                  </a:lnTo>
                  <a:lnTo>
                    <a:pt x="18861" y="16000"/>
                  </a:lnTo>
                  <a:lnTo>
                    <a:pt x="19937" y="14400"/>
                  </a:lnTo>
                  <a:lnTo>
                    <a:pt x="17785" y="13527"/>
                  </a:lnTo>
                  <a:lnTo>
                    <a:pt x="16709" y="13782"/>
                  </a:lnTo>
                  <a:lnTo>
                    <a:pt x="16266" y="14145"/>
                  </a:lnTo>
                  <a:lnTo>
                    <a:pt x="15633" y="13527"/>
                  </a:lnTo>
                  <a:lnTo>
                    <a:pt x="16266" y="13200"/>
                  </a:lnTo>
                  <a:lnTo>
                    <a:pt x="15190" y="11964"/>
                  </a:lnTo>
                  <a:lnTo>
                    <a:pt x="15633" y="11964"/>
                  </a:lnTo>
                  <a:lnTo>
                    <a:pt x="15190" y="10727"/>
                  </a:lnTo>
                  <a:lnTo>
                    <a:pt x="13038" y="9855"/>
                  </a:lnTo>
                  <a:lnTo>
                    <a:pt x="11329" y="8000"/>
                  </a:lnTo>
                  <a:lnTo>
                    <a:pt x="8608" y="6400"/>
                  </a:lnTo>
                  <a:lnTo>
                    <a:pt x="6456" y="6400"/>
                  </a:lnTo>
                  <a:lnTo>
                    <a:pt x="7532" y="6145"/>
                  </a:lnTo>
                  <a:lnTo>
                    <a:pt x="8608" y="5818"/>
                  </a:lnTo>
                  <a:lnTo>
                    <a:pt x="8101" y="5527"/>
                  </a:lnTo>
                  <a:lnTo>
                    <a:pt x="9620" y="3964"/>
                  </a:lnTo>
                  <a:lnTo>
                    <a:pt x="10696" y="3091"/>
                  </a:lnTo>
                  <a:lnTo>
                    <a:pt x="10253" y="2473"/>
                  </a:lnTo>
                  <a:lnTo>
                    <a:pt x="6456" y="2473"/>
                  </a:lnTo>
                  <a:lnTo>
                    <a:pt x="4873" y="2727"/>
                  </a:lnTo>
                  <a:lnTo>
                    <a:pt x="5380" y="2109"/>
                  </a:lnTo>
                  <a:lnTo>
                    <a:pt x="5380" y="1855"/>
                  </a:lnTo>
                  <a:lnTo>
                    <a:pt x="7532" y="873"/>
                  </a:lnTo>
                  <a:lnTo>
                    <a:pt x="7532" y="0"/>
                  </a:lnTo>
                  <a:lnTo>
                    <a:pt x="5380" y="255"/>
                  </a:lnTo>
                  <a:lnTo>
                    <a:pt x="3228" y="0"/>
                  </a:lnTo>
                  <a:lnTo>
                    <a:pt x="2785" y="1236"/>
                  </a:lnTo>
                  <a:lnTo>
                    <a:pt x="2152" y="1236"/>
                  </a:lnTo>
                  <a:lnTo>
                    <a:pt x="2152" y="1855"/>
                  </a:lnTo>
                  <a:lnTo>
                    <a:pt x="1076" y="2109"/>
                  </a:lnTo>
                  <a:lnTo>
                    <a:pt x="633" y="3091"/>
                  </a:lnTo>
                  <a:lnTo>
                    <a:pt x="1709" y="3345"/>
                  </a:lnTo>
                  <a:lnTo>
                    <a:pt x="1076" y="3964"/>
                  </a:lnTo>
                  <a:lnTo>
                    <a:pt x="0" y="4582"/>
                  </a:lnTo>
                  <a:lnTo>
                    <a:pt x="1076" y="5200"/>
                  </a:lnTo>
                  <a:lnTo>
                    <a:pt x="2152" y="4909"/>
                  </a:lnTo>
                  <a:lnTo>
                    <a:pt x="1076" y="5818"/>
                  </a:lnTo>
                  <a:lnTo>
                    <a:pt x="1076" y="7018"/>
                  </a:lnTo>
                  <a:lnTo>
                    <a:pt x="1076" y="8000"/>
                  </a:lnTo>
                  <a:lnTo>
                    <a:pt x="1709" y="6764"/>
                  </a:lnTo>
                  <a:lnTo>
                    <a:pt x="3228" y="6764"/>
                  </a:lnTo>
                  <a:lnTo>
                    <a:pt x="3228" y="7382"/>
                  </a:lnTo>
                  <a:lnTo>
                    <a:pt x="3228" y="7636"/>
                  </a:lnTo>
                  <a:lnTo>
                    <a:pt x="2152" y="9236"/>
                  </a:lnTo>
                  <a:lnTo>
                    <a:pt x="3228" y="9491"/>
                  </a:lnTo>
                  <a:lnTo>
                    <a:pt x="4873" y="9236"/>
                  </a:lnTo>
                  <a:lnTo>
                    <a:pt x="6456" y="8873"/>
                  </a:lnTo>
                  <a:lnTo>
                    <a:pt x="7532" y="8873"/>
                  </a:lnTo>
                  <a:lnTo>
                    <a:pt x="6456" y="9491"/>
                  </a:lnTo>
                  <a:lnTo>
                    <a:pt x="6456" y="9855"/>
                  </a:lnTo>
                  <a:lnTo>
                    <a:pt x="7025" y="11091"/>
                  </a:lnTo>
                  <a:lnTo>
                    <a:pt x="7532" y="11091"/>
                  </a:lnTo>
                  <a:lnTo>
                    <a:pt x="7532" y="11345"/>
                  </a:lnTo>
                  <a:lnTo>
                    <a:pt x="7532" y="12291"/>
                  </a:lnTo>
                  <a:lnTo>
                    <a:pt x="8101" y="12909"/>
                  </a:lnTo>
                  <a:lnTo>
                    <a:pt x="5949" y="12909"/>
                  </a:lnTo>
                  <a:lnTo>
                    <a:pt x="3797" y="13527"/>
                  </a:lnTo>
                  <a:lnTo>
                    <a:pt x="3228" y="13782"/>
                  </a:lnTo>
                  <a:lnTo>
                    <a:pt x="3797" y="13782"/>
                  </a:lnTo>
                  <a:lnTo>
                    <a:pt x="4873" y="13782"/>
                  </a:lnTo>
                  <a:lnTo>
                    <a:pt x="4873" y="14764"/>
                  </a:lnTo>
                  <a:lnTo>
                    <a:pt x="2152" y="16000"/>
                  </a:lnTo>
                  <a:lnTo>
                    <a:pt x="2785" y="16618"/>
                  </a:lnTo>
                  <a:lnTo>
                    <a:pt x="3797" y="16255"/>
                  </a:lnTo>
                  <a:lnTo>
                    <a:pt x="4304" y="16618"/>
                  </a:lnTo>
                  <a:lnTo>
                    <a:pt x="6456" y="16873"/>
                  </a:lnTo>
                  <a:lnTo>
                    <a:pt x="8101" y="16618"/>
                  </a:lnTo>
                  <a:lnTo>
                    <a:pt x="7025" y="17491"/>
                  </a:lnTo>
                  <a:lnTo>
                    <a:pt x="4873" y="17491"/>
                  </a:lnTo>
                  <a:lnTo>
                    <a:pt x="3797" y="17855"/>
                  </a:lnTo>
                  <a:lnTo>
                    <a:pt x="2152" y="19055"/>
                  </a:lnTo>
                  <a:lnTo>
                    <a:pt x="633" y="19673"/>
                  </a:lnTo>
                  <a:lnTo>
                    <a:pt x="1709" y="19964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8" name="Freeform 13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708" y="1431"/>
              <a:ext cx="159" cy="99"/>
            </a:xfrm>
            <a:custGeom>
              <a:avLst/>
              <a:gdLst>
                <a:gd name="T0" fmla="*/ 91 w 20000"/>
                <a:gd name="T1" fmla="*/ 95 h 20000"/>
                <a:gd name="T2" fmla="*/ 116 w 20000"/>
                <a:gd name="T3" fmla="*/ 81 h 20000"/>
                <a:gd name="T4" fmla="*/ 143 w 20000"/>
                <a:gd name="T5" fmla="*/ 71 h 20000"/>
                <a:gd name="T6" fmla="*/ 153 w 20000"/>
                <a:gd name="T7" fmla="*/ 61 h 20000"/>
                <a:gd name="T8" fmla="*/ 160 w 20000"/>
                <a:gd name="T9" fmla="*/ 47 h 20000"/>
                <a:gd name="T10" fmla="*/ 146 w 20000"/>
                <a:gd name="T11" fmla="*/ 27 h 20000"/>
                <a:gd name="T12" fmla="*/ 146 w 20000"/>
                <a:gd name="T13" fmla="*/ 18 h 20000"/>
                <a:gd name="T14" fmla="*/ 146 w 20000"/>
                <a:gd name="T15" fmla="*/ 11 h 20000"/>
                <a:gd name="T16" fmla="*/ 125 w 20000"/>
                <a:gd name="T17" fmla="*/ 4 h 20000"/>
                <a:gd name="T18" fmla="*/ 119 w 20000"/>
                <a:gd name="T19" fmla="*/ 14 h 20000"/>
                <a:gd name="T20" fmla="*/ 109 w 20000"/>
                <a:gd name="T21" fmla="*/ 14 h 20000"/>
                <a:gd name="T22" fmla="*/ 91 w 20000"/>
                <a:gd name="T23" fmla="*/ 14 h 20000"/>
                <a:gd name="T24" fmla="*/ 88 w 20000"/>
                <a:gd name="T25" fmla="*/ 20 h 20000"/>
                <a:gd name="T26" fmla="*/ 75 w 20000"/>
                <a:gd name="T27" fmla="*/ 18 h 20000"/>
                <a:gd name="T28" fmla="*/ 71 w 20000"/>
                <a:gd name="T29" fmla="*/ 27 h 20000"/>
                <a:gd name="T30" fmla="*/ 61 w 20000"/>
                <a:gd name="T31" fmla="*/ 18 h 20000"/>
                <a:gd name="T32" fmla="*/ 57 w 20000"/>
                <a:gd name="T33" fmla="*/ 31 h 20000"/>
                <a:gd name="T34" fmla="*/ 47 w 20000"/>
                <a:gd name="T35" fmla="*/ 38 h 20000"/>
                <a:gd name="T36" fmla="*/ 47 w 20000"/>
                <a:gd name="T37" fmla="*/ 14 h 20000"/>
                <a:gd name="T38" fmla="*/ 23 w 20000"/>
                <a:gd name="T39" fmla="*/ 7 h 20000"/>
                <a:gd name="T40" fmla="*/ 23 w 20000"/>
                <a:gd name="T41" fmla="*/ 18 h 20000"/>
                <a:gd name="T42" fmla="*/ 14 w 20000"/>
                <a:gd name="T43" fmla="*/ 18 h 20000"/>
                <a:gd name="T44" fmla="*/ 16 w 20000"/>
                <a:gd name="T45" fmla="*/ 24 h 20000"/>
                <a:gd name="T46" fmla="*/ 7 w 20000"/>
                <a:gd name="T47" fmla="*/ 24 h 20000"/>
                <a:gd name="T48" fmla="*/ 10 w 20000"/>
                <a:gd name="T49" fmla="*/ 34 h 20000"/>
                <a:gd name="T50" fmla="*/ 37 w 20000"/>
                <a:gd name="T51" fmla="*/ 34 h 20000"/>
                <a:gd name="T52" fmla="*/ 37 w 20000"/>
                <a:gd name="T53" fmla="*/ 44 h 20000"/>
                <a:gd name="T54" fmla="*/ 37 w 20000"/>
                <a:gd name="T55" fmla="*/ 47 h 20000"/>
                <a:gd name="T56" fmla="*/ 3 w 20000"/>
                <a:gd name="T57" fmla="*/ 51 h 20000"/>
                <a:gd name="T58" fmla="*/ 27 w 20000"/>
                <a:gd name="T59" fmla="*/ 54 h 20000"/>
                <a:gd name="T60" fmla="*/ 34 w 20000"/>
                <a:gd name="T61" fmla="*/ 71 h 20000"/>
                <a:gd name="T62" fmla="*/ 21 w 20000"/>
                <a:gd name="T63" fmla="*/ 78 h 20000"/>
                <a:gd name="T64" fmla="*/ 47 w 20000"/>
                <a:gd name="T65" fmla="*/ 85 h 20000"/>
                <a:gd name="T66" fmla="*/ 78 w 20000"/>
                <a:gd name="T67" fmla="*/ 99 h 200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0000" h="20000">
                  <a:moveTo>
                    <a:pt x="9698" y="19919"/>
                  </a:moveTo>
                  <a:lnTo>
                    <a:pt x="11407" y="19113"/>
                  </a:lnTo>
                  <a:lnTo>
                    <a:pt x="13116" y="17742"/>
                  </a:lnTo>
                  <a:lnTo>
                    <a:pt x="14472" y="16371"/>
                  </a:lnTo>
                  <a:lnTo>
                    <a:pt x="16181" y="15000"/>
                  </a:lnTo>
                  <a:lnTo>
                    <a:pt x="17839" y="14435"/>
                  </a:lnTo>
                  <a:lnTo>
                    <a:pt x="18241" y="13065"/>
                  </a:lnTo>
                  <a:lnTo>
                    <a:pt x="19095" y="12258"/>
                  </a:lnTo>
                  <a:lnTo>
                    <a:pt x="19548" y="10323"/>
                  </a:lnTo>
                  <a:lnTo>
                    <a:pt x="19950" y="9516"/>
                  </a:lnTo>
                  <a:lnTo>
                    <a:pt x="19950" y="8226"/>
                  </a:lnTo>
                  <a:lnTo>
                    <a:pt x="18241" y="5484"/>
                  </a:lnTo>
                  <a:lnTo>
                    <a:pt x="17839" y="5484"/>
                  </a:lnTo>
                  <a:lnTo>
                    <a:pt x="18241" y="3548"/>
                  </a:lnTo>
                  <a:lnTo>
                    <a:pt x="17387" y="3548"/>
                  </a:lnTo>
                  <a:lnTo>
                    <a:pt x="18241" y="2177"/>
                  </a:lnTo>
                  <a:lnTo>
                    <a:pt x="16181" y="2742"/>
                  </a:lnTo>
                  <a:lnTo>
                    <a:pt x="15678" y="806"/>
                  </a:lnTo>
                  <a:lnTo>
                    <a:pt x="14824" y="1371"/>
                  </a:lnTo>
                  <a:lnTo>
                    <a:pt x="14824" y="2742"/>
                  </a:lnTo>
                  <a:lnTo>
                    <a:pt x="14472" y="3548"/>
                  </a:lnTo>
                  <a:lnTo>
                    <a:pt x="13618" y="2742"/>
                  </a:lnTo>
                  <a:lnTo>
                    <a:pt x="12764" y="4113"/>
                  </a:lnTo>
                  <a:lnTo>
                    <a:pt x="11407" y="2742"/>
                  </a:lnTo>
                  <a:lnTo>
                    <a:pt x="11910" y="4839"/>
                  </a:lnTo>
                  <a:lnTo>
                    <a:pt x="11055" y="4113"/>
                  </a:lnTo>
                  <a:lnTo>
                    <a:pt x="10201" y="2742"/>
                  </a:lnTo>
                  <a:lnTo>
                    <a:pt x="9347" y="3548"/>
                  </a:lnTo>
                  <a:lnTo>
                    <a:pt x="9347" y="4839"/>
                  </a:lnTo>
                  <a:lnTo>
                    <a:pt x="8894" y="5484"/>
                  </a:lnTo>
                  <a:lnTo>
                    <a:pt x="8040" y="2742"/>
                  </a:lnTo>
                  <a:lnTo>
                    <a:pt x="7638" y="3548"/>
                  </a:lnTo>
                  <a:lnTo>
                    <a:pt x="7638" y="6210"/>
                  </a:lnTo>
                  <a:lnTo>
                    <a:pt x="7186" y="6210"/>
                  </a:lnTo>
                  <a:lnTo>
                    <a:pt x="6784" y="5484"/>
                  </a:lnTo>
                  <a:lnTo>
                    <a:pt x="5930" y="7581"/>
                  </a:lnTo>
                  <a:lnTo>
                    <a:pt x="5477" y="5484"/>
                  </a:lnTo>
                  <a:lnTo>
                    <a:pt x="5930" y="2742"/>
                  </a:lnTo>
                  <a:lnTo>
                    <a:pt x="4271" y="0"/>
                  </a:lnTo>
                  <a:lnTo>
                    <a:pt x="2915" y="1371"/>
                  </a:lnTo>
                  <a:lnTo>
                    <a:pt x="3769" y="3548"/>
                  </a:lnTo>
                  <a:lnTo>
                    <a:pt x="2915" y="3548"/>
                  </a:lnTo>
                  <a:lnTo>
                    <a:pt x="2060" y="2177"/>
                  </a:lnTo>
                  <a:lnTo>
                    <a:pt x="1709" y="3548"/>
                  </a:lnTo>
                  <a:lnTo>
                    <a:pt x="1206" y="4113"/>
                  </a:lnTo>
                  <a:lnTo>
                    <a:pt x="2060" y="4839"/>
                  </a:lnTo>
                  <a:lnTo>
                    <a:pt x="1709" y="5484"/>
                  </a:lnTo>
                  <a:lnTo>
                    <a:pt x="854" y="4839"/>
                  </a:lnTo>
                  <a:lnTo>
                    <a:pt x="0" y="6210"/>
                  </a:lnTo>
                  <a:lnTo>
                    <a:pt x="1206" y="6855"/>
                  </a:lnTo>
                  <a:lnTo>
                    <a:pt x="2915" y="5484"/>
                  </a:lnTo>
                  <a:lnTo>
                    <a:pt x="4623" y="6855"/>
                  </a:lnTo>
                  <a:lnTo>
                    <a:pt x="3769" y="8226"/>
                  </a:lnTo>
                  <a:lnTo>
                    <a:pt x="4623" y="8952"/>
                  </a:lnTo>
                  <a:lnTo>
                    <a:pt x="5126" y="8952"/>
                  </a:lnTo>
                  <a:lnTo>
                    <a:pt x="4623" y="9516"/>
                  </a:lnTo>
                  <a:lnTo>
                    <a:pt x="2563" y="9516"/>
                  </a:lnTo>
                  <a:lnTo>
                    <a:pt x="352" y="10323"/>
                  </a:lnTo>
                  <a:lnTo>
                    <a:pt x="854" y="10887"/>
                  </a:lnTo>
                  <a:lnTo>
                    <a:pt x="3417" y="10887"/>
                  </a:lnTo>
                  <a:lnTo>
                    <a:pt x="3417" y="13065"/>
                  </a:lnTo>
                  <a:lnTo>
                    <a:pt x="4271" y="14435"/>
                  </a:lnTo>
                  <a:lnTo>
                    <a:pt x="2915" y="15806"/>
                  </a:lnTo>
                  <a:lnTo>
                    <a:pt x="2563" y="15806"/>
                  </a:lnTo>
                  <a:lnTo>
                    <a:pt x="2563" y="17177"/>
                  </a:lnTo>
                  <a:lnTo>
                    <a:pt x="5930" y="17177"/>
                  </a:lnTo>
                  <a:lnTo>
                    <a:pt x="7186" y="18548"/>
                  </a:lnTo>
                  <a:lnTo>
                    <a:pt x="9698" y="1991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29" name="Freeform 13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78" y="2152"/>
              <a:ext cx="49" cy="31"/>
            </a:xfrm>
            <a:custGeom>
              <a:avLst/>
              <a:gdLst>
                <a:gd name="T0" fmla="*/ 44 w 20000"/>
                <a:gd name="T1" fmla="*/ 31 h 20000"/>
                <a:gd name="T2" fmla="*/ 48 w 20000"/>
                <a:gd name="T3" fmla="*/ 24 h 20000"/>
                <a:gd name="T4" fmla="*/ 44 w 20000"/>
                <a:gd name="T5" fmla="*/ 13 h 20000"/>
                <a:gd name="T6" fmla="*/ 48 w 20000"/>
                <a:gd name="T7" fmla="*/ 7 h 20000"/>
                <a:gd name="T8" fmla="*/ 48 w 20000"/>
                <a:gd name="T9" fmla="*/ 0 h 20000"/>
                <a:gd name="T10" fmla="*/ 24 w 20000"/>
                <a:gd name="T11" fmla="*/ 4 h 20000"/>
                <a:gd name="T12" fmla="*/ 14 w 20000"/>
                <a:gd name="T13" fmla="*/ 0 h 20000"/>
                <a:gd name="T14" fmla="*/ 11 w 20000"/>
                <a:gd name="T15" fmla="*/ 0 h 20000"/>
                <a:gd name="T16" fmla="*/ 7 w 20000"/>
                <a:gd name="T17" fmla="*/ 4 h 20000"/>
                <a:gd name="T18" fmla="*/ 4 w 20000"/>
                <a:gd name="T19" fmla="*/ 0 h 20000"/>
                <a:gd name="T20" fmla="*/ 0 w 20000"/>
                <a:gd name="T21" fmla="*/ 4 h 20000"/>
                <a:gd name="T22" fmla="*/ 0 w 20000"/>
                <a:gd name="T23" fmla="*/ 11 h 20000"/>
                <a:gd name="T24" fmla="*/ 7 w 20000"/>
                <a:gd name="T25" fmla="*/ 13 h 20000"/>
                <a:gd name="T26" fmla="*/ 20 w 20000"/>
                <a:gd name="T27" fmla="*/ 20 h 20000"/>
                <a:gd name="T28" fmla="*/ 31 w 20000"/>
                <a:gd name="T29" fmla="*/ 24 h 20000"/>
                <a:gd name="T30" fmla="*/ 34 w 20000"/>
                <a:gd name="T31" fmla="*/ 27 h 20000"/>
                <a:gd name="T32" fmla="*/ 44 w 20000"/>
                <a:gd name="T33" fmla="*/ 31 h 2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0000" h="20000">
                  <a:moveTo>
                    <a:pt x="18500" y="19747"/>
                  </a:moveTo>
                  <a:lnTo>
                    <a:pt x="19833" y="15443"/>
                  </a:lnTo>
                  <a:lnTo>
                    <a:pt x="18500" y="8608"/>
                  </a:lnTo>
                  <a:lnTo>
                    <a:pt x="19833" y="4304"/>
                  </a:lnTo>
                  <a:lnTo>
                    <a:pt x="19833" y="0"/>
                  </a:lnTo>
                  <a:lnTo>
                    <a:pt x="10167" y="2532"/>
                  </a:lnTo>
                  <a:lnTo>
                    <a:pt x="5667" y="0"/>
                  </a:lnTo>
                  <a:lnTo>
                    <a:pt x="4500" y="0"/>
                  </a:lnTo>
                  <a:lnTo>
                    <a:pt x="2833" y="2532"/>
                  </a:lnTo>
                  <a:lnTo>
                    <a:pt x="1667" y="0"/>
                  </a:lnTo>
                  <a:lnTo>
                    <a:pt x="0" y="2532"/>
                  </a:lnTo>
                  <a:lnTo>
                    <a:pt x="0" y="6835"/>
                  </a:lnTo>
                  <a:lnTo>
                    <a:pt x="2833" y="8608"/>
                  </a:lnTo>
                  <a:lnTo>
                    <a:pt x="8500" y="12911"/>
                  </a:lnTo>
                  <a:lnTo>
                    <a:pt x="12833" y="15443"/>
                  </a:lnTo>
                  <a:lnTo>
                    <a:pt x="14167" y="17215"/>
                  </a:lnTo>
                  <a:lnTo>
                    <a:pt x="18500" y="1974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0" name="Freeform 13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00" y="2088"/>
              <a:ext cx="31" cy="50"/>
            </a:xfrm>
            <a:custGeom>
              <a:avLst/>
              <a:gdLst>
                <a:gd name="T0" fmla="*/ 14 w 20000"/>
                <a:gd name="T1" fmla="*/ 48 h 20000"/>
                <a:gd name="T2" fmla="*/ 17 w 20000"/>
                <a:gd name="T3" fmla="*/ 41 h 20000"/>
                <a:gd name="T4" fmla="*/ 24 w 20000"/>
                <a:gd name="T5" fmla="*/ 44 h 20000"/>
                <a:gd name="T6" fmla="*/ 27 w 20000"/>
                <a:gd name="T7" fmla="*/ 20 h 20000"/>
                <a:gd name="T8" fmla="*/ 27 w 20000"/>
                <a:gd name="T9" fmla="*/ 16 h 20000"/>
                <a:gd name="T10" fmla="*/ 31 w 20000"/>
                <a:gd name="T11" fmla="*/ 14 h 20000"/>
                <a:gd name="T12" fmla="*/ 24 w 20000"/>
                <a:gd name="T13" fmla="*/ 0 h 20000"/>
                <a:gd name="T14" fmla="*/ 21 w 20000"/>
                <a:gd name="T15" fmla="*/ 0 h 20000"/>
                <a:gd name="T16" fmla="*/ 7 w 20000"/>
                <a:gd name="T17" fmla="*/ 7 h 20000"/>
                <a:gd name="T18" fmla="*/ 4 w 20000"/>
                <a:gd name="T19" fmla="*/ 7 h 20000"/>
                <a:gd name="T20" fmla="*/ 0 w 20000"/>
                <a:gd name="T21" fmla="*/ 10 h 20000"/>
                <a:gd name="T22" fmla="*/ 7 w 20000"/>
                <a:gd name="T23" fmla="*/ 20 h 20000"/>
                <a:gd name="T24" fmla="*/ 7 w 20000"/>
                <a:gd name="T25" fmla="*/ 23 h 20000"/>
                <a:gd name="T26" fmla="*/ 7 w 20000"/>
                <a:gd name="T27" fmla="*/ 23 h 20000"/>
                <a:gd name="T28" fmla="*/ 7 w 20000"/>
                <a:gd name="T29" fmla="*/ 30 h 20000"/>
                <a:gd name="T30" fmla="*/ 7 w 20000"/>
                <a:gd name="T31" fmla="*/ 34 h 20000"/>
                <a:gd name="T32" fmla="*/ 7 w 20000"/>
                <a:gd name="T33" fmla="*/ 44 h 20000"/>
                <a:gd name="T34" fmla="*/ 14 w 20000"/>
                <a:gd name="T35" fmla="*/ 48 h 200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0000" h="20000">
                  <a:moveTo>
                    <a:pt x="9114" y="19833"/>
                  </a:moveTo>
                  <a:lnTo>
                    <a:pt x="11139" y="17000"/>
                  </a:lnTo>
                  <a:lnTo>
                    <a:pt x="15443" y="18167"/>
                  </a:lnTo>
                  <a:lnTo>
                    <a:pt x="17722" y="8500"/>
                  </a:lnTo>
                  <a:lnTo>
                    <a:pt x="17722" y="6833"/>
                  </a:lnTo>
                  <a:lnTo>
                    <a:pt x="19747" y="5667"/>
                  </a:lnTo>
                  <a:lnTo>
                    <a:pt x="15443" y="0"/>
                  </a:lnTo>
                  <a:lnTo>
                    <a:pt x="13418" y="0"/>
                  </a:lnTo>
                  <a:lnTo>
                    <a:pt x="4304" y="2833"/>
                  </a:lnTo>
                  <a:lnTo>
                    <a:pt x="2532" y="2833"/>
                  </a:lnTo>
                  <a:lnTo>
                    <a:pt x="0" y="4000"/>
                  </a:lnTo>
                  <a:lnTo>
                    <a:pt x="4304" y="8500"/>
                  </a:lnTo>
                  <a:lnTo>
                    <a:pt x="4304" y="9667"/>
                  </a:lnTo>
                  <a:lnTo>
                    <a:pt x="4304" y="12500"/>
                  </a:lnTo>
                  <a:lnTo>
                    <a:pt x="4304" y="14167"/>
                  </a:lnTo>
                  <a:lnTo>
                    <a:pt x="4304" y="18167"/>
                  </a:lnTo>
                  <a:lnTo>
                    <a:pt x="9114" y="1983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1" name="Freeform 13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09" y="2196"/>
              <a:ext cx="6" cy="7"/>
            </a:xfrm>
            <a:custGeom>
              <a:avLst/>
              <a:gdLst>
                <a:gd name="T0" fmla="*/ 4 w 20000"/>
                <a:gd name="T1" fmla="*/ 7 h 20000"/>
                <a:gd name="T2" fmla="*/ 4 w 20000"/>
                <a:gd name="T3" fmla="*/ 3 h 20000"/>
                <a:gd name="T4" fmla="*/ 0 w 20000"/>
                <a:gd name="T5" fmla="*/ 0 h 20000"/>
                <a:gd name="T6" fmla="*/ 4 w 20000"/>
                <a:gd name="T7" fmla="*/ 7 h 200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000" h="20000">
                  <a:moveTo>
                    <a:pt x="17778" y="18889"/>
                  </a:moveTo>
                  <a:lnTo>
                    <a:pt x="17778" y="7778"/>
                  </a:lnTo>
                  <a:lnTo>
                    <a:pt x="0" y="0"/>
                  </a:lnTo>
                  <a:lnTo>
                    <a:pt x="17778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2" name="Freeform 13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82" y="1374"/>
              <a:ext cx="19" cy="17"/>
            </a:xfrm>
            <a:custGeom>
              <a:avLst/>
              <a:gdLst>
                <a:gd name="T0" fmla="*/ 3 w 20000"/>
                <a:gd name="T1" fmla="*/ 17 h 20000"/>
                <a:gd name="T2" fmla="*/ 7 w 20000"/>
                <a:gd name="T3" fmla="*/ 17 h 20000"/>
                <a:gd name="T4" fmla="*/ 10 w 20000"/>
                <a:gd name="T5" fmla="*/ 13 h 20000"/>
                <a:gd name="T6" fmla="*/ 21 w 20000"/>
                <a:gd name="T7" fmla="*/ 7 h 20000"/>
                <a:gd name="T8" fmla="*/ 17 w 20000"/>
                <a:gd name="T9" fmla="*/ 0 h 20000"/>
                <a:gd name="T10" fmla="*/ 14 w 20000"/>
                <a:gd name="T11" fmla="*/ 7 h 20000"/>
                <a:gd name="T12" fmla="*/ 10 w 20000"/>
                <a:gd name="T13" fmla="*/ 0 h 20000"/>
                <a:gd name="T14" fmla="*/ 0 w 20000"/>
                <a:gd name="T15" fmla="*/ 9 h 20000"/>
                <a:gd name="T16" fmla="*/ 3 w 20000"/>
                <a:gd name="T17" fmla="*/ 17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000" h="20000">
                  <a:moveTo>
                    <a:pt x="2692" y="19535"/>
                  </a:moveTo>
                  <a:lnTo>
                    <a:pt x="6538" y="19535"/>
                  </a:lnTo>
                  <a:lnTo>
                    <a:pt x="9231" y="15814"/>
                  </a:lnTo>
                  <a:lnTo>
                    <a:pt x="19615" y="7907"/>
                  </a:lnTo>
                  <a:lnTo>
                    <a:pt x="15769" y="0"/>
                  </a:lnTo>
                  <a:lnTo>
                    <a:pt x="13077" y="7907"/>
                  </a:lnTo>
                  <a:lnTo>
                    <a:pt x="9231" y="0"/>
                  </a:lnTo>
                  <a:lnTo>
                    <a:pt x="0" y="11163"/>
                  </a:lnTo>
                  <a:lnTo>
                    <a:pt x="2692" y="1953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3" name="Freeform 13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71" y="1371"/>
              <a:ext cx="12" cy="13"/>
            </a:xfrm>
            <a:custGeom>
              <a:avLst/>
              <a:gdLst>
                <a:gd name="T0" fmla="*/ 7 w 20000"/>
                <a:gd name="T1" fmla="*/ 14 h 20000"/>
                <a:gd name="T2" fmla="*/ 11 w 20000"/>
                <a:gd name="T3" fmla="*/ 10 h 20000"/>
                <a:gd name="T4" fmla="*/ 11 w 20000"/>
                <a:gd name="T5" fmla="*/ 4 h 20000"/>
                <a:gd name="T6" fmla="*/ 7 w 20000"/>
                <a:gd name="T7" fmla="*/ 0 h 20000"/>
                <a:gd name="T8" fmla="*/ 7 w 20000"/>
                <a:gd name="T9" fmla="*/ 7 h 20000"/>
                <a:gd name="T10" fmla="*/ 0 w 20000"/>
                <a:gd name="T11" fmla="*/ 7 h 20000"/>
                <a:gd name="T12" fmla="*/ 0 w 20000"/>
                <a:gd name="T13" fmla="*/ 14 h 20000"/>
                <a:gd name="T14" fmla="*/ 7 w 20000"/>
                <a:gd name="T15" fmla="*/ 10 h 20000"/>
                <a:gd name="T16" fmla="*/ 11 w 20000"/>
                <a:gd name="T17" fmla="*/ 10 h 20000"/>
                <a:gd name="T18" fmla="*/ 4 w 20000"/>
                <a:gd name="T19" fmla="*/ 14 h 20000"/>
                <a:gd name="T20" fmla="*/ 7 w 20000"/>
                <a:gd name="T21" fmla="*/ 14 h 2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000" h="20000">
                  <a:moveTo>
                    <a:pt x="12143" y="19429"/>
                  </a:moveTo>
                  <a:lnTo>
                    <a:pt x="19286" y="14857"/>
                  </a:lnTo>
                  <a:lnTo>
                    <a:pt x="19286" y="5714"/>
                  </a:lnTo>
                  <a:lnTo>
                    <a:pt x="12143" y="0"/>
                  </a:lnTo>
                  <a:lnTo>
                    <a:pt x="12143" y="9714"/>
                  </a:lnTo>
                  <a:lnTo>
                    <a:pt x="0" y="9714"/>
                  </a:lnTo>
                  <a:lnTo>
                    <a:pt x="0" y="19429"/>
                  </a:lnTo>
                  <a:lnTo>
                    <a:pt x="12143" y="14857"/>
                  </a:lnTo>
                  <a:lnTo>
                    <a:pt x="19286" y="14857"/>
                  </a:lnTo>
                  <a:lnTo>
                    <a:pt x="7143" y="19429"/>
                  </a:lnTo>
                  <a:lnTo>
                    <a:pt x="12143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4" name="Freeform 13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98" y="1759"/>
              <a:ext cx="8" cy="7"/>
            </a:xfrm>
            <a:custGeom>
              <a:avLst/>
              <a:gdLst>
                <a:gd name="T0" fmla="*/ 4 w 20000"/>
                <a:gd name="T1" fmla="*/ 7 h 20000"/>
                <a:gd name="T2" fmla="*/ 8 w 20000"/>
                <a:gd name="T3" fmla="*/ 4 h 20000"/>
                <a:gd name="T4" fmla="*/ 0 w 20000"/>
                <a:gd name="T5" fmla="*/ 0 h 20000"/>
                <a:gd name="T6" fmla="*/ 0 w 20000"/>
                <a:gd name="T7" fmla="*/ 4 h 20000"/>
                <a:gd name="T8" fmla="*/ 4 w 20000"/>
                <a:gd name="T9" fmla="*/ 7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11111" y="18889"/>
                  </a:moveTo>
                  <a:lnTo>
                    <a:pt x="18889" y="11111"/>
                  </a:lnTo>
                  <a:lnTo>
                    <a:pt x="0" y="0"/>
                  </a:lnTo>
                  <a:lnTo>
                    <a:pt x="0" y="11111"/>
                  </a:lnTo>
                  <a:lnTo>
                    <a:pt x="11111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5" name="Freeform 13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26" y="1702"/>
              <a:ext cx="7" cy="30"/>
            </a:xfrm>
            <a:custGeom>
              <a:avLst/>
              <a:gdLst>
                <a:gd name="T0" fmla="*/ 0 w 20000"/>
                <a:gd name="T1" fmla="*/ 30 h 20000"/>
                <a:gd name="T2" fmla="*/ 4 w 20000"/>
                <a:gd name="T3" fmla="*/ 13 h 20000"/>
                <a:gd name="T4" fmla="*/ 7 w 20000"/>
                <a:gd name="T5" fmla="*/ 0 h 20000"/>
                <a:gd name="T6" fmla="*/ 4 w 20000"/>
                <a:gd name="T7" fmla="*/ 3 h 20000"/>
                <a:gd name="T8" fmla="*/ 4 w 20000"/>
                <a:gd name="T9" fmla="*/ 9 h 20000"/>
                <a:gd name="T10" fmla="*/ 0 w 20000"/>
                <a:gd name="T11" fmla="*/ 20 h 20000"/>
                <a:gd name="T12" fmla="*/ 0 w 20000"/>
                <a:gd name="T13" fmla="*/ 30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0" y="19737"/>
                  </a:moveTo>
                  <a:lnTo>
                    <a:pt x="11111" y="8947"/>
                  </a:lnTo>
                  <a:lnTo>
                    <a:pt x="18889" y="0"/>
                  </a:lnTo>
                  <a:lnTo>
                    <a:pt x="11111" y="1842"/>
                  </a:lnTo>
                  <a:lnTo>
                    <a:pt x="11111" y="6316"/>
                  </a:lnTo>
                  <a:lnTo>
                    <a:pt x="0" y="13421"/>
                  </a:lnTo>
                  <a:lnTo>
                    <a:pt x="0" y="1973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6" name="Freeform 1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50" y="1688"/>
              <a:ext cx="14" cy="27"/>
            </a:xfrm>
            <a:custGeom>
              <a:avLst/>
              <a:gdLst>
                <a:gd name="T0" fmla="*/ 3 w 20000"/>
                <a:gd name="T1" fmla="*/ 28 h 20000"/>
                <a:gd name="T2" fmla="*/ 10 w 20000"/>
                <a:gd name="T3" fmla="*/ 17 h 20000"/>
                <a:gd name="T4" fmla="*/ 10 w 20000"/>
                <a:gd name="T5" fmla="*/ 14 h 20000"/>
                <a:gd name="T6" fmla="*/ 10 w 20000"/>
                <a:gd name="T7" fmla="*/ 3 h 20000"/>
                <a:gd name="T8" fmla="*/ 14 w 20000"/>
                <a:gd name="T9" fmla="*/ 0 h 20000"/>
                <a:gd name="T10" fmla="*/ 7 w 20000"/>
                <a:gd name="T11" fmla="*/ 0 h 20000"/>
                <a:gd name="T12" fmla="*/ 0 w 20000"/>
                <a:gd name="T13" fmla="*/ 7 h 20000"/>
                <a:gd name="T14" fmla="*/ 3 w 20000"/>
                <a:gd name="T15" fmla="*/ 28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000" h="20000">
                  <a:moveTo>
                    <a:pt x="4000" y="19710"/>
                  </a:moveTo>
                  <a:lnTo>
                    <a:pt x="13714" y="11884"/>
                  </a:lnTo>
                  <a:lnTo>
                    <a:pt x="13714" y="9855"/>
                  </a:lnTo>
                  <a:lnTo>
                    <a:pt x="13714" y="2029"/>
                  </a:lnTo>
                  <a:lnTo>
                    <a:pt x="19429" y="0"/>
                  </a:lnTo>
                  <a:lnTo>
                    <a:pt x="9714" y="0"/>
                  </a:lnTo>
                  <a:lnTo>
                    <a:pt x="0" y="4928"/>
                  </a:lnTo>
                  <a:lnTo>
                    <a:pt x="4000" y="1971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7" name="Freeform 14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081" y="2130"/>
              <a:ext cx="7" cy="7"/>
            </a:xfrm>
            <a:custGeom>
              <a:avLst/>
              <a:gdLst>
                <a:gd name="T0" fmla="*/ 7 w 20000"/>
                <a:gd name="T1" fmla="*/ 7 h 20000"/>
                <a:gd name="T2" fmla="*/ 7 w 20000"/>
                <a:gd name="T3" fmla="*/ 0 h 20000"/>
                <a:gd name="T4" fmla="*/ 0 w 20000"/>
                <a:gd name="T5" fmla="*/ 4 h 20000"/>
                <a:gd name="T6" fmla="*/ 7 w 20000"/>
                <a:gd name="T7" fmla="*/ 7 h 200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000" h="20000">
                  <a:moveTo>
                    <a:pt x="18889" y="18889"/>
                  </a:moveTo>
                  <a:lnTo>
                    <a:pt x="18889" y="0"/>
                  </a:lnTo>
                  <a:lnTo>
                    <a:pt x="0" y="11111"/>
                  </a:lnTo>
                  <a:lnTo>
                    <a:pt x="18889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8" name="Freeform 14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125" y="2111"/>
              <a:ext cx="7" cy="4"/>
            </a:xfrm>
            <a:custGeom>
              <a:avLst/>
              <a:gdLst>
                <a:gd name="T0" fmla="*/ 7 w 20000"/>
                <a:gd name="T1" fmla="*/ 4 h 20000"/>
                <a:gd name="T2" fmla="*/ 7 w 20000"/>
                <a:gd name="T3" fmla="*/ 0 h 20000"/>
                <a:gd name="T4" fmla="*/ 0 w 20000"/>
                <a:gd name="T5" fmla="*/ 0 h 20000"/>
                <a:gd name="T6" fmla="*/ 7 w 20000"/>
                <a:gd name="T7" fmla="*/ 4 h 200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000" h="20000">
                  <a:moveTo>
                    <a:pt x="18889" y="18182"/>
                  </a:moveTo>
                  <a:lnTo>
                    <a:pt x="18889" y="0"/>
                  </a:lnTo>
                  <a:lnTo>
                    <a:pt x="0" y="0"/>
                  </a:lnTo>
                  <a:lnTo>
                    <a:pt x="18889" y="1818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39" name="Freeform 14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105" y="2115"/>
              <a:ext cx="18" cy="14"/>
            </a:xfrm>
            <a:custGeom>
              <a:avLst/>
              <a:gdLst>
                <a:gd name="T0" fmla="*/ 11 w 20000"/>
                <a:gd name="T1" fmla="*/ 14 h 20000"/>
                <a:gd name="T2" fmla="*/ 14 w 20000"/>
                <a:gd name="T3" fmla="*/ 7 h 20000"/>
                <a:gd name="T4" fmla="*/ 18 w 20000"/>
                <a:gd name="T5" fmla="*/ 3 h 20000"/>
                <a:gd name="T6" fmla="*/ 11 w 20000"/>
                <a:gd name="T7" fmla="*/ 3 h 20000"/>
                <a:gd name="T8" fmla="*/ 11 w 20000"/>
                <a:gd name="T9" fmla="*/ 0 h 20000"/>
                <a:gd name="T10" fmla="*/ 0 w 20000"/>
                <a:gd name="T11" fmla="*/ 7 h 20000"/>
                <a:gd name="T12" fmla="*/ 0 w 20000"/>
                <a:gd name="T13" fmla="*/ 7 h 20000"/>
                <a:gd name="T14" fmla="*/ 7 w 20000"/>
                <a:gd name="T15" fmla="*/ 7 h 20000"/>
                <a:gd name="T16" fmla="*/ 7 w 20000"/>
                <a:gd name="T17" fmla="*/ 10 h 20000"/>
                <a:gd name="T18" fmla="*/ 11 w 20000"/>
                <a:gd name="T19" fmla="*/ 14 h 200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000" h="20000">
                  <a:moveTo>
                    <a:pt x="12000" y="19429"/>
                  </a:moveTo>
                  <a:lnTo>
                    <a:pt x="15111" y="9714"/>
                  </a:lnTo>
                  <a:lnTo>
                    <a:pt x="19556" y="4000"/>
                  </a:lnTo>
                  <a:lnTo>
                    <a:pt x="12000" y="4000"/>
                  </a:lnTo>
                  <a:lnTo>
                    <a:pt x="12000" y="0"/>
                  </a:lnTo>
                  <a:lnTo>
                    <a:pt x="0" y="9714"/>
                  </a:lnTo>
                  <a:lnTo>
                    <a:pt x="7556" y="9714"/>
                  </a:lnTo>
                  <a:lnTo>
                    <a:pt x="7556" y="13714"/>
                  </a:lnTo>
                  <a:lnTo>
                    <a:pt x="12000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0" name="Freeform 14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623" y="2203"/>
              <a:ext cx="38" cy="23"/>
            </a:xfrm>
            <a:custGeom>
              <a:avLst/>
              <a:gdLst>
                <a:gd name="T0" fmla="*/ 14 w 20000"/>
                <a:gd name="T1" fmla="*/ 23 h 20000"/>
                <a:gd name="T2" fmla="*/ 14 w 20000"/>
                <a:gd name="T3" fmla="*/ 19 h 20000"/>
                <a:gd name="T4" fmla="*/ 20 w 20000"/>
                <a:gd name="T5" fmla="*/ 19 h 20000"/>
                <a:gd name="T6" fmla="*/ 27 w 20000"/>
                <a:gd name="T7" fmla="*/ 13 h 20000"/>
                <a:gd name="T8" fmla="*/ 30 w 20000"/>
                <a:gd name="T9" fmla="*/ 13 h 20000"/>
                <a:gd name="T10" fmla="*/ 30 w 20000"/>
                <a:gd name="T11" fmla="*/ 9 h 20000"/>
                <a:gd name="T12" fmla="*/ 37 w 20000"/>
                <a:gd name="T13" fmla="*/ 0 h 20000"/>
                <a:gd name="T14" fmla="*/ 20 w 20000"/>
                <a:gd name="T15" fmla="*/ 7 h 20000"/>
                <a:gd name="T16" fmla="*/ 14 w 20000"/>
                <a:gd name="T17" fmla="*/ 7 h 20000"/>
                <a:gd name="T18" fmla="*/ 10 w 20000"/>
                <a:gd name="T19" fmla="*/ 9 h 20000"/>
                <a:gd name="T20" fmla="*/ 7 w 20000"/>
                <a:gd name="T21" fmla="*/ 9 h 20000"/>
                <a:gd name="T22" fmla="*/ 3 w 20000"/>
                <a:gd name="T23" fmla="*/ 13 h 20000"/>
                <a:gd name="T24" fmla="*/ 0 w 20000"/>
                <a:gd name="T25" fmla="*/ 13 h 20000"/>
                <a:gd name="T26" fmla="*/ 3 w 20000"/>
                <a:gd name="T27" fmla="*/ 19 h 20000"/>
                <a:gd name="T28" fmla="*/ 14 w 20000"/>
                <a:gd name="T29" fmla="*/ 23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000" h="20000">
                  <a:moveTo>
                    <a:pt x="7312" y="19661"/>
                  </a:moveTo>
                  <a:lnTo>
                    <a:pt x="7312" y="16949"/>
                  </a:lnTo>
                  <a:lnTo>
                    <a:pt x="10968" y="16949"/>
                  </a:lnTo>
                  <a:lnTo>
                    <a:pt x="14409" y="11525"/>
                  </a:lnTo>
                  <a:lnTo>
                    <a:pt x="16129" y="11525"/>
                  </a:lnTo>
                  <a:lnTo>
                    <a:pt x="16129" y="8136"/>
                  </a:lnTo>
                  <a:lnTo>
                    <a:pt x="19785" y="0"/>
                  </a:lnTo>
                  <a:lnTo>
                    <a:pt x="10968" y="5763"/>
                  </a:lnTo>
                  <a:lnTo>
                    <a:pt x="7312" y="5763"/>
                  </a:lnTo>
                  <a:lnTo>
                    <a:pt x="5161" y="8136"/>
                  </a:lnTo>
                  <a:lnTo>
                    <a:pt x="3656" y="8136"/>
                  </a:lnTo>
                  <a:lnTo>
                    <a:pt x="1505" y="11525"/>
                  </a:lnTo>
                  <a:lnTo>
                    <a:pt x="0" y="11525"/>
                  </a:lnTo>
                  <a:lnTo>
                    <a:pt x="1505" y="16949"/>
                  </a:lnTo>
                  <a:lnTo>
                    <a:pt x="7312" y="1966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1" name="Freeform 14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43" y="2189"/>
              <a:ext cx="7" cy="12"/>
            </a:xfrm>
            <a:custGeom>
              <a:avLst/>
              <a:gdLst>
                <a:gd name="T0" fmla="*/ 0 w 20000"/>
                <a:gd name="T1" fmla="*/ 3 h 20000"/>
                <a:gd name="T2" fmla="*/ 7 w 20000"/>
                <a:gd name="T3" fmla="*/ 0 h 20000"/>
                <a:gd name="T4" fmla="*/ 3 w 20000"/>
                <a:gd name="T5" fmla="*/ 7 h 20000"/>
                <a:gd name="T6" fmla="*/ 0 w 20000"/>
                <a:gd name="T7" fmla="*/ 11 h 20000"/>
                <a:gd name="T8" fmla="*/ 0 w 20000"/>
                <a:gd name="T9" fmla="*/ 3 h 2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000" h="20000">
                  <a:moveTo>
                    <a:pt x="0" y="5385"/>
                  </a:moveTo>
                  <a:lnTo>
                    <a:pt x="18889" y="0"/>
                  </a:lnTo>
                  <a:lnTo>
                    <a:pt x="7778" y="13077"/>
                  </a:lnTo>
                  <a:lnTo>
                    <a:pt x="0" y="19231"/>
                  </a:lnTo>
                  <a:lnTo>
                    <a:pt x="0" y="538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2" name="Freeform 14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05" y="2142"/>
              <a:ext cx="7" cy="7"/>
            </a:xfrm>
            <a:custGeom>
              <a:avLst/>
              <a:gdLst>
                <a:gd name="T0" fmla="*/ 7 w 20000"/>
                <a:gd name="T1" fmla="*/ 7 h 20000"/>
                <a:gd name="T2" fmla="*/ 4 w 20000"/>
                <a:gd name="T3" fmla="*/ 3 h 20000"/>
                <a:gd name="T4" fmla="*/ 0 w 20000"/>
                <a:gd name="T5" fmla="*/ 0 h 20000"/>
                <a:gd name="T6" fmla="*/ 4 w 20000"/>
                <a:gd name="T7" fmla="*/ 7 h 20000"/>
                <a:gd name="T8" fmla="*/ 0 w 20000"/>
                <a:gd name="T9" fmla="*/ 7 h 20000"/>
                <a:gd name="T10" fmla="*/ 7 w 20000"/>
                <a:gd name="T11" fmla="*/ 7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18889" y="18889"/>
                  </a:moveTo>
                  <a:lnTo>
                    <a:pt x="11111" y="7778"/>
                  </a:lnTo>
                  <a:lnTo>
                    <a:pt x="0" y="0"/>
                  </a:lnTo>
                  <a:lnTo>
                    <a:pt x="11111" y="18889"/>
                  </a:lnTo>
                  <a:lnTo>
                    <a:pt x="0" y="18889"/>
                  </a:lnTo>
                  <a:lnTo>
                    <a:pt x="18889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3" name="Freeform 14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02" y="2124"/>
              <a:ext cx="13" cy="6"/>
            </a:xfrm>
            <a:custGeom>
              <a:avLst/>
              <a:gdLst>
                <a:gd name="T0" fmla="*/ 14 w 20000"/>
                <a:gd name="T1" fmla="*/ 8 h 20000"/>
                <a:gd name="T2" fmla="*/ 14 w 20000"/>
                <a:gd name="T3" fmla="*/ 4 h 20000"/>
                <a:gd name="T4" fmla="*/ 10 w 20000"/>
                <a:gd name="T5" fmla="*/ 0 h 20000"/>
                <a:gd name="T6" fmla="*/ 0 w 20000"/>
                <a:gd name="T7" fmla="*/ 4 h 20000"/>
                <a:gd name="T8" fmla="*/ 3 w 20000"/>
                <a:gd name="T9" fmla="*/ 8 h 20000"/>
                <a:gd name="T10" fmla="*/ 7 w 20000"/>
                <a:gd name="T11" fmla="*/ 4 h 20000"/>
                <a:gd name="T12" fmla="*/ 7 w 20000"/>
                <a:gd name="T13" fmla="*/ 8 h 20000"/>
                <a:gd name="T14" fmla="*/ 14 w 20000"/>
                <a:gd name="T15" fmla="*/ 8 h 200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000" h="20000">
                  <a:moveTo>
                    <a:pt x="19429" y="18889"/>
                  </a:moveTo>
                  <a:lnTo>
                    <a:pt x="19429" y="11111"/>
                  </a:lnTo>
                  <a:lnTo>
                    <a:pt x="13714" y="0"/>
                  </a:lnTo>
                  <a:lnTo>
                    <a:pt x="0" y="11111"/>
                  </a:lnTo>
                  <a:lnTo>
                    <a:pt x="4000" y="18889"/>
                  </a:lnTo>
                  <a:lnTo>
                    <a:pt x="9714" y="11111"/>
                  </a:lnTo>
                  <a:lnTo>
                    <a:pt x="9714" y="18889"/>
                  </a:lnTo>
                  <a:lnTo>
                    <a:pt x="19429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4" name="Freeform 14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469" y="2203"/>
              <a:ext cx="48" cy="14"/>
            </a:xfrm>
            <a:custGeom>
              <a:avLst/>
              <a:gdLst>
                <a:gd name="T0" fmla="*/ 23 w 20000"/>
                <a:gd name="T1" fmla="*/ 14 h 20000"/>
                <a:gd name="T2" fmla="*/ 48 w 20000"/>
                <a:gd name="T3" fmla="*/ 14 h 20000"/>
                <a:gd name="T4" fmla="*/ 48 w 20000"/>
                <a:gd name="T5" fmla="*/ 10 h 20000"/>
                <a:gd name="T6" fmla="*/ 41 w 20000"/>
                <a:gd name="T7" fmla="*/ 10 h 20000"/>
                <a:gd name="T8" fmla="*/ 37 w 20000"/>
                <a:gd name="T9" fmla="*/ 7 h 20000"/>
                <a:gd name="T10" fmla="*/ 27 w 20000"/>
                <a:gd name="T11" fmla="*/ 7 h 20000"/>
                <a:gd name="T12" fmla="*/ 23 w 20000"/>
                <a:gd name="T13" fmla="*/ 7 h 20000"/>
                <a:gd name="T14" fmla="*/ 14 w 20000"/>
                <a:gd name="T15" fmla="*/ 7 h 20000"/>
                <a:gd name="T16" fmla="*/ 10 w 20000"/>
                <a:gd name="T17" fmla="*/ 0 h 20000"/>
                <a:gd name="T18" fmla="*/ 7 w 20000"/>
                <a:gd name="T19" fmla="*/ 3 h 20000"/>
                <a:gd name="T20" fmla="*/ 0 w 20000"/>
                <a:gd name="T21" fmla="*/ 3 h 20000"/>
                <a:gd name="T22" fmla="*/ 0 w 20000"/>
                <a:gd name="T23" fmla="*/ 10 h 20000"/>
                <a:gd name="T24" fmla="*/ 7 w 20000"/>
                <a:gd name="T25" fmla="*/ 10 h 20000"/>
                <a:gd name="T26" fmla="*/ 20 w 20000"/>
                <a:gd name="T27" fmla="*/ 10 h 20000"/>
                <a:gd name="T28" fmla="*/ 23 w 20000"/>
                <a:gd name="T29" fmla="*/ 14 h 200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000" h="20000">
                  <a:moveTo>
                    <a:pt x="9667" y="19429"/>
                  </a:moveTo>
                  <a:lnTo>
                    <a:pt x="19833" y="19429"/>
                  </a:lnTo>
                  <a:lnTo>
                    <a:pt x="19833" y="13714"/>
                  </a:lnTo>
                  <a:lnTo>
                    <a:pt x="17000" y="13714"/>
                  </a:lnTo>
                  <a:lnTo>
                    <a:pt x="15333" y="9714"/>
                  </a:lnTo>
                  <a:lnTo>
                    <a:pt x="11333" y="9714"/>
                  </a:lnTo>
                  <a:lnTo>
                    <a:pt x="9667" y="9714"/>
                  </a:lnTo>
                  <a:lnTo>
                    <a:pt x="5667" y="9714"/>
                  </a:lnTo>
                  <a:lnTo>
                    <a:pt x="4000" y="0"/>
                  </a:lnTo>
                  <a:lnTo>
                    <a:pt x="2833" y="4000"/>
                  </a:lnTo>
                  <a:lnTo>
                    <a:pt x="0" y="4000"/>
                  </a:lnTo>
                  <a:lnTo>
                    <a:pt x="0" y="13714"/>
                  </a:lnTo>
                  <a:lnTo>
                    <a:pt x="2833" y="13714"/>
                  </a:lnTo>
                  <a:lnTo>
                    <a:pt x="8500" y="13714"/>
                  </a:lnTo>
                  <a:lnTo>
                    <a:pt x="9667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5" name="Freeform 14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070" y="3088"/>
              <a:ext cx="717" cy="647"/>
            </a:xfrm>
            <a:custGeom>
              <a:avLst/>
              <a:gdLst>
                <a:gd name="T0" fmla="*/ 557 w 20000"/>
                <a:gd name="T1" fmla="*/ 617 h 20000"/>
                <a:gd name="T2" fmla="*/ 635 w 20000"/>
                <a:gd name="T3" fmla="*/ 535 h 20000"/>
                <a:gd name="T4" fmla="*/ 676 w 20000"/>
                <a:gd name="T5" fmla="*/ 477 h 20000"/>
                <a:gd name="T6" fmla="*/ 713 w 20000"/>
                <a:gd name="T7" fmla="*/ 376 h 20000"/>
                <a:gd name="T8" fmla="*/ 710 w 20000"/>
                <a:gd name="T9" fmla="*/ 305 h 20000"/>
                <a:gd name="T10" fmla="*/ 679 w 20000"/>
                <a:gd name="T11" fmla="*/ 267 h 20000"/>
                <a:gd name="T12" fmla="*/ 672 w 20000"/>
                <a:gd name="T13" fmla="*/ 237 h 20000"/>
                <a:gd name="T14" fmla="*/ 655 w 20000"/>
                <a:gd name="T15" fmla="*/ 213 h 20000"/>
                <a:gd name="T16" fmla="*/ 642 w 20000"/>
                <a:gd name="T17" fmla="*/ 186 h 20000"/>
                <a:gd name="T18" fmla="*/ 615 w 20000"/>
                <a:gd name="T19" fmla="*/ 159 h 20000"/>
                <a:gd name="T20" fmla="*/ 604 w 20000"/>
                <a:gd name="T21" fmla="*/ 109 h 20000"/>
                <a:gd name="T22" fmla="*/ 581 w 20000"/>
                <a:gd name="T23" fmla="*/ 77 h 20000"/>
                <a:gd name="T24" fmla="*/ 570 w 20000"/>
                <a:gd name="T25" fmla="*/ 31 h 20000"/>
                <a:gd name="T26" fmla="*/ 564 w 20000"/>
                <a:gd name="T27" fmla="*/ 0 h 20000"/>
                <a:gd name="T28" fmla="*/ 547 w 20000"/>
                <a:gd name="T29" fmla="*/ 38 h 20000"/>
                <a:gd name="T30" fmla="*/ 530 w 20000"/>
                <a:gd name="T31" fmla="*/ 115 h 20000"/>
                <a:gd name="T32" fmla="*/ 489 w 20000"/>
                <a:gd name="T33" fmla="*/ 122 h 20000"/>
                <a:gd name="T34" fmla="*/ 438 w 20000"/>
                <a:gd name="T35" fmla="*/ 91 h 20000"/>
                <a:gd name="T36" fmla="*/ 442 w 20000"/>
                <a:gd name="T37" fmla="*/ 47 h 20000"/>
                <a:gd name="T38" fmla="*/ 458 w 20000"/>
                <a:gd name="T39" fmla="*/ 31 h 20000"/>
                <a:gd name="T40" fmla="*/ 445 w 20000"/>
                <a:gd name="T41" fmla="*/ 31 h 20000"/>
                <a:gd name="T42" fmla="*/ 408 w 20000"/>
                <a:gd name="T43" fmla="*/ 24 h 20000"/>
                <a:gd name="T44" fmla="*/ 377 w 20000"/>
                <a:gd name="T45" fmla="*/ 7 h 20000"/>
                <a:gd name="T46" fmla="*/ 377 w 20000"/>
                <a:gd name="T47" fmla="*/ 27 h 20000"/>
                <a:gd name="T48" fmla="*/ 333 w 20000"/>
                <a:gd name="T49" fmla="*/ 41 h 20000"/>
                <a:gd name="T50" fmla="*/ 326 w 20000"/>
                <a:gd name="T51" fmla="*/ 81 h 20000"/>
                <a:gd name="T52" fmla="*/ 310 w 20000"/>
                <a:gd name="T53" fmla="*/ 81 h 20000"/>
                <a:gd name="T54" fmla="*/ 282 w 20000"/>
                <a:gd name="T55" fmla="*/ 61 h 20000"/>
                <a:gd name="T56" fmla="*/ 255 w 20000"/>
                <a:gd name="T57" fmla="*/ 74 h 20000"/>
                <a:gd name="T58" fmla="*/ 238 w 20000"/>
                <a:gd name="T59" fmla="*/ 84 h 20000"/>
                <a:gd name="T60" fmla="*/ 228 w 20000"/>
                <a:gd name="T61" fmla="*/ 109 h 20000"/>
                <a:gd name="T62" fmla="*/ 215 w 20000"/>
                <a:gd name="T63" fmla="*/ 102 h 20000"/>
                <a:gd name="T64" fmla="*/ 211 w 20000"/>
                <a:gd name="T65" fmla="*/ 129 h 20000"/>
                <a:gd name="T66" fmla="*/ 184 w 20000"/>
                <a:gd name="T67" fmla="*/ 129 h 20000"/>
                <a:gd name="T68" fmla="*/ 132 w 20000"/>
                <a:gd name="T69" fmla="*/ 179 h 20000"/>
                <a:gd name="T70" fmla="*/ 82 w 20000"/>
                <a:gd name="T71" fmla="*/ 193 h 20000"/>
                <a:gd name="T72" fmla="*/ 28 w 20000"/>
                <a:gd name="T73" fmla="*/ 227 h 20000"/>
                <a:gd name="T74" fmla="*/ 11 w 20000"/>
                <a:gd name="T75" fmla="*/ 260 h 20000"/>
                <a:gd name="T76" fmla="*/ 14 w 20000"/>
                <a:gd name="T77" fmla="*/ 305 h 20000"/>
                <a:gd name="T78" fmla="*/ 11 w 20000"/>
                <a:gd name="T79" fmla="*/ 315 h 20000"/>
                <a:gd name="T80" fmla="*/ 14 w 20000"/>
                <a:gd name="T81" fmla="*/ 339 h 20000"/>
                <a:gd name="T82" fmla="*/ 24 w 20000"/>
                <a:gd name="T83" fmla="*/ 423 h 20000"/>
                <a:gd name="T84" fmla="*/ 8 w 20000"/>
                <a:gd name="T85" fmla="*/ 474 h 20000"/>
                <a:gd name="T86" fmla="*/ 28 w 20000"/>
                <a:gd name="T87" fmla="*/ 508 h 20000"/>
                <a:gd name="T88" fmla="*/ 78 w 20000"/>
                <a:gd name="T89" fmla="*/ 490 h 20000"/>
                <a:gd name="T90" fmla="*/ 136 w 20000"/>
                <a:gd name="T91" fmla="*/ 488 h 20000"/>
                <a:gd name="T92" fmla="*/ 170 w 20000"/>
                <a:gd name="T93" fmla="*/ 467 h 20000"/>
                <a:gd name="T94" fmla="*/ 285 w 20000"/>
                <a:gd name="T95" fmla="*/ 440 h 20000"/>
                <a:gd name="T96" fmla="*/ 339 w 20000"/>
                <a:gd name="T97" fmla="*/ 454 h 20000"/>
                <a:gd name="T98" fmla="*/ 347 w 20000"/>
                <a:gd name="T99" fmla="*/ 481 h 20000"/>
                <a:gd name="T100" fmla="*/ 361 w 20000"/>
                <a:gd name="T101" fmla="*/ 518 h 20000"/>
                <a:gd name="T102" fmla="*/ 388 w 20000"/>
                <a:gd name="T103" fmla="*/ 501 h 20000"/>
                <a:gd name="T104" fmla="*/ 415 w 20000"/>
                <a:gd name="T105" fmla="*/ 484 h 20000"/>
                <a:gd name="T106" fmla="*/ 388 w 20000"/>
                <a:gd name="T107" fmla="*/ 529 h 20000"/>
                <a:gd name="T108" fmla="*/ 411 w 20000"/>
                <a:gd name="T109" fmla="*/ 508 h 20000"/>
                <a:gd name="T110" fmla="*/ 424 w 20000"/>
                <a:gd name="T111" fmla="*/ 542 h 20000"/>
                <a:gd name="T112" fmla="*/ 421 w 20000"/>
                <a:gd name="T113" fmla="*/ 592 h 20000"/>
                <a:gd name="T114" fmla="*/ 451 w 20000"/>
                <a:gd name="T115" fmla="*/ 617 h 20000"/>
                <a:gd name="T116" fmla="*/ 503 w 20000"/>
                <a:gd name="T117" fmla="*/ 617 h 20000"/>
                <a:gd name="T118" fmla="*/ 506 w 20000"/>
                <a:gd name="T119" fmla="*/ 626 h 20000"/>
                <a:gd name="T120" fmla="*/ 527 w 20000"/>
                <a:gd name="T121" fmla="*/ 647 h 20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0000" h="20000">
                  <a:moveTo>
                    <a:pt x="14702" y="19988"/>
                  </a:moveTo>
                  <a:lnTo>
                    <a:pt x="14780" y="19777"/>
                  </a:lnTo>
                  <a:lnTo>
                    <a:pt x="14702" y="19678"/>
                  </a:lnTo>
                  <a:lnTo>
                    <a:pt x="15259" y="19356"/>
                  </a:lnTo>
                  <a:lnTo>
                    <a:pt x="15538" y="19059"/>
                  </a:lnTo>
                  <a:lnTo>
                    <a:pt x="16286" y="19059"/>
                  </a:lnTo>
                  <a:lnTo>
                    <a:pt x="16776" y="18725"/>
                  </a:lnTo>
                  <a:lnTo>
                    <a:pt x="17044" y="17884"/>
                  </a:lnTo>
                  <a:lnTo>
                    <a:pt x="17535" y="16955"/>
                  </a:lnTo>
                  <a:lnTo>
                    <a:pt x="17713" y="16547"/>
                  </a:lnTo>
                  <a:lnTo>
                    <a:pt x="18093" y="16002"/>
                  </a:lnTo>
                  <a:lnTo>
                    <a:pt x="18182" y="15705"/>
                  </a:lnTo>
                  <a:lnTo>
                    <a:pt x="18282" y="15371"/>
                  </a:lnTo>
                  <a:lnTo>
                    <a:pt x="18851" y="14864"/>
                  </a:lnTo>
                  <a:lnTo>
                    <a:pt x="18851" y="14752"/>
                  </a:lnTo>
                  <a:lnTo>
                    <a:pt x="18851" y="14653"/>
                  </a:lnTo>
                  <a:lnTo>
                    <a:pt x="19342" y="13824"/>
                  </a:lnTo>
                  <a:lnTo>
                    <a:pt x="19520" y="13069"/>
                  </a:lnTo>
                  <a:lnTo>
                    <a:pt x="19799" y="12351"/>
                  </a:lnTo>
                  <a:lnTo>
                    <a:pt x="19900" y="11609"/>
                  </a:lnTo>
                  <a:lnTo>
                    <a:pt x="19799" y="11188"/>
                  </a:lnTo>
                  <a:lnTo>
                    <a:pt x="19989" y="10347"/>
                  </a:lnTo>
                  <a:lnTo>
                    <a:pt x="19799" y="9926"/>
                  </a:lnTo>
                  <a:lnTo>
                    <a:pt x="19900" y="9629"/>
                  </a:lnTo>
                  <a:lnTo>
                    <a:pt x="19799" y="9418"/>
                  </a:lnTo>
                  <a:lnTo>
                    <a:pt x="19610" y="9208"/>
                  </a:lnTo>
                  <a:lnTo>
                    <a:pt x="19520" y="8886"/>
                  </a:lnTo>
                  <a:lnTo>
                    <a:pt x="19342" y="8676"/>
                  </a:lnTo>
                  <a:lnTo>
                    <a:pt x="19041" y="8465"/>
                  </a:lnTo>
                  <a:lnTo>
                    <a:pt x="18929" y="8255"/>
                  </a:lnTo>
                  <a:lnTo>
                    <a:pt x="19152" y="8255"/>
                  </a:lnTo>
                  <a:lnTo>
                    <a:pt x="19152" y="7748"/>
                  </a:lnTo>
                  <a:lnTo>
                    <a:pt x="19041" y="7537"/>
                  </a:lnTo>
                  <a:lnTo>
                    <a:pt x="19041" y="7624"/>
                  </a:lnTo>
                  <a:lnTo>
                    <a:pt x="18740" y="7327"/>
                  </a:lnTo>
                  <a:lnTo>
                    <a:pt x="18740" y="7748"/>
                  </a:lnTo>
                  <a:lnTo>
                    <a:pt x="18661" y="7624"/>
                  </a:lnTo>
                  <a:lnTo>
                    <a:pt x="18472" y="7005"/>
                  </a:lnTo>
                  <a:lnTo>
                    <a:pt x="18472" y="6906"/>
                  </a:lnTo>
                  <a:lnTo>
                    <a:pt x="18282" y="6584"/>
                  </a:lnTo>
                  <a:lnTo>
                    <a:pt x="18182" y="6374"/>
                  </a:lnTo>
                  <a:lnTo>
                    <a:pt x="18371" y="6287"/>
                  </a:lnTo>
                  <a:lnTo>
                    <a:pt x="18282" y="6163"/>
                  </a:lnTo>
                  <a:lnTo>
                    <a:pt x="18182" y="5953"/>
                  </a:lnTo>
                  <a:lnTo>
                    <a:pt x="17903" y="5743"/>
                  </a:lnTo>
                  <a:lnTo>
                    <a:pt x="17803" y="5743"/>
                  </a:lnTo>
                  <a:lnTo>
                    <a:pt x="17713" y="5446"/>
                  </a:lnTo>
                  <a:lnTo>
                    <a:pt x="17423" y="5446"/>
                  </a:lnTo>
                  <a:lnTo>
                    <a:pt x="17234" y="5111"/>
                  </a:lnTo>
                  <a:lnTo>
                    <a:pt x="17156" y="4901"/>
                  </a:lnTo>
                  <a:lnTo>
                    <a:pt x="17156" y="4691"/>
                  </a:lnTo>
                  <a:lnTo>
                    <a:pt x="17156" y="4394"/>
                  </a:lnTo>
                  <a:lnTo>
                    <a:pt x="17044" y="3861"/>
                  </a:lnTo>
                  <a:lnTo>
                    <a:pt x="16854" y="3564"/>
                  </a:lnTo>
                  <a:lnTo>
                    <a:pt x="16854" y="3354"/>
                  </a:lnTo>
                  <a:lnTo>
                    <a:pt x="16854" y="2599"/>
                  </a:lnTo>
                  <a:lnTo>
                    <a:pt x="16587" y="2389"/>
                  </a:lnTo>
                  <a:lnTo>
                    <a:pt x="16475" y="2092"/>
                  </a:lnTo>
                  <a:lnTo>
                    <a:pt x="16286" y="2302"/>
                  </a:lnTo>
                  <a:lnTo>
                    <a:pt x="16207" y="2389"/>
                  </a:lnTo>
                  <a:lnTo>
                    <a:pt x="16096" y="1881"/>
                  </a:lnTo>
                  <a:lnTo>
                    <a:pt x="16096" y="1349"/>
                  </a:lnTo>
                  <a:lnTo>
                    <a:pt x="16018" y="1349"/>
                  </a:lnTo>
                  <a:lnTo>
                    <a:pt x="16018" y="1052"/>
                  </a:lnTo>
                  <a:lnTo>
                    <a:pt x="15906" y="953"/>
                  </a:lnTo>
                  <a:lnTo>
                    <a:pt x="15906" y="743"/>
                  </a:lnTo>
                  <a:lnTo>
                    <a:pt x="15828" y="743"/>
                  </a:lnTo>
                  <a:lnTo>
                    <a:pt x="15828" y="334"/>
                  </a:lnTo>
                  <a:lnTo>
                    <a:pt x="15728" y="124"/>
                  </a:lnTo>
                  <a:lnTo>
                    <a:pt x="15728" y="0"/>
                  </a:lnTo>
                  <a:lnTo>
                    <a:pt x="15449" y="210"/>
                  </a:lnTo>
                  <a:lnTo>
                    <a:pt x="15349" y="842"/>
                  </a:lnTo>
                  <a:lnTo>
                    <a:pt x="15259" y="842"/>
                  </a:lnTo>
                  <a:lnTo>
                    <a:pt x="15159" y="1052"/>
                  </a:lnTo>
                  <a:lnTo>
                    <a:pt x="15259" y="1163"/>
                  </a:lnTo>
                  <a:lnTo>
                    <a:pt x="15081" y="1460"/>
                  </a:lnTo>
                  <a:lnTo>
                    <a:pt x="15159" y="1671"/>
                  </a:lnTo>
                  <a:lnTo>
                    <a:pt x="15081" y="1881"/>
                  </a:lnTo>
                  <a:lnTo>
                    <a:pt x="15081" y="2389"/>
                  </a:lnTo>
                  <a:lnTo>
                    <a:pt x="14780" y="3564"/>
                  </a:lnTo>
                  <a:lnTo>
                    <a:pt x="14512" y="4183"/>
                  </a:lnTo>
                  <a:lnTo>
                    <a:pt x="14322" y="4282"/>
                  </a:lnTo>
                  <a:lnTo>
                    <a:pt x="14110" y="4282"/>
                  </a:lnTo>
                  <a:lnTo>
                    <a:pt x="13642" y="4072"/>
                  </a:lnTo>
                  <a:lnTo>
                    <a:pt x="13642" y="3775"/>
                  </a:lnTo>
                  <a:lnTo>
                    <a:pt x="13084" y="3651"/>
                  </a:lnTo>
                  <a:lnTo>
                    <a:pt x="12593" y="3230"/>
                  </a:lnTo>
                  <a:lnTo>
                    <a:pt x="12515" y="3020"/>
                  </a:lnTo>
                  <a:lnTo>
                    <a:pt x="12326" y="2933"/>
                  </a:lnTo>
                  <a:lnTo>
                    <a:pt x="12214" y="2809"/>
                  </a:lnTo>
                  <a:lnTo>
                    <a:pt x="11946" y="2512"/>
                  </a:lnTo>
                  <a:lnTo>
                    <a:pt x="12214" y="1980"/>
                  </a:lnTo>
                  <a:lnTo>
                    <a:pt x="12214" y="1770"/>
                  </a:lnTo>
                  <a:lnTo>
                    <a:pt x="12214" y="1671"/>
                  </a:lnTo>
                  <a:lnTo>
                    <a:pt x="12326" y="1460"/>
                  </a:lnTo>
                  <a:lnTo>
                    <a:pt x="12515" y="1349"/>
                  </a:lnTo>
                  <a:lnTo>
                    <a:pt x="12515" y="1460"/>
                  </a:lnTo>
                  <a:lnTo>
                    <a:pt x="12593" y="1262"/>
                  </a:lnTo>
                  <a:lnTo>
                    <a:pt x="12593" y="1163"/>
                  </a:lnTo>
                  <a:lnTo>
                    <a:pt x="12783" y="953"/>
                  </a:lnTo>
                  <a:lnTo>
                    <a:pt x="12705" y="842"/>
                  </a:lnTo>
                  <a:lnTo>
                    <a:pt x="12593" y="743"/>
                  </a:lnTo>
                  <a:lnTo>
                    <a:pt x="12404" y="842"/>
                  </a:lnTo>
                  <a:lnTo>
                    <a:pt x="12515" y="1052"/>
                  </a:lnTo>
                  <a:lnTo>
                    <a:pt x="12404" y="953"/>
                  </a:lnTo>
                  <a:lnTo>
                    <a:pt x="12326" y="842"/>
                  </a:lnTo>
                  <a:lnTo>
                    <a:pt x="12136" y="743"/>
                  </a:lnTo>
                  <a:lnTo>
                    <a:pt x="11835" y="842"/>
                  </a:lnTo>
                  <a:lnTo>
                    <a:pt x="11645" y="743"/>
                  </a:lnTo>
                  <a:lnTo>
                    <a:pt x="11378" y="743"/>
                  </a:lnTo>
                  <a:lnTo>
                    <a:pt x="11277" y="631"/>
                  </a:lnTo>
                  <a:lnTo>
                    <a:pt x="10898" y="545"/>
                  </a:lnTo>
                  <a:lnTo>
                    <a:pt x="10820" y="334"/>
                  </a:lnTo>
                  <a:lnTo>
                    <a:pt x="10708" y="334"/>
                  </a:lnTo>
                  <a:lnTo>
                    <a:pt x="10519" y="210"/>
                  </a:lnTo>
                  <a:lnTo>
                    <a:pt x="10329" y="210"/>
                  </a:lnTo>
                  <a:lnTo>
                    <a:pt x="10441" y="421"/>
                  </a:lnTo>
                  <a:lnTo>
                    <a:pt x="10519" y="421"/>
                  </a:lnTo>
                  <a:lnTo>
                    <a:pt x="10630" y="842"/>
                  </a:lnTo>
                  <a:lnTo>
                    <a:pt x="10519" y="842"/>
                  </a:lnTo>
                  <a:lnTo>
                    <a:pt x="9872" y="842"/>
                  </a:lnTo>
                  <a:lnTo>
                    <a:pt x="9760" y="953"/>
                  </a:lnTo>
                  <a:lnTo>
                    <a:pt x="9760" y="1052"/>
                  </a:lnTo>
                  <a:lnTo>
                    <a:pt x="9571" y="1052"/>
                  </a:lnTo>
                  <a:lnTo>
                    <a:pt x="9281" y="1262"/>
                  </a:lnTo>
                  <a:lnTo>
                    <a:pt x="9381" y="1559"/>
                  </a:lnTo>
                  <a:lnTo>
                    <a:pt x="9191" y="1559"/>
                  </a:lnTo>
                  <a:lnTo>
                    <a:pt x="9091" y="1881"/>
                  </a:lnTo>
                  <a:lnTo>
                    <a:pt x="8901" y="2092"/>
                  </a:lnTo>
                  <a:lnTo>
                    <a:pt x="9091" y="2512"/>
                  </a:lnTo>
                  <a:lnTo>
                    <a:pt x="9013" y="2512"/>
                  </a:lnTo>
                  <a:lnTo>
                    <a:pt x="9091" y="2723"/>
                  </a:lnTo>
                  <a:lnTo>
                    <a:pt x="8901" y="2512"/>
                  </a:lnTo>
                  <a:lnTo>
                    <a:pt x="8823" y="2599"/>
                  </a:lnTo>
                  <a:lnTo>
                    <a:pt x="8634" y="2512"/>
                  </a:lnTo>
                  <a:lnTo>
                    <a:pt x="8444" y="2389"/>
                  </a:lnTo>
                  <a:lnTo>
                    <a:pt x="8254" y="2723"/>
                  </a:lnTo>
                  <a:lnTo>
                    <a:pt x="8143" y="2512"/>
                  </a:lnTo>
                  <a:lnTo>
                    <a:pt x="8332" y="2302"/>
                  </a:lnTo>
                  <a:lnTo>
                    <a:pt x="7875" y="1881"/>
                  </a:lnTo>
                  <a:lnTo>
                    <a:pt x="7764" y="1671"/>
                  </a:lnTo>
                  <a:lnTo>
                    <a:pt x="7574" y="1980"/>
                  </a:lnTo>
                  <a:lnTo>
                    <a:pt x="7496" y="1770"/>
                  </a:lnTo>
                  <a:lnTo>
                    <a:pt x="7384" y="1881"/>
                  </a:lnTo>
                  <a:lnTo>
                    <a:pt x="7117" y="2302"/>
                  </a:lnTo>
                  <a:lnTo>
                    <a:pt x="7016" y="2092"/>
                  </a:lnTo>
                  <a:lnTo>
                    <a:pt x="6737" y="2302"/>
                  </a:lnTo>
                  <a:lnTo>
                    <a:pt x="6927" y="2599"/>
                  </a:lnTo>
                  <a:lnTo>
                    <a:pt x="6737" y="2512"/>
                  </a:lnTo>
                  <a:lnTo>
                    <a:pt x="6637" y="2599"/>
                  </a:lnTo>
                  <a:lnTo>
                    <a:pt x="6637" y="2809"/>
                  </a:lnTo>
                  <a:lnTo>
                    <a:pt x="6559" y="2723"/>
                  </a:lnTo>
                  <a:lnTo>
                    <a:pt x="6369" y="2933"/>
                  </a:lnTo>
                  <a:lnTo>
                    <a:pt x="6369" y="3144"/>
                  </a:lnTo>
                  <a:lnTo>
                    <a:pt x="6369" y="3354"/>
                  </a:lnTo>
                  <a:lnTo>
                    <a:pt x="6447" y="3354"/>
                  </a:lnTo>
                  <a:lnTo>
                    <a:pt x="6258" y="3354"/>
                  </a:lnTo>
                  <a:lnTo>
                    <a:pt x="6180" y="3230"/>
                  </a:lnTo>
                  <a:lnTo>
                    <a:pt x="6068" y="3354"/>
                  </a:lnTo>
                  <a:lnTo>
                    <a:pt x="5990" y="3144"/>
                  </a:lnTo>
                  <a:lnTo>
                    <a:pt x="5878" y="3230"/>
                  </a:lnTo>
                  <a:lnTo>
                    <a:pt x="5990" y="3564"/>
                  </a:lnTo>
                  <a:lnTo>
                    <a:pt x="6068" y="3775"/>
                  </a:lnTo>
                  <a:lnTo>
                    <a:pt x="5878" y="3651"/>
                  </a:lnTo>
                  <a:lnTo>
                    <a:pt x="5878" y="3973"/>
                  </a:lnTo>
                  <a:lnTo>
                    <a:pt x="5689" y="3564"/>
                  </a:lnTo>
                  <a:lnTo>
                    <a:pt x="5611" y="3354"/>
                  </a:lnTo>
                  <a:lnTo>
                    <a:pt x="5499" y="3354"/>
                  </a:lnTo>
                  <a:lnTo>
                    <a:pt x="5421" y="3564"/>
                  </a:lnTo>
                  <a:lnTo>
                    <a:pt x="5120" y="3973"/>
                  </a:lnTo>
                  <a:lnTo>
                    <a:pt x="5120" y="4282"/>
                  </a:lnTo>
                  <a:lnTo>
                    <a:pt x="5120" y="4493"/>
                  </a:lnTo>
                  <a:lnTo>
                    <a:pt x="4852" y="4604"/>
                  </a:lnTo>
                  <a:lnTo>
                    <a:pt x="4562" y="5111"/>
                  </a:lnTo>
                  <a:lnTo>
                    <a:pt x="3692" y="5532"/>
                  </a:lnTo>
                  <a:lnTo>
                    <a:pt x="3424" y="5656"/>
                  </a:lnTo>
                  <a:lnTo>
                    <a:pt x="3123" y="5743"/>
                  </a:lnTo>
                  <a:lnTo>
                    <a:pt x="2856" y="5743"/>
                  </a:lnTo>
                  <a:lnTo>
                    <a:pt x="2566" y="5953"/>
                  </a:lnTo>
                  <a:lnTo>
                    <a:pt x="2298" y="5953"/>
                  </a:lnTo>
                  <a:lnTo>
                    <a:pt x="1729" y="6287"/>
                  </a:lnTo>
                  <a:lnTo>
                    <a:pt x="1350" y="6485"/>
                  </a:lnTo>
                  <a:lnTo>
                    <a:pt x="1049" y="6584"/>
                  </a:lnTo>
                  <a:lnTo>
                    <a:pt x="859" y="7005"/>
                  </a:lnTo>
                  <a:lnTo>
                    <a:pt x="781" y="7005"/>
                  </a:lnTo>
                  <a:lnTo>
                    <a:pt x="859" y="6584"/>
                  </a:lnTo>
                  <a:lnTo>
                    <a:pt x="669" y="6906"/>
                  </a:lnTo>
                  <a:lnTo>
                    <a:pt x="591" y="7215"/>
                  </a:lnTo>
                  <a:lnTo>
                    <a:pt x="491" y="7624"/>
                  </a:lnTo>
                  <a:lnTo>
                    <a:pt x="301" y="8045"/>
                  </a:lnTo>
                  <a:lnTo>
                    <a:pt x="301" y="8255"/>
                  </a:lnTo>
                  <a:lnTo>
                    <a:pt x="402" y="9010"/>
                  </a:lnTo>
                  <a:lnTo>
                    <a:pt x="491" y="9208"/>
                  </a:lnTo>
                  <a:lnTo>
                    <a:pt x="491" y="9629"/>
                  </a:lnTo>
                  <a:lnTo>
                    <a:pt x="402" y="9418"/>
                  </a:lnTo>
                  <a:lnTo>
                    <a:pt x="301" y="9418"/>
                  </a:lnTo>
                  <a:lnTo>
                    <a:pt x="301" y="9208"/>
                  </a:lnTo>
                  <a:lnTo>
                    <a:pt x="212" y="9097"/>
                  </a:lnTo>
                  <a:lnTo>
                    <a:pt x="212" y="9418"/>
                  </a:lnTo>
                  <a:lnTo>
                    <a:pt x="301" y="9728"/>
                  </a:lnTo>
                  <a:lnTo>
                    <a:pt x="212" y="9728"/>
                  </a:lnTo>
                  <a:lnTo>
                    <a:pt x="112" y="9418"/>
                  </a:lnTo>
                  <a:lnTo>
                    <a:pt x="0" y="9418"/>
                  </a:lnTo>
                  <a:lnTo>
                    <a:pt x="212" y="10050"/>
                  </a:lnTo>
                  <a:lnTo>
                    <a:pt x="402" y="10470"/>
                  </a:lnTo>
                  <a:lnTo>
                    <a:pt x="301" y="10891"/>
                  </a:lnTo>
                  <a:lnTo>
                    <a:pt x="491" y="11101"/>
                  </a:lnTo>
                  <a:lnTo>
                    <a:pt x="591" y="11522"/>
                  </a:lnTo>
                  <a:lnTo>
                    <a:pt x="491" y="12240"/>
                  </a:lnTo>
                  <a:lnTo>
                    <a:pt x="669" y="13069"/>
                  </a:lnTo>
                  <a:lnTo>
                    <a:pt x="781" y="13490"/>
                  </a:lnTo>
                  <a:lnTo>
                    <a:pt x="591" y="14035"/>
                  </a:lnTo>
                  <a:lnTo>
                    <a:pt x="491" y="14035"/>
                  </a:lnTo>
                  <a:lnTo>
                    <a:pt x="402" y="14542"/>
                  </a:lnTo>
                  <a:lnTo>
                    <a:pt x="212" y="14653"/>
                  </a:lnTo>
                  <a:lnTo>
                    <a:pt x="112" y="14653"/>
                  </a:lnTo>
                  <a:lnTo>
                    <a:pt x="0" y="15074"/>
                  </a:lnTo>
                  <a:lnTo>
                    <a:pt x="301" y="15161"/>
                  </a:lnTo>
                  <a:lnTo>
                    <a:pt x="491" y="15495"/>
                  </a:lnTo>
                  <a:lnTo>
                    <a:pt x="781" y="15705"/>
                  </a:lnTo>
                  <a:lnTo>
                    <a:pt x="1160" y="15705"/>
                  </a:lnTo>
                  <a:lnTo>
                    <a:pt x="1428" y="15582"/>
                  </a:lnTo>
                  <a:lnTo>
                    <a:pt x="1807" y="15371"/>
                  </a:lnTo>
                  <a:lnTo>
                    <a:pt x="2108" y="15285"/>
                  </a:lnTo>
                  <a:lnTo>
                    <a:pt x="2186" y="15161"/>
                  </a:lnTo>
                  <a:lnTo>
                    <a:pt x="2666" y="14963"/>
                  </a:lnTo>
                  <a:lnTo>
                    <a:pt x="2945" y="14864"/>
                  </a:lnTo>
                  <a:lnTo>
                    <a:pt x="3503" y="14963"/>
                  </a:lnTo>
                  <a:lnTo>
                    <a:pt x="3614" y="15161"/>
                  </a:lnTo>
                  <a:lnTo>
                    <a:pt x="3804" y="15074"/>
                  </a:lnTo>
                  <a:lnTo>
                    <a:pt x="4071" y="15074"/>
                  </a:lnTo>
                  <a:lnTo>
                    <a:pt x="4183" y="15074"/>
                  </a:lnTo>
                  <a:lnTo>
                    <a:pt x="4451" y="14963"/>
                  </a:lnTo>
                  <a:lnTo>
                    <a:pt x="4562" y="14752"/>
                  </a:lnTo>
                  <a:lnTo>
                    <a:pt x="4752" y="14443"/>
                  </a:lnTo>
                  <a:lnTo>
                    <a:pt x="5042" y="14245"/>
                  </a:lnTo>
                  <a:lnTo>
                    <a:pt x="5800" y="13911"/>
                  </a:lnTo>
                  <a:lnTo>
                    <a:pt x="6258" y="14035"/>
                  </a:lnTo>
                  <a:lnTo>
                    <a:pt x="7117" y="13700"/>
                  </a:lnTo>
                  <a:lnTo>
                    <a:pt x="7953" y="13614"/>
                  </a:lnTo>
                  <a:lnTo>
                    <a:pt x="8444" y="13490"/>
                  </a:lnTo>
                  <a:lnTo>
                    <a:pt x="8901" y="13911"/>
                  </a:lnTo>
                  <a:lnTo>
                    <a:pt x="9091" y="13911"/>
                  </a:lnTo>
                  <a:lnTo>
                    <a:pt x="9281" y="14121"/>
                  </a:lnTo>
                  <a:lnTo>
                    <a:pt x="9470" y="14035"/>
                  </a:lnTo>
                  <a:lnTo>
                    <a:pt x="9682" y="14245"/>
                  </a:lnTo>
                  <a:lnTo>
                    <a:pt x="9571" y="14332"/>
                  </a:lnTo>
                  <a:lnTo>
                    <a:pt x="9760" y="14443"/>
                  </a:lnTo>
                  <a:lnTo>
                    <a:pt x="9682" y="14542"/>
                  </a:lnTo>
                  <a:lnTo>
                    <a:pt x="9682" y="14864"/>
                  </a:lnTo>
                  <a:lnTo>
                    <a:pt x="9872" y="14963"/>
                  </a:lnTo>
                  <a:lnTo>
                    <a:pt x="9950" y="15285"/>
                  </a:lnTo>
                  <a:lnTo>
                    <a:pt x="10061" y="15582"/>
                  </a:lnTo>
                  <a:lnTo>
                    <a:pt x="10061" y="15916"/>
                  </a:lnTo>
                  <a:lnTo>
                    <a:pt x="10061" y="16002"/>
                  </a:lnTo>
                  <a:lnTo>
                    <a:pt x="10139" y="16213"/>
                  </a:lnTo>
                  <a:lnTo>
                    <a:pt x="10329" y="16213"/>
                  </a:lnTo>
                  <a:lnTo>
                    <a:pt x="10251" y="16002"/>
                  </a:lnTo>
                  <a:lnTo>
                    <a:pt x="10441" y="15792"/>
                  </a:lnTo>
                  <a:lnTo>
                    <a:pt x="10820" y="15495"/>
                  </a:lnTo>
                  <a:lnTo>
                    <a:pt x="11088" y="15285"/>
                  </a:lnTo>
                  <a:lnTo>
                    <a:pt x="11378" y="14864"/>
                  </a:lnTo>
                  <a:lnTo>
                    <a:pt x="11467" y="14864"/>
                  </a:lnTo>
                  <a:lnTo>
                    <a:pt x="11567" y="14443"/>
                  </a:lnTo>
                  <a:lnTo>
                    <a:pt x="11567" y="14963"/>
                  </a:lnTo>
                  <a:lnTo>
                    <a:pt x="11467" y="15074"/>
                  </a:lnTo>
                  <a:lnTo>
                    <a:pt x="11378" y="15371"/>
                  </a:lnTo>
                  <a:lnTo>
                    <a:pt x="11088" y="15792"/>
                  </a:lnTo>
                  <a:lnTo>
                    <a:pt x="10998" y="16337"/>
                  </a:lnTo>
                  <a:lnTo>
                    <a:pt x="10820" y="16337"/>
                  </a:lnTo>
                  <a:lnTo>
                    <a:pt x="10708" y="16547"/>
                  </a:lnTo>
                  <a:lnTo>
                    <a:pt x="10898" y="16423"/>
                  </a:lnTo>
                  <a:lnTo>
                    <a:pt x="11088" y="16423"/>
                  </a:lnTo>
                  <a:lnTo>
                    <a:pt x="11277" y="15916"/>
                  </a:lnTo>
                  <a:lnTo>
                    <a:pt x="11467" y="15705"/>
                  </a:lnTo>
                  <a:lnTo>
                    <a:pt x="11567" y="16337"/>
                  </a:lnTo>
                  <a:lnTo>
                    <a:pt x="11467" y="16634"/>
                  </a:lnTo>
                  <a:lnTo>
                    <a:pt x="11277" y="16844"/>
                  </a:lnTo>
                  <a:lnTo>
                    <a:pt x="11567" y="16757"/>
                  </a:lnTo>
                  <a:lnTo>
                    <a:pt x="11835" y="16757"/>
                  </a:lnTo>
                  <a:lnTo>
                    <a:pt x="11835" y="16844"/>
                  </a:lnTo>
                  <a:lnTo>
                    <a:pt x="11645" y="16955"/>
                  </a:lnTo>
                  <a:lnTo>
                    <a:pt x="11946" y="17587"/>
                  </a:lnTo>
                  <a:lnTo>
                    <a:pt x="11757" y="18007"/>
                  </a:lnTo>
                  <a:lnTo>
                    <a:pt x="11757" y="18304"/>
                  </a:lnTo>
                  <a:lnTo>
                    <a:pt x="11946" y="18639"/>
                  </a:lnTo>
                  <a:lnTo>
                    <a:pt x="12025" y="18849"/>
                  </a:lnTo>
                  <a:lnTo>
                    <a:pt x="12214" y="18936"/>
                  </a:lnTo>
                  <a:lnTo>
                    <a:pt x="12515" y="19146"/>
                  </a:lnTo>
                  <a:lnTo>
                    <a:pt x="12593" y="19059"/>
                  </a:lnTo>
                  <a:lnTo>
                    <a:pt x="12783" y="19270"/>
                  </a:lnTo>
                  <a:lnTo>
                    <a:pt x="13084" y="19356"/>
                  </a:lnTo>
                  <a:lnTo>
                    <a:pt x="13352" y="19678"/>
                  </a:lnTo>
                  <a:lnTo>
                    <a:pt x="14021" y="19270"/>
                  </a:lnTo>
                  <a:lnTo>
                    <a:pt x="14021" y="19059"/>
                  </a:lnTo>
                  <a:lnTo>
                    <a:pt x="13921" y="19059"/>
                  </a:lnTo>
                  <a:lnTo>
                    <a:pt x="14211" y="18936"/>
                  </a:lnTo>
                  <a:lnTo>
                    <a:pt x="14211" y="19146"/>
                  </a:lnTo>
                  <a:lnTo>
                    <a:pt x="14021" y="19356"/>
                  </a:lnTo>
                  <a:lnTo>
                    <a:pt x="14110" y="19356"/>
                  </a:lnTo>
                  <a:lnTo>
                    <a:pt x="14400" y="19146"/>
                  </a:lnTo>
                  <a:lnTo>
                    <a:pt x="14400" y="19356"/>
                  </a:lnTo>
                  <a:lnTo>
                    <a:pt x="14400" y="19468"/>
                  </a:lnTo>
                  <a:lnTo>
                    <a:pt x="14512" y="19567"/>
                  </a:lnTo>
                  <a:lnTo>
                    <a:pt x="14702" y="19988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6" name="Freeform 14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6045" y="3645"/>
              <a:ext cx="102" cy="212"/>
            </a:xfrm>
            <a:custGeom>
              <a:avLst/>
              <a:gdLst>
                <a:gd name="T0" fmla="*/ 3 w 20000"/>
                <a:gd name="T1" fmla="*/ 201 h 20000"/>
                <a:gd name="T2" fmla="*/ 0 w 20000"/>
                <a:gd name="T3" fmla="*/ 204 h 20000"/>
                <a:gd name="T4" fmla="*/ 0 w 20000"/>
                <a:gd name="T5" fmla="*/ 197 h 20000"/>
                <a:gd name="T6" fmla="*/ 3 w 20000"/>
                <a:gd name="T7" fmla="*/ 190 h 20000"/>
                <a:gd name="T8" fmla="*/ 10 w 20000"/>
                <a:gd name="T9" fmla="*/ 174 h 20000"/>
                <a:gd name="T10" fmla="*/ 10 w 20000"/>
                <a:gd name="T11" fmla="*/ 160 h 20000"/>
                <a:gd name="T12" fmla="*/ 7 w 20000"/>
                <a:gd name="T13" fmla="*/ 153 h 20000"/>
                <a:gd name="T14" fmla="*/ 3 w 20000"/>
                <a:gd name="T15" fmla="*/ 146 h 20000"/>
                <a:gd name="T16" fmla="*/ 0 w 20000"/>
                <a:gd name="T17" fmla="*/ 140 h 20000"/>
                <a:gd name="T18" fmla="*/ 3 w 20000"/>
                <a:gd name="T19" fmla="*/ 133 h 20000"/>
                <a:gd name="T20" fmla="*/ 10 w 20000"/>
                <a:gd name="T21" fmla="*/ 129 h 20000"/>
                <a:gd name="T22" fmla="*/ 16 w 20000"/>
                <a:gd name="T23" fmla="*/ 106 h 20000"/>
                <a:gd name="T24" fmla="*/ 20 w 20000"/>
                <a:gd name="T25" fmla="*/ 109 h 20000"/>
                <a:gd name="T26" fmla="*/ 20 w 20000"/>
                <a:gd name="T27" fmla="*/ 95 h 20000"/>
                <a:gd name="T28" fmla="*/ 20 w 20000"/>
                <a:gd name="T29" fmla="*/ 79 h 20000"/>
                <a:gd name="T30" fmla="*/ 23 w 20000"/>
                <a:gd name="T31" fmla="*/ 79 h 20000"/>
                <a:gd name="T32" fmla="*/ 27 w 20000"/>
                <a:gd name="T33" fmla="*/ 72 h 20000"/>
                <a:gd name="T34" fmla="*/ 20 w 20000"/>
                <a:gd name="T35" fmla="*/ 72 h 20000"/>
                <a:gd name="T36" fmla="*/ 20 w 20000"/>
                <a:gd name="T37" fmla="*/ 61 h 20000"/>
                <a:gd name="T38" fmla="*/ 20 w 20000"/>
                <a:gd name="T39" fmla="*/ 58 h 20000"/>
                <a:gd name="T40" fmla="*/ 23 w 20000"/>
                <a:gd name="T41" fmla="*/ 61 h 20000"/>
                <a:gd name="T42" fmla="*/ 23 w 20000"/>
                <a:gd name="T43" fmla="*/ 58 h 20000"/>
                <a:gd name="T44" fmla="*/ 23 w 20000"/>
                <a:gd name="T45" fmla="*/ 51 h 20000"/>
                <a:gd name="T46" fmla="*/ 20 w 20000"/>
                <a:gd name="T47" fmla="*/ 51 h 20000"/>
                <a:gd name="T48" fmla="*/ 16 w 20000"/>
                <a:gd name="T49" fmla="*/ 54 h 20000"/>
                <a:gd name="T50" fmla="*/ 14 w 20000"/>
                <a:gd name="T51" fmla="*/ 18 h 20000"/>
                <a:gd name="T52" fmla="*/ 10 w 20000"/>
                <a:gd name="T53" fmla="*/ 0 h 20000"/>
                <a:gd name="T54" fmla="*/ 14 w 20000"/>
                <a:gd name="T55" fmla="*/ 0 h 20000"/>
                <a:gd name="T56" fmla="*/ 14 w 20000"/>
                <a:gd name="T57" fmla="*/ 4 h 20000"/>
                <a:gd name="T58" fmla="*/ 14 w 20000"/>
                <a:gd name="T59" fmla="*/ 11 h 20000"/>
                <a:gd name="T60" fmla="*/ 16 w 20000"/>
                <a:gd name="T61" fmla="*/ 14 h 20000"/>
                <a:gd name="T62" fmla="*/ 23 w 20000"/>
                <a:gd name="T63" fmla="*/ 18 h 20000"/>
                <a:gd name="T64" fmla="*/ 27 w 20000"/>
                <a:gd name="T65" fmla="*/ 24 h 20000"/>
                <a:gd name="T66" fmla="*/ 30 w 20000"/>
                <a:gd name="T67" fmla="*/ 24 h 20000"/>
                <a:gd name="T68" fmla="*/ 30 w 20000"/>
                <a:gd name="T69" fmla="*/ 38 h 20000"/>
                <a:gd name="T70" fmla="*/ 27 w 20000"/>
                <a:gd name="T71" fmla="*/ 41 h 20000"/>
                <a:gd name="T72" fmla="*/ 30 w 20000"/>
                <a:gd name="T73" fmla="*/ 47 h 20000"/>
                <a:gd name="T74" fmla="*/ 30 w 20000"/>
                <a:gd name="T75" fmla="*/ 58 h 20000"/>
                <a:gd name="T76" fmla="*/ 34 w 20000"/>
                <a:gd name="T77" fmla="*/ 68 h 20000"/>
                <a:gd name="T78" fmla="*/ 37 w 20000"/>
                <a:gd name="T79" fmla="*/ 79 h 20000"/>
                <a:gd name="T80" fmla="*/ 44 w 20000"/>
                <a:gd name="T81" fmla="*/ 79 h 20000"/>
                <a:gd name="T82" fmla="*/ 51 w 20000"/>
                <a:gd name="T83" fmla="*/ 65 h 20000"/>
                <a:gd name="T84" fmla="*/ 51 w 20000"/>
                <a:gd name="T85" fmla="*/ 61 h 20000"/>
                <a:gd name="T86" fmla="*/ 51 w 20000"/>
                <a:gd name="T87" fmla="*/ 54 h 20000"/>
                <a:gd name="T88" fmla="*/ 61 w 20000"/>
                <a:gd name="T89" fmla="*/ 54 h 20000"/>
                <a:gd name="T90" fmla="*/ 61 w 20000"/>
                <a:gd name="T91" fmla="*/ 65 h 20000"/>
                <a:gd name="T92" fmla="*/ 72 w 20000"/>
                <a:gd name="T93" fmla="*/ 75 h 20000"/>
                <a:gd name="T94" fmla="*/ 81 w 20000"/>
                <a:gd name="T95" fmla="*/ 75 h 20000"/>
                <a:gd name="T96" fmla="*/ 92 w 20000"/>
                <a:gd name="T97" fmla="*/ 65 h 20000"/>
                <a:gd name="T98" fmla="*/ 102 w 20000"/>
                <a:gd name="T99" fmla="*/ 65 h 20000"/>
                <a:gd name="T100" fmla="*/ 102 w 20000"/>
                <a:gd name="T101" fmla="*/ 75 h 20000"/>
                <a:gd name="T102" fmla="*/ 92 w 20000"/>
                <a:gd name="T103" fmla="*/ 85 h 20000"/>
                <a:gd name="T104" fmla="*/ 61 w 20000"/>
                <a:gd name="T105" fmla="*/ 146 h 20000"/>
                <a:gd name="T106" fmla="*/ 40 w 20000"/>
                <a:gd name="T107" fmla="*/ 167 h 20000"/>
                <a:gd name="T108" fmla="*/ 27 w 20000"/>
                <a:gd name="T109" fmla="*/ 181 h 20000"/>
                <a:gd name="T110" fmla="*/ 16 w 20000"/>
                <a:gd name="T111" fmla="*/ 194 h 20000"/>
                <a:gd name="T112" fmla="*/ 3 w 20000"/>
                <a:gd name="T113" fmla="*/ 211 h 20000"/>
                <a:gd name="T114" fmla="*/ 3 w 20000"/>
                <a:gd name="T115" fmla="*/ 201 h 200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00" h="20000">
                  <a:moveTo>
                    <a:pt x="549" y="19011"/>
                  </a:moveTo>
                  <a:lnTo>
                    <a:pt x="0" y="19316"/>
                  </a:lnTo>
                  <a:lnTo>
                    <a:pt x="0" y="18669"/>
                  </a:lnTo>
                  <a:lnTo>
                    <a:pt x="549" y="18023"/>
                  </a:lnTo>
                  <a:lnTo>
                    <a:pt x="1882" y="16464"/>
                  </a:lnTo>
                  <a:lnTo>
                    <a:pt x="1882" y="15171"/>
                  </a:lnTo>
                  <a:lnTo>
                    <a:pt x="1333" y="14525"/>
                  </a:lnTo>
                  <a:lnTo>
                    <a:pt x="549" y="13878"/>
                  </a:lnTo>
                  <a:lnTo>
                    <a:pt x="0" y="13232"/>
                  </a:lnTo>
                  <a:lnTo>
                    <a:pt x="549" y="12586"/>
                  </a:lnTo>
                  <a:lnTo>
                    <a:pt x="1882" y="12243"/>
                  </a:lnTo>
                  <a:lnTo>
                    <a:pt x="3216" y="10038"/>
                  </a:lnTo>
                  <a:lnTo>
                    <a:pt x="4000" y="10304"/>
                  </a:lnTo>
                  <a:lnTo>
                    <a:pt x="4000" y="9011"/>
                  </a:lnTo>
                  <a:lnTo>
                    <a:pt x="4000" y="7452"/>
                  </a:lnTo>
                  <a:lnTo>
                    <a:pt x="4549" y="7452"/>
                  </a:lnTo>
                  <a:lnTo>
                    <a:pt x="5333" y="6806"/>
                  </a:lnTo>
                  <a:lnTo>
                    <a:pt x="4000" y="6806"/>
                  </a:lnTo>
                  <a:lnTo>
                    <a:pt x="4000" y="5779"/>
                  </a:lnTo>
                  <a:lnTo>
                    <a:pt x="4000" y="5513"/>
                  </a:lnTo>
                  <a:lnTo>
                    <a:pt x="4549" y="5779"/>
                  </a:lnTo>
                  <a:lnTo>
                    <a:pt x="4549" y="5513"/>
                  </a:lnTo>
                  <a:lnTo>
                    <a:pt x="4549" y="4867"/>
                  </a:lnTo>
                  <a:lnTo>
                    <a:pt x="4000" y="4867"/>
                  </a:lnTo>
                  <a:lnTo>
                    <a:pt x="3216" y="5133"/>
                  </a:lnTo>
                  <a:lnTo>
                    <a:pt x="2667" y="1673"/>
                  </a:lnTo>
                  <a:lnTo>
                    <a:pt x="1882" y="0"/>
                  </a:lnTo>
                  <a:lnTo>
                    <a:pt x="2667" y="0"/>
                  </a:lnTo>
                  <a:lnTo>
                    <a:pt x="2667" y="380"/>
                  </a:lnTo>
                  <a:lnTo>
                    <a:pt x="2667" y="1027"/>
                  </a:lnTo>
                  <a:lnTo>
                    <a:pt x="3216" y="1293"/>
                  </a:lnTo>
                  <a:lnTo>
                    <a:pt x="4549" y="1673"/>
                  </a:lnTo>
                  <a:lnTo>
                    <a:pt x="5333" y="2281"/>
                  </a:lnTo>
                  <a:lnTo>
                    <a:pt x="5882" y="2281"/>
                  </a:lnTo>
                  <a:lnTo>
                    <a:pt x="5882" y="3574"/>
                  </a:lnTo>
                  <a:lnTo>
                    <a:pt x="5333" y="3878"/>
                  </a:lnTo>
                  <a:lnTo>
                    <a:pt x="5882" y="4487"/>
                  </a:lnTo>
                  <a:lnTo>
                    <a:pt x="5882" y="5513"/>
                  </a:lnTo>
                  <a:lnTo>
                    <a:pt x="6667" y="6426"/>
                  </a:lnTo>
                  <a:lnTo>
                    <a:pt x="7216" y="7452"/>
                  </a:lnTo>
                  <a:lnTo>
                    <a:pt x="8706" y="7452"/>
                  </a:lnTo>
                  <a:lnTo>
                    <a:pt x="10039" y="6160"/>
                  </a:lnTo>
                  <a:lnTo>
                    <a:pt x="10039" y="5779"/>
                  </a:lnTo>
                  <a:lnTo>
                    <a:pt x="10039" y="5133"/>
                  </a:lnTo>
                  <a:lnTo>
                    <a:pt x="11922" y="5133"/>
                  </a:lnTo>
                  <a:lnTo>
                    <a:pt x="11922" y="6160"/>
                  </a:lnTo>
                  <a:lnTo>
                    <a:pt x="14039" y="7072"/>
                  </a:lnTo>
                  <a:lnTo>
                    <a:pt x="15922" y="7072"/>
                  </a:lnTo>
                  <a:lnTo>
                    <a:pt x="17961" y="6160"/>
                  </a:lnTo>
                  <a:lnTo>
                    <a:pt x="19922" y="6160"/>
                  </a:lnTo>
                  <a:lnTo>
                    <a:pt x="19922" y="7072"/>
                  </a:lnTo>
                  <a:lnTo>
                    <a:pt x="17961" y="8099"/>
                  </a:lnTo>
                  <a:lnTo>
                    <a:pt x="11922" y="13878"/>
                  </a:lnTo>
                  <a:lnTo>
                    <a:pt x="7922" y="15817"/>
                  </a:lnTo>
                  <a:lnTo>
                    <a:pt x="5333" y="17110"/>
                  </a:lnTo>
                  <a:lnTo>
                    <a:pt x="3216" y="18365"/>
                  </a:lnTo>
                  <a:lnTo>
                    <a:pt x="549" y="19962"/>
                  </a:lnTo>
                  <a:lnTo>
                    <a:pt x="549" y="19011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7" name="Freeform 15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885" y="3815"/>
              <a:ext cx="157" cy="182"/>
            </a:xfrm>
            <a:custGeom>
              <a:avLst/>
              <a:gdLst>
                <a:gd name="T0" fmla="*/ 51 w 20000"/>
                <a:gd name="T1" fmla="*/ 179 h 20000"/>
                <a:gd name="T2" fmla="*/ 65 w 20000"/>
                <a:gd name="T3" fmla="*/ 165 h 20000"/>
                <a:gd name="T4" fmla="*/ 75 w 20000"/>
                <a:gd name="T5" fmla="*/ 158 h 20000"/>
                <a:gd name="T6" fmla="*/ 79 w 20000"/>
                <a:gd name="T7" fmla="*/ 149 h 20000"/>
                <a:gd name="T8" fmla="*/ 92 w 20000"/>
                <a:gd name="T9" fmla="*/ 131 h 20000"/>
                <a:gd name="T10" fmla="*/ 106 w 20000"/>
                <a:gd name="T11" fmla="*/ 108 h 20000"/>
                <a:gd name="T12" fmla="*/ 116 w 20000"/>
                <a:gd name="T13" fmla="*/ 97 h 20000"/>
                <a:gd name="T14" fmla="*/ 122 w 20000"/>
                <a:gd name="T15" fmla="*/ 97 h 20000"/>
                <a:gd name="T16" fmla="*/ 126 w 20000"/>
                <a:gd name="T17" fmla="*/ 95 h 20000"/>
                <a:gd name="T18" fmla="*/ 136 w 20000"/>
                <a:gd name="T19" fmla="*/ 74 h 20000"/>
                <a:gd name="T20" fmla="*/ 150 w 20000"/>
                <a:gd name="T21" fmla="*/ 50 h 20000"/>
                <a:gd name="T22" fmla="*/ 153 w 20000"/>
                <a:gd name="T23" fmla="*/ 31 h 20000"/>
                <a:gd name="T24" fmla="*/ 153 w 20000"/>
                <a:gd name="T25" fmla="*/ 24 h 20000"/>
                <a:gd name="T26" fmla="*/ 147 w 20000"/>
                <a:gd name="T27" fmla="*/ 24 h 20000"/>
                <a:gd name="T28" fmla="*/ 147 w 20000"/>
                <a:gd name="T29" fmla="*/ 20 h 20000"/>
                <a:gd name="T30" fmla="*/ 147 w 20000"/>
                <a:gd name="T31" fmla="*/ 11 h 20000"/>
                <a:gd name="T32" fmla="*/ 143 w 20000"/>
                <a:gd name="T33" fmla="*/ 0 h 20000"/>
                <a:gd name="T34" fmla="*/ 133 w 20000"/>
                <a:gd name="T35" fmla="*/ 24 h 20000"/>
                <a:gd name="T36" fmla="*/ 122 w 20000"/>
                <a:gd name="T37" fmla="*/ 38 h 20000"/>
                <a:gd name="T38" fmla="*/ 109 w 20000"/>
                <a:gd name="T39" fmla="*/ 64 h 20000"/>
                <a:gd name="T40" fmla="*/ 72 w 20000"/>
                <a:gd name="T41" fmla="*/ 91 h 20000"/>
                <a:gd name="T42" fmla="*/ 51 w 20000"/>
                <a:gd name="T43" fmla="*/ 97 h 20000"/>
                <a:gd name="T44" fmla="*/ 45 w 20000"/>
                <a:gd name="T45" fmla="*/ 111 h 20000"/>
                <a:gd name="T46" fmla="*/ 41 w 20000"/>
                <a:gd name="T47" fmla="*/ 108 h 20000"/>
                <a:gd name="T48" fmla="*/ 23 w 20000"/>
                <a:gd name="T49" fmla="*/ 121 h 20000"/>
                <a:gd name="T50" fmla="*/ 20 w 20000"/>
                <a:gd name="T51" fmla="*/ 125 h 20000"/>
                <a:gd name="T52" fmla="*/ 16 w 20000"/>
                <a:gd name="T53" fmla="*/ 131 h 20000"/>
                <a:gd name="T54" fmla="*/ 16 w 20000"/>
                <a:gd name="T55" fmla="*/ 138 h 20000"/>
                <a:gd name="T56" fmla="*/ 7 w 20000"/>
                <a:gd name="T57" fmla="*/ 142 h 20000"/>
                <a:gd name="T58" fmla="*/ 0 w 20000"/>
                <a:gd name="T59" fmla="*/ 149 h 20000"/>
                <a:gd name="T60" fmla="*/ 3 w 20000"/>
                <a:gd name="T61" fmla="*/ 151 h 20000"/>
                <a:gd name="T62" fmla="*/ 7 w 20000"/>
                <a:gd name="T63" fmla="*/ 162 h 20000"/>
                <a:gd name="T64" fmla="*/ 14 w 20000"/>
                <a:gd name="T65" fmla="*/ 162 h 20000"/>
                <a:gd name="T66" fmla="*/ 23 w 20000"/>
                <a:gd name="T67" fmla="*/ 169 h 20000"/>
                <a:gd name="T68" fmla="*/ 30 w 20000"/>
                <a:gd name="T69" fmla="*/ 179 h 200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0000" h="20000">
                  <a:moveTo>
                    <a:pt x="4348" y="19956"/>
                  </a:moveTo>
                  <a:lnTo>
                    <a:pt x="6547" y="19520"/>
                  </a:lnTo>
                  <a:lnTo>
                    <a:pt x="6957" y="18777"/>
                  </a:lnTo>
                  <a:lnTo>
                    <a:pt x="8286" y="18035"/>
                  </a:lnTo>
                  <a:lnTo>
                    <a:pt x="9156" y="17293"/>
                  </a:lnTo>
                  <a:lnTo>
                    <a:pt x="9514" y="17293"/>
                  </a:lnTo>
                  <a:lnTo>
                    <a:pt x="9156" y="16987"/>
                  </a:lnTo>
                  <a:lnTo>
                    <a:pt x="10026" y="16245"/>
                  </a:lnTo>
                  <a:lnTo>
                    <a:pt x="10895" y="15066"/>
                  </a:lnTo>
                  <a:lnTo>
                    <a:pt x="11765" y="14367"/>
                  </a:lnTo>
                  <a:lnTo>
                    <a:pt x="12123" y="12882"/>
                  </a:lnTo>
                  <a:lnTo>
                    <a:pt x="13504" y="11834"/>
                  </a:lnTo>
                  <a:lnTo>
                    <a:pt x="14731" y="11092"/>
                  </a:lnTo>
                  <a:lnTo>
                    <a:pt x="14731" y="10655"/>
                  </a:lnTo>
                  <a:lnTo>
                    <a:pt x="15243" y="11092"/>
                  </a:lnTo>
                  <a:lnTo>
                    <a:pt x="15601" y="10655"/>
                  </a:lnTo>
                  <a:lnTo>
                    <a:pt x="16471" y="11092"/>
                  </a:lnTo>
                  <a:lnTo>
                    <a:pt x="16113" y="10349"/>
                  </a:lnTo>
                  <a:lnTo>
                    <a:pt x="16471" y="9170"/>
                  </a:lnTo>
                  <a:lnTo>
                    <a:pt x="17340" y="8122"/>
                  </a:lnTo>
                  <a:lnTo>
                    <a:pt x="18210" y="6943"/>
                  </a:lnTo>
                  <a:lnTo>
                    <a:pt x="19079" y="5502"/>
                  </a:lnTo>
                  <a:lnTo>
                    <a:pt x="19540" y="4410"/>
                  </a:lnTo>
                  <a:lnTo>
                    <a:pt x="19540" y="3362"/>
                  </a:lnTo>
                  <a:lnTo>
                    <a:pt x="19949" y="2969"/>
                  </a:lnTo>
                  <a:lnTo>
                    <a:pt x="19540" y="2620"/>
                  </a:lnTo>
                  <a:lnTo>
                    <a:pt x="19540" y="2227"/>
                  </a:lnTo>
                  <a:lnTo>
                    <a:pt x="18670" y="2620"/>
                  </a:lnTo>
                  <a:lnTo>
                    <a:pt x="18670" y="2969"/>
                  </a:lnTo>
                  <a:lnTo>
                    <a:pt x="18670" y="2227"/>
                  </a:lnTo>
                  <a:lnTo>
                    <a:pt x="18670" y="1485"/>
                  </a:lnTo>
                  <a:lnTo>
                    <a:pt x="18670" y="1179"/>
                  </a:lnTo>
                  <a:lnTo>
                    <a:pt x="18670" y="437"/>
                  </a:lnTo>
                  <a:lnTo>
                    <a:pt x="18210" y="0"/>
                  </a:lnTo>
                  <a:lnTo>
                    <a:pt x="17340" y="1179"/>
                  </a:lnTo>
                  <a:lnTo>
                    <a:pt x="16982" y="2620"/>
                  </a:lnTo>
                  <a:lnTo>
                    <a:pt x="16113" y="3712"/>
                  </a:lnTo>
                  <a:lnTo>
                    <a:pt x="15601" y="4105"/>
                  </a:lnTo>
                  <a:lnTo>
                    <a:pt x="15243" y="4847"/>
                  </a:lnTo>
                  <a:lnTo>
                    <a:pt x="13862" y="6943"/>
                  </a:lnTo>
                  <a:lnTo>
                    <a:pt x="11765" y="8428"/>
                  </a:lnTo>
                  <a:lnTo>
                    <a:pt x="9156" y="9913"/>
                  </a:lnTo>
                  <a:lnTo>
                    <a:pt x="7775" y="10655"/>
                  </a:lnTo>
                  <a:lnTo>
                    <a:pt x="6547" y="10655"/>
                  </a:lnTo>
                  <a:lnTo>
                    <a:pt x="5678" y="11397"/>
                  </a:lnTo>
                  <a:lnTo>
                    <a:pt x="5678" y="12140"/>
                  </a:lnTo>
                  <a:lnTo>
                    <a:pt x="5217" y="12140"/>
                  </a:lnTo>
                  <a:lnTo>
                    <a:pt x="5217" y="11834"/>
                  </a:lnTo>
                  <a:lnTo>
                    <a:pt x="4348" y="12882"/>
                  </a:lnTo>
                  <a:lnTo>
                    <a:pt x="2967" y="13275"/>
                  </a:lnTo>
                  <a:lnTo>
                    <a:pt x="2967" y="13624"/>
                  </a:lnTo>
                  <a:lnTo>
                    <a:pt x="2609" y="13624"/>
                  </a:lnTo>
                  <a:lnTo>
                    <a:pt x="2097" y="14017"/>
                  </a:lnTo>
                  <a:lnTo>
                    <a:pt x="2097" y="14367"/>
                  </a:lnTo>
                  <a:lnTo>
                    <a:pt x="1739" y="14367"/>
                  </a:lnTo>
                  <a:lnTo>
                    <a:pt x="2097" y="15066"/>
                  </a:lnTo>
                  <a:lnTo>
                    <a:pt x="1228" y="14760"/>
                  </a:lnTo>
                  <a:lnTo>
                    <a:pt x="870" y="15502"/>
                  </a:lnTo>
                  <a:lnTo>
                    <a:pt x="870" y="16245"/>
                  </a:lnTo>
                  <a:lnTo>
                    <a:pt x="0" y="16245"/>
                  </a:lnTo>
                  <a:lnTo>
                    <a:pt x="0" y="16550"/>
                  </a:lnTo>
                  <a:lnTo>
                    <a:pt x="358" y="16550"/>
                  </a:lnTo>
                  <a:lnTo>
                    <a:pt x="0" y="17293"/>
                  </a:lnTo>
                  <a:lnTo>
                    <a:pt x="870" y="17729"/>
                  </a:lnTo>
                  <a:lnTo>
                    <a:pt x="1739" y="17729"/>
                  </a:lnTo>
                  <a:lnTo>
                    <a:pt x="1739" y="18035"/>
                  </a:lnTo>
                  <a:lnTo>
                    <a:pt x="2967" y="18472"/>
                  </a:lnTo>
                  <a:lnTo>
                    <a:pt x="2967" y="19214"/>
                  </a:lnTo>
                  <a:lnTo>
                    <a:pt x="3836" y="19520"/>
                  </a:lnTo>
                  <a:lnTo>
                    <a:pt x="4348" y="1995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8" name="Freeform 15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787" y="2933"/>
              <a:ext cx="43" cy="45"/>
            </a:xfrm>
            <a:custGeom>
              <a:avLst/>
              <a:gdLst>
                <a:gd name="T0" fmla="*/ 37 w 20000"/>
                <a:gd name="T1" fmla="*/ 45 h 20000"/>
                <a:gd name="T2" fmla="*/ 41 w 20000"/>
                <a:gd name="T3" fmla="*/ 38 h 20000"/>
                <a:gd name="T4" fmla="*/ 37 w 20000"/>
                <a:gd name="T5" fmla="*/ 27 h 20000"/>
                <a:gd name="T6" fmla="*/ 37 w 20000"/>
                <a:gd name="T7" fmla="*/ 24 h 20000"/>
                <a:gd name="T8" fmla="*/ 27 w 20000"/>
                <a:gd name="T9" fmla="*/ 14 h 20000"/>
                <a:gd name="T10" fmla="*/ 0 w 20000"/>
                <a:gd name="T11" fmla="*/ 0 h 20000"/>
                <a:gd name="T12" fmla="*/ 0 w 20000"/>
                <a:gd name="T13" fmla="*/ 4 h 20000"/>
                <a:gd name="T14" fmla="*/ 7 w 20000"/>
                <a:gd name="T15" fmla="*/ 7 h 20000"/>
                <a:gd name="T16" fmla="*/ 24 w 20000"/>
                <a:gd name="T17" fmla="*/ 18 h 20000"/>
                <a:gd name="T18" fmla="*/ 34 w 20000"/>
                <a:gd name="T19" fmla="*/ 27 h 20000"/>
                <a:gd name="T20" fmla="*/ 37 w 20000"/>
                <a:gd name="T21" fmla="*/ 38 h 20000"/>
                <a:gd name="T22" fmla="*/ 37 w 20000"/>
                <a:gd name="T23" fmla="*/ 45 h 200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0000" h="20000">
                  <a:moveTo>
                    <a:pt x="18252" y="19823"/>
                  </a:moveTo>
                  <a:lnTo>
                    <a:pt x="19806" y="16814"/>
                  </a:lnTo>
                  <a:lnTo>
                    <a:pt x="18252" y="12035"/>
                  </a:lnTo>
                  <a:lnTo>
                    <a:pt x="18252" y="10796"/>
                  </a:lnTo>
                  <a:lnTo>
                    <a:pt x="13204" y="6018"/>
                  </a:lnTo>
                  <a:lnTo>
                    <a:pt x="0" y="0"/>
                  </a:lnTo>
                  <a:lnTo>
                    <a:pt x="0" y="1770"/>
                  </a:lnTo>
                  <a:lnTo>
                    <a:pt x="3301" y="3009"/>
                  </a:lnTo>
                  <a:lnTo>
                    <a:pt x="11650" y="7788"/>
                  </a:lnTo>
                  <a:lnTo>
                    <a:pt x="16505" y="12035"/>
                  </a:lnTo>
                  <a:lnTo>
                    <a:pt x="18252" y="16814"/>
                  </a:lnTo>
                  <a:lnTo>
                    <a:pt x="18252" y="19823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49" name="Freeform 15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854" y="2979"/>
              <a:ext cx="25" cy="36"/>
            </a:xfrm>
            <a:custGeom>
              <a:avLst/>
              <a:gdLst>
                <a:gd name="T0" fmla="*/ 25 w 20000"/>
                <a:gd name="T1" fmla="*/ 35 h 20000"/>
                <a:gd name="T2" fmla="*/ 25 w 20000"/>
                <a:gd name="T3" fmla="*/ 31 h 20000"/>
                <a:gd name="T4" fmla="*/ 21 w 20000"/>
                <a:gd name="T5" fmla="*/ 24 h 20000"/>
                <a:gd name="T6" fmla="*/ 18 w 20000"/>
                <a:gd name="T7" fmla="*/ 21 h 20000"/>
                <a:gd name="T8" fmla="*/ 14 w 20000"/>
                <a:gd name="T9" fmla="*/ 14 h 20000"/>
                <a:gd name="T10" fmla="*/ 7 w 20000"/>
                <a:gd name="T11" fmla="*/ 11 h 20000"/>
                <a:gd name="T12" fmla="*/ 4 w 20000"/>
                <a:gd name="T13" fmla="*/ 7 h 20000"/>
                <a:gd name="T14" fmla="*/ 0 w 20000"/>
                <a:gd name="T15" fmla="*/ 0 h 20000"/>
                <a:gd name="T16" fmla="*/ 0 w 20000"/>
                <a:gd name="T17" fmla="*/ 7 h 20000"/>
                <a:gd name="T18" fmla="*/ 4 w 20000"/>
                <a:gd name="T19" fmla="*/ 11 h 20000"/>
                <a:gd name="T20" fmla="*/ 4 w 20000"/>
                <a:gd name="T21" fmla="*/ 21 h 20000"/>
                <a:gd name="T22" fmla="*/ 11 w 20000"/>
                <a:gd name="T23" fmla="*/ 24 h 20000"/>
                <a:gd name="T24" fmla="*/ 14 w 20000"/>
                <a:gd name="T25" fmla="*/ 35 h 20000"/>
                <a:gd name="T26" fmla="*/ 25 w 20000"/>
                <a:gd name="T27" fmla="*/ 35 h 200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0000" h="20000">
                  <a:moveTo>
                    <a:pt x="19677" y="19767"/>
                  </a:moveTo>
                  <a:lnTo>
                    <a:pt x="19677" y="17907"/>
                  </a:lnTo>
                  <a:lnTo>
                    <a:pt x="16452" y="13953"/>
                  </a:lnTo>
                  <a:lnTo>
                    <a:pt x="14194" y="11860"/>
                  </a:lnTo>
                  <a:lnTo>
                    <a:pt x="10968" y="7907"/>
                  </a:lnTo>
                  <a:lnTo>
                    <a:pt x="5484" y="6279"/>
                  </a:lnTo>
                  <a:lnTo>
                    <a:pt x="3226" y="3953"/>
                  </a:lnTo>
                  <a:lnTo>
                    <a:pt x="0" y="0"/>
                  </a:lnTo>
                  <a:lnTo>
                    <a:pt x="0" y="3953"/>
                  </a:lnTo>
                  <a:lnTo>
                    <a:pt x="3226" y="6279"/>
                  </a:lnTo>
                  <a:lnTo>
                    <a:pt x="3226" y="11860"/>
                  </a:lnTo>
                  <a:lnTo>
                    <a:pt x="8710" y="13953"/>
                  </a:lnTo>
                  <a:lnTo>
                    <a:pt x="10968" y="19767"/>
                  </a:lnTo>
                  <a:lnTo>
                    <a:pt x="19677" y="1976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50" name="Freeform 15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742" y="2964"/>
              <a:ext cx="76" cy="40"/>
            </a:xfrm>
            <a:custGeom>
              <a:avLst/>
              <a:gdLst>
                <a:gd name="T0" fmla="*/ 38 w 20000"/>
                <a:gd name="T1" fmla="*/ 41 h 20000"/>
                <a:gd name="T2" fmla="*/ 55 w 20000"/>
                <a:gd name="T3" fmla="*/ 30 h 20000"/>
                <a:gd name="T4" fmla="*/ 58 w 20000"/>
                <a:gd name="T5" fmla="*/ 27 h 20000"/>
                <a:gd name="T6" fmla="*/ 62 w 20000"/>
                <a:gd name="T7" fmla="*/ 27 h 20000"/>
                <a:gd name="T8" fmla="*/ 69 w 20000"/>
                <a:gd name="T9" fmla="*/ 23 h 20000"/>
                <a:gd name="T10" fmla="*/ 69 w 20000"/>
                <a:gd name="T11" fmla="*/ 16 h 20000"/>
                <a:gd name="T12" fmla="*/ 76 w 20000"/>
                <a:gd name="T13" fmla="*/ 14 h 20000"/>
                <a:gd name="T14" fmla="*/ 76 w 20000"/>
                <a:gd name="T15" fmla="*/ 3 h 20000"/>
                <a:gd name="T16" fmla="*/ 72 w 20000"/>
                <a:gd name="T17" fmla="*/ 0 h 20000"/>
                <a:gd name="T18" fmla="*/ 58 w 20000"/>
                <a:gd name="T19" fmla="*/ 3 h 20000"/>
                <a:gd name="T20" fmla="*/ 62 w 20000"/>
                <a:gd name="T21" fmla="*/ 14 h 20000"/>
                <a:gd name="T22" fmla="*/ 58 w 20000"/>
                <a:gd name="T23" fmla="*/ 16 h 20000"/>
                <a:gd name="T24" fmla="*/ 51 w 20000"/>
                <a:gd name="T25" fmla="*/ 16 h 20000"/>
                <a:gd name="T26" fmla="*/ 48 w 20000"/>
                <a:gd name="T27" fmla="*/ 23 h 20000"/>
                <a:gd name="T28" fmla="*/ 42 w 20000"/>
                <a:gd name="T29" fmla="*/ 27 h 20000"/>
                <a:gd name="T30" fmla="*/ 38 w 20000"/>
                <a:gd name="T31" fmla="*/ 23 h 20000"/>
                <a:gd name="T32" fmla="*/ 35 w 20000"/>
                <a:gd name="T33" fmla="*/ 27 h 20000"/>
                <a:gd name="T34" fmla="*/ 31 w 20000"/>
                <a:gd name="T35" fmla="*/ 16 h 20000"/>
                <a:gd name="T36" fmla="*/ 31 w 20000"/>
                <a:gd name="T37" fmla="*/ 16 h 20000"/>
                <a:gd name="T38" fmla="*/ 28 w 20000"/>
                <a:gd name="T39" fmla="*/ 23 h 20000"/>
                <a:gd name="T40" fmla="*/ 18 w 20000"/>
                <a:gd name="T41" fmla="*/ 27 h 20000"/>
                <a:gd name="T42" fmla="*/ 11 w 20000"/>
                <a:gd name="T43" fmla="*/ 23 h 20000"/>
                <a:gd name="T44" fmla="*/ 4 w 20000"/>
                <a:gd name="T45" fmla="*/ 27 h 20000"/>
                <a:gd name="T46" fmla="*/ 0 w 20000"/>
                <a:gd name="T47" fmla="*/ 23 h 20000"/>
                <a:gd name="T48" fmla="*/ 0 w 20000"/>
                <a:gd name="T49" fmla="*/ 30 h 20000"/>
                <a:gd name="T50" fmla="*/ 7 w 20000"/>
                <a:gd name="T51" fmla="*/ 34 h 20000"/>
                <a:gd name="T52" fmla="*/ 14 w 20000"/>
                <a:gd name="T53" fmla="*/ 37 h 20000"/>
                <a:gd name="T54" fmla="*/ 21 w 20000"/>
                <a:gd name="T55" fmla="*/ 37 h 20000"/>
                <a:gd name="T56" fmla="*/ 24 w 20000"/>
                <a:gd name="T57" fmla="*/ 41 h 20000"/>
                <a:gd name="T58" fmla="*/ 38 w 20000"/>
                <a:gd name="T59" fmla="*/ 41 h 2000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000" h="20000">
                  <a:moveTo>
                    <a:pt x="9895" y="19806"/>
                  </a:moveTo>
                  <a:lnTo>
                    <a:pt x="14526" y="14563"/>
                  </a:lnTo>
                  <a:lnTo>
                    <a:pt x="15263" y="13204"/>
                  </a:lnTo>
                  <a:lnTo>
                    <a:pt x="16316" y="13204"/>
                  </a:lnTo>
                  <a:lnTo>
                    <a:pt x="18105" y="11262"/>
                  </a:lnTo>
                  <a:lnTo>
                    <a:pt x="18105" y="7961"/>
                  </a:lnTo>
                  <a:lnTo>
                    <a:pt x="19895" y="6602"/>
                  </a:lnTo>
                  <a:lnTo>
                    <a:pt x="19895" y="1359"/>
                  </a:lnTo>
                  <a:lnTo>
                    <a:pt x="18842" y="0"/>
                  </a:lnTo>
                  <a:lnTo>
                    <a:pt x="15263" y="1359"/>
                  </a:lnTo>
                  <a:lnTo>
                    <a:pt x="16316" y="6602"/>
                  </a:lnTo>
                  <a:lnTo>
                    <a:pt x="15263" y="7961"/>
                  </a:lnTo>
                  <a:lnTo>
                    <a:pt x="13474" y="7961"/>
                  </a:lnTo>
                  <a:lnTo>
                    <a:pt x="12737" y="11262"/>
                  </a:lnTo>
                  <a:lnTo>
                    <a:pt x="10947" y="13204"/>
                  </a:lnTo>
                  <a:lnTo>
                    <a:pt x="9895" y="11262"/>
                  </a:lnTo>
                  <a:lnTo>
                    <a:pt x="9158" y="13204"/>
                  </a:lnTo>
                  <a:lnTo>
                    <a:pt x="8105" y="7961"/>
                  </a:lnTo>
                  <a:lnTo>
                    <a:pt x="7368" y="11262"/>
                  </a:lnTo>
                  <a:lnTo>
                    <a:pt x="4632" y="13204"/>
                  </a:lnTo>
                  <a:lnTo>
                    <a:pt x="2842" y="11262"/>
                  </a:lnTo>
                  <a:lnTo>
                    <a:pt x="1053" y="13204"/>
                  </a:lnTo>
                  <a:lnTo>
                    <a:pt x="0" y="11262"/>
                  </a:lnTo>
                  <a:lnTo>
                    <a:pt x="0" y="14563"/>
                  </a:lnTo>
                  <a:lnTo>
                    <a:pt x="1789" y="16505"/>
                  </a:lnTo>
                  <a:lnTo>
                    <a:pt x="3789" y="17864"/>
                  </a:lnTo>
                  <a:lnTo>
                    <a:pt x="5579" y="17864"/>
                  </a:lnTo>
                  <a:lnTo>
                    <a:pt x="6316" y="19806"/>
                  </a:lnTo>
                  <a:lnTo>
                    <a:pt x="9895" y="19806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51" name="Freeform 15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607" y="2937"/>
              <a:ext cx="172" cy="152"/>
            </a:xfrm>
            <a:custGeom>
              <a:avLst/>
              <a:gdLst>
                <a:gd name="T0" fmla="*/ 4 w 20000"/>
                <a:gd name="T1" fmla="*/ 0 h 20000"/>
                <a:gd name="T2" fmla="*/ 20 w 20000"/>
                <a:gd name="T3" fmla="*/ 7 h 20000"/>
                <a:gd name="T4" fmla="*/ 44 w 20000"/>
                <a:gd name="T5" fmla="*/ 14 h 20000"/>
                <a:gd name="T6" fmla="*/ 58 w 20000"/>
                <a:gd name="T7" fmla="*/ 20 h 20000"/>
                <a:gd name="T8" fmla="*/ 61 w 20000"/>
                <a:gd name="T9" fmla="*/ 20 h 20000"/>
                <a:gd name="T10" fmla="*/ 74 w 20000"/>
                <a:gd name="T11" fmla="*/ 30 h 20000"/>
                <a:gd name="T12" fmla="*/ 81 w 20000"/>
                <a:gd name="T13" fmla="*/ 30 h 20000"/>
                <a:gd name="T14" fmla="*/ 88 w 20000"/>
                <a:gd name="T15" fmla="*/ 37 h 20000"/>
                <a:gd name="T16" fmla="*/ 88 w 20000"/>
                <a:gd name="T17" fmla="*/ 50 h 20000"/>
                <a:gd name="T18" fmla="*/ 118 w 20000"/>
                <a:gd name="T19" fmla="*/ 61 h 20000"/>
                <a:gd name="T20" fmla="*/ 125 w 20000"/>
                <a:gd name="T21" fmla="*/ 74 h 20000"/>
                <a:gd name="T22" fmla="*/ 108 w 20000"/>
                <a:gd name="T23" fmla="*/ 77 h 20000"/>
                <a:gd name="T24" fmla="*/ 115 w 20000"/>
                <a:gd name="T25" fmla="*/ 91 h 20000"/>
                <a:gd name="T26" fmla="*/ 128 w 20000"/>
                <a:gd name="T27" fmla="*/ 101 h 20000"/>
                <a:gd name="T28" fmla="*/ 132 w 20000"/>
                <a:gd name="T29" fmla="*/ 104 h 20000"/>
                <a:gd name="T30" fmla="*/ 135 w 20000"/>
                <a:gd name="T31" fmla="*/ 111 h 20000"/>
                <a:gd name="T32" fmla="*/ 135 w 20000"/>
                <a:gd name="T33" fmla="*/ 122 h 20000"/>
                <a:gd name="T34" fmla="*/ 149 w 20000"/>
                <a:gd name="T35" fmla="*/ 122 h 20000"/>
                <a:gd name="T36" fmla="*/ 152 w 20000"/>
                <a:gd name="T37" fmla="*/ 124 h 20000"/>
                <a:gd name="T38" fmla="*/ 149 w 20000"/>
                <a:gd name="T39" fmla="*/ 128 h 20000"/>
                <a:gd name="T40" fmla="*/ 163 w 20000"/>
                <a:gd name="T41" fmla="*/ 131 h 20000"/>
                <a:gd name="T42" fmla="*/ 159 w 20000"/>
                <a:gd name="T43" fmla="*/ 138 h 20000"/>
                <a:gd name="T44" fmla="*/ 166 w 20000"/>
                <a:gd name="T45" fmla="*/ 142 h 20000"/>
                <a:gd name="T46" fmla="*/ 173 w 20000"/>
                <a:gd name="T47" fmla="*/ 145 h 20000"/>
                <a:gd name="T48" fmla="*/ 166 w 20000"/>
                <a:gd name="T49" fmla="*/ 148 h 20000"/>
                <a:gd name="T50" fmla="*/ 173 w 20000"/>
                <a:gd name="T51" fmla="*/ 148 h 20000"/>
                <a:gd name="T52" fmla="*/ 173 w 20000"/>
                <a:gd name="T53" fmla="*/ 152 h 20000"/>
                <a:gd name="T54" fmla="*/ 163 w 20000"/>
                <a:gd name="T55" fmla="*/ 152 h 20000"/>
                <a:gd name="T56" fmla="*/ 163 w 20000"/>
                <a:gd name="T57" fmla="*/ 148 h 20000"/>
                <a:gd name="T58" fmla="*/ 132 w 20000"/>
                <a:gd name="T59" fmla="*/ 142 h 20000"/>
                <a:gd name="T60" fmla="*/ 125 w 20000"/>
                <a:gd name="T61" fmla="*/ 142 h 20000"/>
                <a:gd name="T62" fmla="*/ 108 w 20000"/>
                <a:gd name="T63" fmla="*/ 128 h 20000"/>
                <a:gd name="T64" fmla="*/ 105 w 20000"/>
                <a:gd name="T65" fmla="*/ 122 h 20000"/>
                <a:gd name="T66" fmla="*/ 101 w 20000"/>
                <a:gd name="T67" fmla="*/ 122 h 20000"/>
                <a:gd name="T68" fmla="*/ 98 w 20000"/>
                <a:gd name="T69" fmla="*/ 115 h 20000"/>
                <a:gd name="T70" fmla="*/ 88 w 20000"/>
                <a:gd name="T71" fmla="*/ 97 h 20000"/>
                <a:gd name="T72" fmla="*/ 85 w 20000"/>
                <a:gd name="T73" fmla="*/ 97 h 20000"/>
                <a:gd name="T74" fmla="*/ 81 w 20000"/>
                <a:gd name="T75" fmla="*/ 97 h 20000"/>
                <a:gd name="T76" fmla="*/ 71 w 20000"/>
                <a:gd name="T77" fmla="*/ 97 h 20000"/>
                <a:gd name="T78" fmla="*/ 67 w 20000"/>
                <a:gd name="T79" fmla="*/ 91 h 20000"/>
                <a:gd name="T80" fmla="*/ 65 w 20000"/>
                <a:gd name="T81" fmla="*/ 91 h 20000"/>
                <a:gd name="T82" fmla="*/ 61 w 20000"/>
                <a:gd name="T83" fmla="*/ 95 h 20000"/>
                <a:gd name="T84" fmla="*/ 58 w 20000"/>
                <a:gd name="T85" fmla="*/ 95 h 20000"/>
                <a:gd name="T86" fmla="*/ 51 w 20000"/>
                <a:gd name="T87" fmla="*/ 91 h 20000"/>
                <a:gd name="T88" fmla="*/ 54 w 20000"/>
                <a:gd name="T89" fmla="*/ 101 h 20000"/>
                <a:gd name="T90" fmla="*/ 47 w 20000"/>
                <a:gd name="T91" fmla="*/ 101 h 20000"/>
                <a:gd name="T92" fmla="*/ 47 w 20000"/>
                <a:gd name="T93" fmla="*/ 104 h 20000"/>
                <a:gd name="T94" fmla="*/ 31 w 20000"/>
                <a:gd name="T95" fmla="*/ 104 h 20000"/>
                <a:gd name="T96" fmla="*/ 37 w 20000"/>
                <a:gd name="T97" fmla="*/ 108 h 20000"/>
                <a:gd name="T98" fmla="*/ 44 w 20000"/>
                <a:gd name="T99" fmla="*/ 118 h 20000"/>
                <a:gd name="T100" fmla="*/ 31 w 20000"/>
                <a:gd name="T101" fmla="*/ 124 h 20000"/>
                <a:gd name="T102" fmla="*/ 0 w 20000"/>
                <a:gd name="T103" fmla="*/ 122 h 20000"/>
                <a:gd name="T104" fmla="*/ 4 w 20000"/>
                <a:gd name="T105" fmla="*/ 0 h 200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0000" h="20000">
                  <a:moveTo>
                    <a:pt x="461" y="0"/>
                  </a:moveTo>
                  <a:lnTo>
                    <a:pt x="2350" y="892"/>
                  </a:lnTo>
                  <a:lnTo>
                    <a:pt x="5115" y="1785"/>
                  </a:lnTo>
                  <a:lnTo>
                    <a:pt x="6682" y="2677"/>
                  </a:lnTo>
                  <a:lnTo>
                    <a:pt x="7005" y="2677"/>
                  </a:lnTo>
                  <a:lnTo>
                    <a:pt x="8571" y="3937"/>
                  </a:lnTo>
                  <a:lnTo>
                    <a:pt x="9355" y="3937"/>
                  </a:lnTo>
                  <a:lnTo>
                    <a:pt x="10138" y="4829"/>
                  </a:lnTo>
                  <a:lnTo>
                    <a:pt x="10138" y="6614"/>
                  </a:lnTo>
                  <a:lnTo>
                    <a:pt x="13687" y="7979"/>
                  </a:lnTo>
                  <a:lnTo>
                    <a:pt x="14470" y="9764"/>
                  </a:lnTo>
                  <a:lnTo>
                    <a:pt x="12488" y="10131"/>
                  </a:lnTo>
                  <a:lnTo>
                    <a:pt x="13272" y="11916"/>
                  </a:lnTo>
                  <a:lnTo>
                    <a:pt x="14793" y="13333"/>
                  </a:lnTo>
                  <a:lnTo>
                    <a:pt x="15253" y="13701"/>
                  </a:lnTo>
                  <a:lnTo>
                    <a:pt x="15576" y="14593"/>
                  </a:lnTo>
                  <a:lnTo>
                    <a:pt x="15576" y="16010"/>
                  </a:lnTo>
                  <a:lnTo>
                    <a:pt x="17281" y="16010"/>
                  </a:lnTo>
                  <a:lnTo>
                    <a:pt x="17604" y="16378"/>
                  </a:lnTo>
                  <a:lnTo>
                    <a:pt x="17281" y="16903"/>
                  </a:lnTo>
                  <a:lnTo>
                    <a:pt x="18802" y="17270"/>
                  </a:lnTo>
                  <a:lnTo>
                    <a:pt x="18387" y="18163"/>
                  </a:lnTo>
                  <a:lnTo>
                    <a:pt x="19171" y="18635"/>
                  </a:lnTo>
                  <a:lnTo>
                    <a:pt x="19954" y="19055"/>
                  </a:lnTo>
                  <a:lnTo>
                    <a:pt x="19171" y="19528"/>
                  </a:lnTo>
                  <a:lnTo>
                    <a:pt x="19954" y="19528"/>
                  </a:lnTo>
                  <a:lnTo>
                    <a:pt x="19954" y="19948"/>
                  </a:lnTo>
                  <a:lnTo>
                    <a:pt x="18802" y="19948"/>
                  </a:lnTo>
                  <a:lnTo>
                    <a:pt x="18802" y="19528"/>
                  </a:lnTo>
                  <a:lnTo>
                    <a:pt x="15253" y="18635"/>
                  </a:lnTo>
                  <a:lnTo>
                    <a:pt x="14470" y="18635"/>
                  </a:lnTo>
                  <a:lnTo>
                    <a:pt x="12488" y="16903"/>
                  </a:lnTo>
                  <a:lnTo>
                    <a:pt x="12120" y="16010"/>
                  </a:lnTo>
                  <a:lnTo>
                    <a:pt x="11705" y="16010"/>
                  </a:lnTo>
                  <a:lnTo>
                    <a:pt x="11382" y="15118"/>
                  </a:lnTo>
                  <a:lnTo>
                    <a:pt x="10138" y="12808"/>
                  </a:lnTo>
                  <a:lnTo>
                    <a:pt x="9816" y="12808"/>
                  </a:lnTo>
                  <a:lnTo>
                    <a:pt x="9355" y="12808"/>
                  </a:lnTo>
                  <a:lnTo>
                    <a:pt x="8249" y="12808"/>
                  </a:lnTo>
                  <a:lnTo>
                    <a:pt x="7788" y="11916"/>
                  </a:lnTo>
                  <a:lnTo>
                    <a:pt x="7465" y="11916"/>
                  </a:lnTo>
                  <a:lnTo>
                    <a:pt x="7005" y="12441"/>
                  </a:lnTo>
                  <a:lnTo>
                    <a:pt x="6682" y="12441"/>
                  </a:lnTo>
                  <a:lnTo>
                    <a:pt x="5899" y="11916"/>
                  </a:lnTo>
                  <a:lnTo>
                    <a:pt x="6221" y="13333"/>
                  </a:lnTo>
                  <a:lnTo>
                    <a:pt x="5438" y="13333"/>
                  </a:lnTo>
                  <a:lnTo>
                    <a:pt x="5438" y="13701"/>
                  </a:lnTo>
                  <a:lnTo>
                    <a:pt x="3548" y="13701"/>
                  </a:lnTo>
                  <a:lnTo>
                    <a:pt x="4332" y="14226"/>
                  </a:lnTo>
                  <a:lnTo>
                    <a:pt x="5115" y="15486"/>
                  </a:lnTo>
                  <a:lnTo>
                    <a:pt x="3548" y="16378"/>
                  </a:lnTo>
                  <a:lnTo>
                    <a:pt x="0" y="16010"/>
                  </a:lnTo>
                  <a:lnTo>
                    <a:pt x="461" y="0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52" name="Freeform 15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888" y="3012"/>
              <a:ext cx="18" cy="13"/>
            </a:xfrm>
            <a:custGeom>
              <a:avLst/>
              <a:gdLst>
                <a:gd name="T0" fmla="*/ 11 w 20000"/>
                <a:gd name="T1" fmla="*/ 14 h 20000"/>
                <a:gd name="T2" fmla="*/ 18 w 20000"/>
                <a:gd name="T3" fmla="*/ 14 h 20000"/>
                <a:gd name="T4" fmla="*/ 11 w 20000"/>
                <a:gd name="T5" fmla="*/ 7 h 20000"/>
                <a:gd name="T6" fmla="*/ 7 w 20000"/>
                <a:gd name="T7" fmla="*/ 3 h 20000"/>
                <a:gd name="T8" fmla="*/ 0 w 20000"/>
                <a:gd name="T9" fmla="*/ 0 h 20000"/>
                <a:gd name="T10" fmla="*/ 4 w 20000"/>
                <a:gd name="T11" fmla="*/ 7 h 20000"/>
                <a:gd name="T12" fmla="*/ 11 w 20000"/>
                <a:gd name="T13" fmla="*/ 14 h 200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000" h="20000">
                  <a:moveTo>
                    <a:pt x="12000" y="19429"/>
                  </a:moveTo>
                  <a:lnTo>
                    <a:pt x="19556" y="19429"/>
                  </a:lnTo>
                  <a:lnTo>
                    <a:pt x="12000" y="9714"/>
                  </a:lnTo>
                  <a:lnTo>
                    <a:pt x="7556" y="4000"/>
                  </a:lnTo>
                  <a:lnTo>
                    <a:pt x="0" y="0"/>
                  </a:lnTo>
                  <a:lnTo>
                    <a:pt x="4444" y="9714"/>
                  </a:lnTo>
                  <a:lnTo>
                    <a:pt x="12000" y="1942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53" name="Freeform 15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942" y="3065"/>
              <a:ext cx="19" cy="7"/>
            </a:xfrm>
            <a:custGeom>
              <a:avLst/>
              <a:gdLst>
                <a:gd name="T0" fmla="*/ 21 w 20000"/>
                <a:gd name="T1" fmla="*/ 7 h 20000"/>
                <a:gd name="T2" fmla="*/ 17 w 20000"/>
                <a:gd name="T3" fmla="*/ 0 h 20000"/>
                <a:gd name="T4" fmla="*/ 0 w 20000"/>
                <a:gd name="T5" fmla="*/ 0 h 20000"/>
                <a:gd name="T6" fmla="*/ 3 w 20000"/>
                <a:gd name="T7" fmla="*/ 7 h 20000"/>
                <a:gd name="T8" fmla="*/ 14 w 20000"/>
                <a:gd name="T9" fmla="*/ 7 h 20000"/>
                <a:gd name="T10" fmla="*/ 21 w 20000"/>
                <a:gd name="T11" fmla="*/ 7 h 2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000" h="20000">
                  <a:moveTo>
                    <a:pt x="19615" y="18889"/>
                  </a:moveTo>
                  <a:lnTo>
                    <a:pt x="15769" y="0"/>
                  </a:lnTo>
                  <a:lnTo>
                    <a:pt x="0" y="0"/>
                  </a:lnTo>
                  <a:lnTo>
                    <a:pt x="2692" y="18889"/>
                  </a:lnTo>
                  <a:lnTo>
                    <a:pt x="13077" y="18889"/>
                  </a:lnTo>
                  <a:lnTo>
                    <a:pt x="19615" y="18889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54" name="Freeform 15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964" y="3045"/>
              <a:ext cx="14" cy="31"/>
            </a:xfrm>
            <a:custGeom>
              <a:avLst/>
              <a:gdLst>
                <a:gd name="T0" fmla="*/ 14 w 20000"/>
                <a:gd name="T1" fmla="*/ 31 h 20000"/>
                <a:gd name="T2" fmla="*/ 14 w 20000"/>
                <a:gd name="T3" fmla="*/ 21 h 20000"/>
                <a:gd name="T4" fmla="*/ 10 w 20000"/>
                <a:gd name="T5" fmla="*/ 10 h 20000"/>
                <a:gd name="T6" fmla="*/ 7 w 20000"/>
                <a:gd name="T7" fmla="*/ 7 h 20000"/>
                <a:gd name="T8" fmla="*/ 3 w 20000"/>
                <a:gd name="T9" fmla="*/ 0 h 20000"/>
                <a:gd name="T10" fmla="*/ 0 w 20000"/>
                <a:gd name="T11" fmla="*/ 0 h 20000"/>
                <a:gd name="T12" fmla="*/ 0 w 20000"/>
                <a:gd name="T13" fmla="*/ 14 h 20000"/>
                <a:gd name="T14" fmla="*/ 10 w 20000"/>
                <a:gd name="T15" fmla="*/ 21 h 20000"/>
                <a:gd name="T16" fmla="*/ 14 w 20000"/>
                <a:gd name="T17" fmla="*/ 31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000" h="20000">
                  <a:moveTo>
                    <a:pt x="19429" y="19737"/>
                  </a:moveTo>
                  <a:lnTo>
                    <a:pt x="19429" y="13421"/>
                  </a:lnTo>
                  <a:lnTo>
                    <a:pt x="13714" y="6316"/>
                  </a:lnTo>
                  <a:lnTo>
                    <a:pt x="9714" y="4474"/>
                  </a:lnTo>
                  <a:lnTo>
                    <a:pt x="4000" y="0"/>
                  </a:lnTo>
                  <a:lnTo>
                    <a:pt x="0" y="0"/>
                  </a:lnTo>
                  <a:lnTo>
                    <a:pt x="0" y="8947"/>
                  </a:lnTo>
                  <a:lnTo>
                    <a:pt x="13714" y="13421"/>
                  </a:lnTo>
                  <a:lnTo>
                    <a:pt x="19429" y="19737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55" name="Freeform 15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926" y="3032"/>
              <a:ext cx="25" cy="17"/>
            </a:xfrm>
            <a:custGeom>
              <a:avLst/>
              <a:gdLst>
                <a:gd name="T0" fmla="*/ 25 w 20000"/>
                <a:gd name="T1" fmla="*/ 17 h 20000"/>
                <a:gd name="T2" fmla="*/ 25 w 20000"/>
                <a:gd name="T3" fmla="*/ 17 h 20000"/>
                <a:gd name="T4" fmla="*/ 18 w 20000"/>
                <a:gd name="T5" fmla="*/ 3 h 20000"/>
                <a:gd name="T6" fmla="*/ 11 w 20000"/>
                <a:gd name="T7" fmla="*/ 3 h 20000"/>
                <a:gd name="T8" fmla="*/ 4 w 20000"/>
                <a:gd name="T9" fmla="*/ 0 h 20000"/>
                <a:gd name="T10" fmla="*/ 0 w 20000"/>
                <a:gd name="T11" fmla="*/ 0 h 20000"/>
                <a:gd name="T12" fmla="*/ 7 w 20000"/>
                <a:gd name="T13" fmla="*/ 7 h 20000"/>
                <a:gd name="T14" fmla="*/ 18 w 20000"/>
                <a:gd name="T15" fmla="*/ 13 h 20000"/>
                <a:gd name="T16" fmla="*/ 25 w 20000"/>
                <a:gd name="T17" fmla="*/ 17 h 20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000" h="20000">
                  <a:moveTo>
                    <a:pt x="19677" y="19535"/>
                  </a:moveTo>
                  <a:lnTo>
                    <a:pt x="19677" y="19535"/>
                  </a:lnTo>
                  <a:lnTo>
                    <a:pt x="14194" y="3256"/>
                  </a:lnTo>
                  <a:lnTo>
                    <a:pt x="8710" y="3256"/>
                  </a:lnTo>
                  <a:lnTo>
                    <a:pt x="3226" y="0"/>
                  </a:lnTo>
                  <a:lnTo>
                    <a:pt x="0" y="0"/>
                  </a:lnTo>
                  <a:lnTo>
                    <a:pt x="5484" y="7907"/>
                  </a:lnTo>
                  <a:lnTo>
                    <a:pt x="14194" y="15814"/>
                  </a:lnTo>
                  <a:lnTo>
                    <a:pt x="19677" y="19535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56" name="Freeform 15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49" y="3775"/>
              <a:ext cx="65" cy="82"/>
            </a:xfrm>
            <a:custGeom>
              <a:avLst/>
              <a:gdLst>
                <a:gd name="T0" fmla="*/ 17 w 20000"/>
                <a:gd name="T1" fmla="*/ 82 h 20000"/>
                <a:gd name="T2" fmla="*/ 24 w 20000"/>
                <a:gd name="T3" fmla="*/ 82 h 20000"/>
                <a:gd name="T4" fmla="*/ 27 w 20000"/>
                <a:gd name="T5" fmla="*/ 72 h 20000"/>
                <a:gd name="T6" fmla="*/ 31 w 20000"/>
                <a:gd name="T7" fmla="*/ 72 h 20000"/>
                <a:gd name="T8" fmla="*/ 37 w 20000"/>
                <a:gd name="T9" fmla="*/ 61 h 20000"/>
                <a:gd name="T10" fmla="*/ 41 w 20000"/>
                <a:gd name="T11" fmla="*/ 61 h 20000"/>
                <a:gd name="T12" fmla="*/ 41 w 20000"/>
                <a:gd name="T13" fmla="*/ 68 h 20000"/>
                <a:gd name="T14" fmla="*/ 37 w 20000"/>
                <a:gd name="T15" fmla="*/ 68 h 20000"/>
                <a:gd name="T16" fmla="*/ 37 w 20000"/>
                <a:gd name="T17" fmla="*/ 75 h 20000"/>
                <a:gd name="T18" fmla="*/ 44 w 20000"/>
                <a:gd name="T19" fmla="*/ 72 h 20000"/>
                <a:gd name="T20" fmla="*/ 48 w 20000"/>
                <a:gd name="T21" fmla="*/ 61 h 20000"/>
                <a:gd name="T22" fmla="*/ 51 w 20000"/>
                <a:gd name="T23" fmla="*/ 54 h 20000"/>
                <a:gd name="T24" fmla="*/ 51 w 20000"/>
                <a:gd name="T25" fmla="*/ 47 h 20000"/>
                <a:gd name="T26" fmla="*/ 55 w 20000"/>
                <a:gd name="T27" fmla="*/ 45 h 20000"/>
                <a:gd name="T28" fmla="*/ 55 w 20000"/>
                <a:gd name="T29" fmla="*/ 47 h 20000"/>
                <a:gd name="T30" fmla="*/ 58 w 20000"/>
                <a:gd name="T31" fmla="*/ 47 h 20000"/>
                <a:gd name="T32" fmla="*/ 65 w 20000"/>
                <a:gd name="T33" fmla="*/ 11 h 20000"/>
                <a:gd name="T34" fmla="*/ 65 w 20000"/>
                <a:gd name="T35" fmla="*/ 7 h 20000"/>
                <a:gd name="T36" fmla="*/ 55 w 20000"/>
                <a:gd name="T37" fmla="*/ 11 h 20000"/>
                <a:gd name="T38" fmla="*/ 51 w 20000"/>
                <a:gd name="T39" fmla="*/ 11 h 20000"/>
                <a:gd name="T40" fmla="*/ 41 w 20000"/>
                <a:gd name="T41" fmla="*/ 14 h 20000"/>
                <a:gd name="T42" fmla="*/ 24 w 20000"/>
                <a:gd name="T43" fmla="*/ 11 h 20000"/>
                <a:gd name="T44" fmla="*/ 14 w 20000"/>
                <a:gd name="T45" fmla="*/ 4 h 20000"/>
                <a:gd name="T46" fmla="*/ 11 w 20000"/>
                <a:gd name="T47" fmla="*/ 0 h 20000"/>
                <a:gd name="T48" fmla="*/ 7 w 20000"/>
                <a:gd name="T49" fmla="*/ 0 h 20000"/>
                <a:gd name="T50" fmla="*/ 4 w 20000"/>
                <a:gd name="T51" fmla="*/ 7 h 20000"/>
                <a:gd name="T52" fmla="*/ 7 w 20000"/>
                <a:gd name="T53" fmla="*/ 45 h 20000"/>
                <a:gd name="T54" fmla="*/ 7 w 20000"/>
                <a:gd name="T55" fmla="*/ 47 h 20000"/>
                <a:gd name="T56" fmla="*/ 4 w 20000"/>
                <a:gd name="T57" fmla="*/ 45 h 20000"/>
                <a:gd name="T58" fmla="*/ 0 w 20000"/>
                <a:gd name="T59" fmla="*/ 58 h 20000"/>
                <a:gd name="T60" fmla="*/ 4 w 20000"/>
                <a:gd name="T61" fmla="*/ 68 h 20000"/>
                <a:gd name="T62" fmla="*/ 11 w 20000"/>
                <a:gd name="T63" fmla="*/ 72 h 20000"/>
                <a:gd name="T64" fmla="*/ 11 w 20000"/>
                <a:gd name="T65" fmla="*/ 75 h 20000"/>
                <a:gd name="T66" fmla="*/ 7 w 20000"/>
                <a:gd name="T67" fmla="*/ 75 h 20000"/>
                <a:gd name="T68" fmla="*/ 11 w 20000"/>
                <a:gd name="T69" fmla="*/ 78 h 20000"/>
                <a:gd name="T70" fmla="*/ 17 w 20000"/>
                <a:gd name="T71" fmla="*/ 82 h 2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0000" h="20000">
                  <a:moveTo>
                    <a:pt x="5276" y="19902"/>
                  </a:moveTo>
                  <a:lnTo>
                    <a:pt x="7362" y="19902"/>
                  </a:lnTo>
                  <a:lnTo>
                    <a:pt x="8344" y="17451"/>
                  </a:lnTo>
                  <a:lnTo>
                    <a:pt x="9448" y="17451"/>
                  </a:lnTo>
                  <a:lnTo>
                    <a:pt x="11534" y="14902"/>
                  </a:lnTo>
                  <a:lnTo>
                    <a:pt x="12761" y="14902"/>
                  </a:lnTo>
                  <a:lnTo>
                    <a:pt x="12761" y="16569"/>
                  </a:lnTo>
                  <a:lnTo>
                    <a:pt x="11534" y="16569"/>
                  </a:lnTo>
                  <a:lnTo>
                    <a:pt x="11534" y="18235"/>
                  </a:lnTo>
                  <a:lnTo>
                    <a:pt x="13620" y="17451"/>
                  </a:lnTo>
                  <a:lnTo>
                    <a:pt x="14847" y="14902"/>
                  </a:lnTo>
                  <a:lnTo>
                    <a:pt x="15706" y="13235"/>
                  </a:lnTo>
                  <a:lnTo>
                    <a:pt x="15706" y="11569"/>
                  </a:lnTo>
                  <a:lnTo>
                    <a:pt x="16810" y="10882"/>
                  </a:lnTo>
                  <a:lnTo>
                    <a:pt x="16810" y="11569"/>
                  </a:lnTo>
                  <a:lnTo>
                    <a:pt x="17791" y="11569"/>
                  </a:lnTo>
                  <a:lnTo>
                    <a:pt x="19877" y="2647"/>
                  </a:lnTo>
                  <a:lnTo>
                    <a:pt x="19877" y="1667"/>
                  </a:lnTo>
                  <a:lnTo>
                    <a:pt x="16810" y="2647"/>
                  </a:lnTo>
                  <a:lnTo>
                    <a:pt x="15706" y="2647"/>
                  </a:lnTo>
                  <a:lnTo>
                    <a:pt x="12761" y="3333"/>
                  </a:lnTo>
                  <a:lnTo>
                    <a:pt x="7362" y="2647"/>
                  </a:lnTo>
                  <a:lnTo>
                    <a:pt x="4172" y="980"/>
                  </a:lnTo>
                  <a:lnTo>
                    <a:pt x="3313" y="0"/>
                  </a:lnTo>
                  <a:lnTo>
                    <a:pt x="2086" y="0"/>
                  </a:lnTo>
                  <a:lnTo>
                    <a:pt x="1227" y="1667"/>
                  </a:lnTo>
                  <a:lnTo>
                    <a:pt x="2086" y="10882"/>
                  </a:lnTo>
                  <a:lnTo>
                    <a:pt x="2086" y="11569"/>
                  </a:lnTo>
                  <a:lnTo>
                    <a:pt x="1227" y="10882"/>
                  </a:lnTo>
                  <a:lnTo>
                    <a:pt x="0" y="14216"/>
                  </a:lnTo>
                  <a:lnTo>
                    <a:pt x="1227" y="16569"/>
                  </a:lnTo>
                  <a:lnTo>
                    <a:pt x="3313" y="17451"/>
                  </a:lnTo>
                  <a:lnTo>
                    <a:pt x="3313" y="18235"/>
                  </a:lnTo>
                  <a:lnTo>
                    <a:pt x="2086" y="18235"/>
                  </a:lnTo>
                  <a:lnTo>
                    <a:pt x="3313" y="19118"/>
                  </a:lnTo>
                  <a:lnTo>
                    <a:pt x="5276" y="19902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  <p:sp>
          <p:nvSpPr>
            <p:cNvPr id="157" name="Freeform 16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6000" y="3287"/>
              <a:ext cx="32" cy="55"/>
            </a:xfrm>
            <a:custGeom>
              <a:avLst/>
              <a:gdLst>
                <a:gd name="T0" fmla="*/ 32 w 20000"/>
                <a:gd name="T1" fmla="*/ 54 h 20000"/>
                <a:gd name="T2" fmla="*/ 32 w 20000"/>
                <a:gd name="T3" fmla="*/ 47 h 20000"/>
                <a:gd name="T4" fmla="*/ 25 w 20000"/>
                <a:gd name="T5" fmla="*/ 34 h 20000"/>
                <a:gd name="T6" fmla="*/ 18 w 20000"/>
                <a:gd name="T7" fmla="*/ 27 h 20000"/>
                <a:gd name="T8" fmla="*/ 18 w 20000"/>
                <a:gd name="T9" fmla="*/ 20 h 20000"/>
                <a:gd name="T10" fmla="*/ 14 w 20000"/>
                <a:gd name="T11" fmla="*/ 17 h 20000"/>
                <a:gd name="T12" fmla="*/ 4 w 20000"/>
                <a:gd name="T13" fmla="*/ 4 h 20000"/>
                <a:gd name="T14" fmla="*/ 0 w 20000"/>
                <a:gd name="T15" fmla="*/ 0 h 20000"/>
                <a:gd name="T16" fmla="*/ 4 w 20000"/>
                <a:gd name="T17" fmla="*/ 17 h 20000"/>
                <a:gd name="T18" fmla="*/ 14 w 20000"/>
                <a:gd name="T19" fmla="*/ 37 h 20000"/>
                <a:gd name="T20" fmla="*/ 25 w 20000"/>
                <a:gd name="T21" fmla="*/ 44 h 20000"/>
                <a:gd name="T22" fmla="*/ 25 w 20000"/>
                <a:gd name="T23" fmla="*/ 50 h 20000"/>
                <a:gd name="T24" fmla="*/ 32 w 20000"/>
                <a:gd name="T25" fmla="*/ 54 h 2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000" h="20000">
                  <a:moveTo>
                    <a:pt x="19747" y="19854"/>
                  </a:moveTo>
                  <a:lnTo>
                    <a:pt x="19747" y="17372"/>
                  </a:lnTo>
                  <a:lnTo>
                    <a:pt x="15443" y="12409"/>
                  </a:lnTo>
                  <a:lnTo>
                    <a:pt x="11139" y="9927"/>
                  </a:lnTo>
                  <a:lnTo>
                    <a:pt x="11139" y="7445"/>
                  </a:lnTo>
                  <a:lnTo>
                    <a:pt x="8608" y="6423"/>
                  </a:lnTo>
                  <a:lnTo>
                    <a:pt x="2532" y="1460"/>
                  </a:lnTo>
                  <a:lnTo>
                    <a:pt x="0" y="0"/>
                  </a:lnTo>
                  <a:lnTo>
                    <a:pt x="2532" y="6423"/>
                  </a:lnTo>
                  <a:lnTo>
                    <a:pt x="8608" y="13723"/>
                  </a:lnTo>
                  <a:lnTo>
                    <a:pt x="15443" y="16204"/>
                  </a:lnTo>
                  <a:lnTo>
                    <a:pt x="15443" y="18686"/>
                  </a:lnTo>
                  <a:lnTo>
                    <a:pt x="19747" y="19854"/>
                  </a:lnTo>
                  <a:close/>
                </a:path>
              </a:pathLst>
            </a:custGeom>
            <a:grpFill/>
            <a:ln w="6350" cap="flat">
              <a:solidFill>
                <a:srgbClr val="33996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3923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 dirty="0">
                <a:solidFill>
                  <a:srgbClr val="000000"/>
                </a:solidFill>
                <a:latin typeface="BNPP Sans"/>
                <a:ea typeface="KaiTi" panose="02010609060101010101" pitchFamily="49" charset="-122"/>
                <a:cs typeface="Arial" charset="0"/>
              </a:endParaRPr>
            </a:p>
          </p:txBody>
        </p:sp>
      </p:grpSp>
      <p:sp>
        <p:nvSpPr>
          <p:cNvPr id="162" name="Rectangle 5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33600" y="820738"/>
            <a:ext cx="5195888" cy="252412"/>
          </a:xfrm>
          <a:prstGeom prst="rect">
            <a:avLst/>
          </a:prstGeom>
          <a:solidFill>
            <a:schemeClr val="bg2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lIns="29105" tIns="36963" rIns="29105" bIns="36963" anchor="ctr"/>
          <a:lstStyle>
            <a:lvl1pPr marL="342900" indent="-342900"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lvl="1" indent="0" algn="ctr" eaLnBrk="1" hangingPunct="1">
              <a:spcBef>
                <a:spcPct val="20000"/>
              </a:spcBef>
              <a:buClr>
                <a:srgbClr val="000000"/>
              </a:buClr>
              <a:buSzPct val="120000"/>
              <a:buFont typeface="Wingdings" pitchFamily="2" charset="2"/>
              <a:buNone/>
            </a:pPr>
            <a:r>
              <a:rPr lang="en-US" altLang="es-PE" sz="1100" b="1" dirty="0" err="1">
                <a:latin typeface="BNPP Sans" pitchFamily="50" charset="0"/>
              </a:rPr>
              <a:t>Primas</a:t>
            </a:r>
            <a:r>
              <a:rPr lang="en-US" altLang="es-PE" sz="1100" b="1" dirty="0">
                <a:latin typeface="BNPP Sans" pitchFamily="50" charset="0"/>
              </a:rPr>
              <a:t> </a:t>
            </a:r>
            <a:r>
              <a:rPr lang="en-US" altLang="es-PE" sz="1100" b="1" dirty="0" err="1" smtClean="0">
                <a:latin typeface="BNPP Sans" pitchFamily="50" charset="0"/>
              </a:rPr>
              <a:t>netas</a:t>
            </a:r>
            <a:r>
              <a:rPr lang="en-US" altLang="es-PE" sz="1100" b="1" dirty="0" smtClean="0">
                <a:latin typeface="BNPP Sans" pitchFamily="50" charset="0"/>
              </a:rPr>
              <a:t> (</a:t>
            </a:r>
            <a:r>
              <a:rPr lang="en-US" altLang="es-PE" sz="1100" b="1" dirty="0" err="1" smtClean="0">
                <a:latin typeface="BNPP Sans" pitchFamily="50" charset="0"/>
              </a:rPr>
              <a:t>Bn</a:t>
            </a:r>
            <a:r>
              <a:rPr lang="en-US" altLang="es-PE" sz="1100" b="1" dirty="0" smtClean="0">
                <a:latin typeface="BNPP Sans" pitchFamily="50" charset="0"/>
              </a:rPr>
              <a:t> EUR)</a:t>
            </a:r>
            <a:endParaRPr lang="en-US" altLang="es-PE" sz="1100" b="1" dirty="0">
              <a:latin typeface="BNPP Sans" pitchFamily="50" charset="0"/>
            </a:endParaRPr>
          </a:p>
        </p:txBody>
      </p:sp>
      <p:grpSp>
        <p:nvGrpSpPr>
          <p:cNvPr id="163" name="Groupe 7"/>
          <p:cNvGrpSpPr>
            <a:grpSpLocks/>
          </p:cNvGrpSpPr>
          <p:nvPr/>
        </p:nvGrpSpPr>
        <p:grpSpPr bwMode="auto">
          <a:xfrm>
            <a:off x="5713281" y="4134273"/>
            <a:ext cx="1050925" cy="309680"/>
            <a:chOff x="5742036" y="5613694"/>
            <a:chExt cx="1242435" cy="410844"/>
          </a:xfrm>
        </p:grpSpPr>
        <p:sp>
          <p:nvSpPr>
            <p:cNvPr id="164" name="Rectangle 4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742036" y="5664240"/>
              <a:ext cx="116361" cy="73713"/>
            </a:xfrm>
            <a:prstGeom prst="rect">
              <a:avLst/>
            </a:prstGeom>
            <a:solidFill>
              <a:srgbClr val="FF66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en-US" altLang="es-ES" sz="1200">
                <a:solidFill>
                  <a:schemeClr val="tx1"/>
                </a:solidFill>
                <a:latin typeface="BNPP Sans" pitchFamily="50" charset="0"/>
                <a:cs typeface="Arial" pitchFamily="34" charset="0"/>
              </a:endParaRPr>
            </a:p>
          </p:txBody>
        </p:sp>
        <p:sp>
          <p:nvSpPr>
            <p:cNvPr id="165" name="Rectangle 20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742036" y="5952931"/>
              <a:ext cx="116361" cy="71607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en-US" altLang="es-ES" sz="1200">
                <a:solidFill>
                  <a:schemeClr val="tx1"/>
                </a:solidFill>
                <a:latin typeface="BNPP Sans" pitchFamily="50" charset="0"/>
                <a:cs typeface="Arial" pitchFamily="34" charset="0"/>
              </a:endParaRPr>
            </a:p>
          </p:txBody>
        </p:sp>
        <p:sp>
          <p:nvSpPr>
            <p:cNvPr id="166" name="ZoneTexte 6"/>
            <p:cNvSpPr txBox="1">
              <a:spLocks noChangeArrowheads="1"/>
            </p:cNvSpPr>
            <p:nvPr/>
          </p:nvSpPr>
          <p:spPr bwMode="auto">
            <a:xfrm>
              <a:off x="5949945" y="5613694"/>
              <a:ext cx="1034526" cy="123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en-US" altLang="es-PE" sz="1000" dirty="0" err="1">
                  <a:solidFill>
                    <a:srgbClr val="FF6600"/>
                  </a:solidFill>
                  <a:latin typeface="BNPP Sans" pitchFamily="50" charset="0"/>
                </a:rPr>
                <a:t>Protección</a:t>
              </a:r>
              <a:endParaRPr lang="en-US" altLang="es-PE" sz="1000" dirty="0">
                <a:solidFill>
                  <a:srgbClr val="FF6600"/>
                </a:solidFill>
                <a:latin typeface="BNPP Sans" pitchFamily="50" charset="0"/>
              </a:endParaRPr>
            </a:p>
          </p:txBody>
        </p:sp>
        <p:sp>
          <p:nvSpPr>
            <p:cNvPr id="167" name="ZoneTexte 208"/>
            <p:cNvSpPr txBox="1">
              <a:spLocks noChangeArrowheads="1"/>
            </p:cNvSpPr>
            <p:nvPr/>
          </p:nvSpPr>
          <p:spPr bwMode="auto">
            <a:xfrm>
              <a:off x="5940152" y="5901038"/>
              <a:ext cx="1034526" cy="123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spcBef>
                  <a:spcPts val="163"/>
                </a:spcBef>
                <a:buClr>
                  <a:srgbClr val="008578"/>
                </a:buClr>
                <a:buSzPct val="100000"/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63"/>
                </a:spcBef>
                <a:buClr>
                  <a:schemeClr val="accent1"/>
                </a:buClr>
                <a:buSzPct val="90000"/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100">
                  <a:solidFill>
                    <a:schemeClr val="accent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ts val="163"/>
                </a:spcBef>
                <a:buFont typeface="Wingdings" pitchFamily="2" charset="2"/>
                <a:buChar char="§"/>
                <a:defRPr sz="1000">
                  <a:solidFill>
                    <a:schemeClr val="tx2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ts val="163"/>
                </a:spcBef>
                <a:defRPr sz="800">
                  <a:solidFill>
                    <a:schemeClr val="tx2"/>
                  </a:solidFill>
                  <a:latin typeface="Arial" pitchFamily="34" charset="0"/>
                </a:defRPr>
              </a:lvl5pPr>
              <a:lvl6pPr marL="25146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6pPr>
              <a:lvl7pPr marL="29718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7pPr>
              <a:lvl8pPr marL="34290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8pPr>
              <a:lvl9pPr marL="3886200" indent="-228600" defTabSz="738188" eaLnBrk="0" fontAlgn="base" hangingPunct="0">
                <a:spcBef>
                  <a:spcPts val="163"/>
                </a:spcBef>
                <a:spcAft>
                  <a:spcPct val="0"/>
                </a:spcAft>
                <a:defRPr sz="800">
                  <a:solidFill>
                    <a:schemeClr val="tx2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en-US" altLang="es-PE" sz="1000" dirty="0">
                  <a:solidFill>
                    <a:srgbClr val="339966"/>
                  </a:solidFill>
                  <a:latin typeface="BNPP Sans" pitchFamily="50" charset="0"/>
                </a:rPr>
                <a:t>Savings</a:t>
              </a:r>
            </a:p>
          </p:txBody>
        </p:sp>
      </p:grpSp>
      <p:sp>
        <p:nvSpPr>
          <p:cNvPr id="168" name="167 CuadroTexto">
            <a:extLst>
              <a:ext uri="{FF2B5EF4-FFF2-40B4-BE49-F238E27FC236}"/>
            </a:extLst>
          </p:cNvPr>
          <p:cNvSpPr txBox="1"/>
          <p:nvPr/>
        </p:nvSpPr>
        <p:spPr>
          <a:xfrm>
            <a:off x="568325" y="190500"/>
            <a:ext cx="8393113" cy="3175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39237" fontAlgn="auto">
              <a:spcAft>
                <a:spcPts val="0"/>
              </a:spcAft>
              <a:defRPr/>
            </a:pPr>
            <a:r>
              <a:rPr lang="es-PE" sz="2400" b="1" dirty="0">
                <a:solidFill>
                  <a:schemeClr val="accent1"/>
                </a:solidFill>
                <a:latin typeface="BNPP Sans" pitchFamily="50" charset="0"/>
                <a:ea typeface="+mj-ea"/>
                <a:cs typeface="+mj-cs"/>
              </a:rPr>
              <a:t>Una fuerte presencia geográfica : 35 países en 3 continentes</a:t>
            </a:r>
          </a:p>
        </p:txBody>
      </p:sp>
      <p:sp>
        <p:nvSpPr>
          <p:cNvPr id="169" name="ZoneTexte 3"/>
          <p:cNvSpPr txBox="1">
            <a:spLocks noChangeArrowheads="1"/>
          </p:cNvSpPr>
          <p:nvPr/>
        </p:nvSpPr>
        <p:spPr bwMode="auto">
          <a:xfrm>
            <a:off x="7637463" y="4651375"/>
            <a:ext cx="1646237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GB" altLang="es-PE" sz="800" dirty="0">
                <a:latin typeface="BNPP Sans" pitchFamily="50" charset="0"/>
              </a:rPr>
              <a:t>*Fuente: </a:t>
            </a:r>
            <a:r>
              <a:rPr lang="en-GB" altLang="es-PE" sz="800">
                <a:latin typeface="BNPP Sans" pitchFamily="50" charset="0"/>
              </a:rPr>
              <a:t>Finaccord 2018</a:t>
            </a:r>
          </a:p>
        </p:txBody>
      </p:sp>
      <p:grpSp>
        <p:nvGrpSpPr>
          <p:cNvPr id="197" name="196 Grupo"/>
          <p:cNvGrpSpPr/>
          <p:nvPr/>
        </p:nvGrpSpPr>
        <p:grpSpPr>
          <a:xfrm>
            <a:off x="4644008" y="1099764"/>
            <a:ext cx="2638425" cy="1366838"/>
            <a:chOff x="7772912" y="948507"/>
            <a:chExt cx="2638425" cy="1366838"/>
          </a:xfrm>
        </p:grpSpPr>
        <p:graphicFrame>
          <p:nvGraphicFramePr>
            <p:cNvPr id="195" name="1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32141793"/>
                </p:ext>
              </p:extLst>
            </p:nvPr>
          </p:nvGraphicFramePr>
          <p:xfrm>
            <a:off x="7772912" y="948507"/>
            <a:ext cx="2638425" cy="136683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96" name="195 CuadroTexto"/>
            <p:cNvSpPr txBox="1"/>
            <p:nvPr/>
          </p:nvSpPr>
          <p:spPr>
            <a:xfrm>
              <a:off x="8865604" y="1548074"/>
              <a:ext cx="507106" cy="126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PE" sz="14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NPP Sans" pitchFamily="50" charset="0"/>
                </a:rPr>
                <a:t>EMEA</a:t>
              </a:r>
            </a:p>
          </p:txBody>
        </p:sp>
      </p:grpSp>
      <p:graphicFrame>
        <p:nvGraphicFramePr>
          <p:cNvPr id="198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3628531"/>
              </p:ext>
            </p:extLst>
          </p:nvPr>
        </p:nvGraphicFramePr>
        <p:xfrm>
          <a:off x="5031774" y="2296729"/>
          <a:ext cx="2305244" cy="1398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9" name="198 CuadroTexto"/>
          <p:cNvSpPr txBox="1"/>
          <p:nvPr/>
        </p:nvSpPr>
        <p:spPr>
          <a:xfrm>
            <a:off x="5987053" y="2882781"/>
            <a:ext cx="507106" cy="2387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NPP Sans" pitchFamily="50" charset="0"/>
              </a:rPr>
              <a:t>ASIA</a:t>
            </a:r>
          </a:p>
        </p:txBody>
      </p:sp>
      <p:graphicFrame>
        <p:nvGraphicFramePr>
          <p:cNvPr id="200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568282"/>
              </p:ext>
            </p:extLst>
          </p:nvPr>
        </p:nvGraphicFramePr>
        <p:xfrm>
          <a:off x="3777101" y="1294233"/>
          <a:ext cx="1553863" cy="1531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1" name="200 CuadroTexto"/>
          <p:cNvSpPr txBox="1"/>
          <p:nvPr/>
        </p:nvSpPr>
        <p:spPr>
          <a:xfrm>
            <a:off x="4236289" y="1995791"/>
            <a:ext cx="664364" cy="133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NPP Sans" pitchFamily="50" charset="0"/>
              </a:rPr>
              <a:t>FRANCIA</a:t>
            </a:r>
          </a:p>
        </p:txBody>
      </p:sp>
      <p:graphicFrame>
        <p:nvGraphicFramePr>
          <p:cNvPr id="202" name="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0143158"/>
              </p:ext>
            </p:extLst>
          </p:nvPr>
        </p:nvGraphicFramePr>
        <p:xfrm>
          <a:off x="1979712" y="2513898"/>
          <a:ext cx="1727129" cy="1281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3" name="202 CuadroTexto"/>
          <p:cNvSpPr txBox="1"/>
          <p:nvPr/>
        </p:nvSpPr>
        <p:spPr>
          <a:xfrm>
            <a:off x="2606124" y="3122148"/>
            <a:ext cx="664364" cy="133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NPP Sans" pitchFamily="50" charset="0"/>
              </a:rPr>
              <a:t>LATAM</a:t>
            </a:r>
          </a:p>
        </p:txBody>
      </p:sp>
      <p:sp>
        <p:nvSpPr>
          <p:cNvPr id="2" name="1 Rectángulo redondeado"/>
          <p:cNvSpPr/>
          <p:nvPr/>
        </p:nvSpPr>
        <p:spPr>
          <a:xfrm>
            <a:off x="5480052" y="4052219"/>
            <a:ext cx="1232264" cy="463747"/>
          </a:xfrm>
          <a:prstGeom prst="round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14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8</a:t>
            </a:fld>
            <a:endParaRPr lang="en-GB" noProof="0" dirty="0"/>
          </a:p>
        </p:txBody>
      </p:sp>
      <p:pic>
        <p:nvPicPr>
          <p:cNvPr id="7" name="Picture 4" descr="Afficher l'image d'origi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388" y="1885950"/>
            <a:ext cx="588962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525" y="2500313"/>
            <a:ext cx="698500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er 86"/>
          <p:cNvGrpSpPr>
            <a:grpSpLocks/>
          </p:cNvGrpSpPr>
          <p:nvPr/>
        </p:nvGrpSpPr>
        <p:grpSpPr bwMode="auto">
          <a:xfrm>
            <a:off x="6026150" y="3622675"/>
            <a:ext cx="1922463" cy="574675"/>
            <a:chOff x="5251046" y="3758442"/>
            <a:chExt cx="2446938" cy="824419"/>
          </a:xfrm>
        </p:grpSpPr>
        <p:pic>
          <p:nvPicPr>
            <p:cNvPr id="10" name="Image 6" descr="Capture d’écran 2015-08-12 à 15.36.13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8737" y="4215516"/>
              <a:ext cx="463209" cy="367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Image 7" descr="Capture d’écran 2015-08-12 à 15.35.46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1046" y="3758442"/>
              <a:ext cx="418205" cy="393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Image 8" descr="Capture d’écran 2015-08-12 à 15.35.16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6276" y="3867795"/>
              <a:ext cx="1120189" cy="200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Image 9" descr="Capture d’écran 2015-08-12 à 15.34.38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4629" y="3799835"/>
              <a:ext cx="713355" cy="239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Image 10" descr="Capture d’écran 2015-08-12 à 15.33.36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3788" y="4123482"/>
              <a:ext cx="1209502" cy="333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5" name="Grouper 94"/>
          <p:cNvGrpSpPr>
            <a:grpSpLocks/>
          </p:cNvGrpSpPr>
          <p:nvPr/>
        </p:nvGrpSpPr>
        <p:grpSpPr bwMode="auto">
          <a:xfrm>
            <a:off x="901700" y="3575050"/>
            <a:ext cx="1643063" cy="752475"/>
            <a:chOff x="518120" y="3799598"/>
            <a:chExt cx="1939279" cy="1001920"/>
          </a:xfrm>
        </p:grpSpPr>
        <p:grpSp>
          <p:nvGrpSpPr>
            <p:cNvPr id="16" name="Grouper 95"/>
            <p:cNvGrpSpPr>
              <a:grpSpLocks/>
            </p:cNvGrpSpPr>
            <p:nvPr/>
          </p:nvGrpSpPr>
          <p:grpSpPr bwMode="auto">
            <a:xfrm>
              <a:off x="1132038" y="3799598"/>
              <a:ext cx="735184" cy="571429"/>
              <a:chOff x="628620" y="2897721"/>
              <a:chExt cx="955676" cy="742811"/>
            </a:xfrm>
          </p:grpSpPr>
          <p:pic>
            <p:nvPicPr>
              <p:cNvPr id="22" name="Image 18" descr="Capture d’écran 2015-08-12 à 15.39.49.png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8620" y="3280868"/>
                <a:ext cx="536889" cy="359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" name="Image 19" descr="Capture d’écran 2015-08-12 à 15.40.20.png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974" y="2897721"/>
                <a:ext cx="626322" cy="3462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7" name="Image 13" descr="Capture d’écran 2015-08-12 à 15.41.52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b="4137"/>
            <a:stretch>
              <a:fillRect/>
            </a:stretch>
          </p:blipFill>
          <p:spPr bwMode="auto">
            <a:xfrm>
              <a:off x="1909887" y="4363332"/>
              <a:ext cx="547512" cy="313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Image 14" descr="Capture d’écran 2015-08-12 à 15.42.24.png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8050" y="4488385"/>
              <a:ext cx="601296" cy="313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Image 15" descr="Capture d’écran 2015-08-12 à 15.43.11.png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4922" y="4315344"/>
              <a:ext cx="478416" cy="2377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Image 16" descr="Capture d’écran 2015-08-12 à 15.43.31.png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9341" y="3942491"/>
              <a:ext cx="407677" cy="2443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Image 17" descr="auchan_logo.png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8120" y="3966291"/>
              <a:ext cx="461581" cy="104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" name="Grouper 103"/>
          <p:cNvGrpSpPr>
            <a:grpSpLocks/>
          </p:cNvGrpSpPr>
          <p:nvPr/>
        </p:nvGrpSpPr>
        <p:grpSpPr bwMode="auto">
          <a:xfrm>
            <a:off x="1125538" y="2444750"/>
            <a:ext cx="1409700" cy="450850"/>
            <a:chOff x="1301411" y="3266089"/>
            <a:chExt cx="1909674" cy="687897"/>
          </a:xfrm>
        </p:grpSpPr>
        <p:pic>
          <p:nvPicPr>
            <p:cNvPr id="25" name="Image 21" descr="Capture d’écran 2015-08-12 à 15.40.51.png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9645" b="-9126"/>
            <a:stretch>
              <a:fillRect/>
            </a:stretch>
          </p:blipFill>
          <p:spPr bwMode="auto">
            <a:xfrm>
              <a:off x="1939491" y="3331318"/>
              <a:ext cx="715165" cy="412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Image 22" descr="Capture d’écran 2015-08-12 à 15.41.30.png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7798" y="3266089"/>
              <a:ext cx="423287" cy="423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Image 23" descr="Capture d’écran 2015-08-12 à 15.43.50.png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1411" y="3465279"/>
              <a:ext cx="578041" cy="4887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8" name="Grouper 140"/>
          <p:cNvGrpSpPr>
            <a:grpSpLocks/>
          </p:cNvGrpSpPr>
          <p:nvPr/>
        </p:nvGrpSpPr>
        <p:grpSpPr bwMode="auto">
          <a:xfrm>
            <a:off x="5842000" y="2170113"/>
            <a:ext cx="2071688" cy="944562"/>
            <a:chOff x="6156176" y="2573371"/>
            <a:chExt cx="2448272" cy="1258325"/>
          </a:xfrm>
        </p:grpSpPr>
        <p:grpSp>
          <p:nvGrpSpPr>
            <p:cNvPr id="29" name="Grouper 141"/>
            <p:cNvGrpSpPr>
              <a:grpSpLocks/>
            </p:cNvGrpSpPr>
            <p:nvPr/>
          </p:nvGrpSpPr>
          <p:grpSpPr bwMode="auto">
            <a:xfrm>
              <a:off x="6156176" y="2573371"/>
              <a:ext cx="2448272" cy="1258325"/>
              <a:chOff x="6156176" y="2573371"/>
              <a:chExt cx="2448272" cy="1258325"/>
            </a:xfrm>
          </p:grpSpPr>
          <p:pic>
            <p:nvPicPr>
              <p:cNvPr id="31" name="Image 27" descr="Capture d’écran 2015-07-27 à 11.14.07.png"/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56176" y="2780928"/>
                <a:ext cx="812858" cy="1856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Image 28" descr="Capture d’écran 2015-07-27 à 11.14.07.png">
                <a:extLst>
                  <a:ext uri="{FF2B5EF4-FFF2-40B4-BE49-F238E27FC236}"/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092280" y="3356992"/>
                <a:ext cx="654903" cy="223303"/>
              </a:xfrm>
              <a:prstGeom prst="roundRect">
                <a:avLst/>
              </a:prstGeom>
            </p:spPr>
          </p:pic>
          <p:pic>
            <p:nvPicPr>
              <p:cNvPr id="33" name="Image 29" descr="Capture d’écran 2015-08-20 à 11.00.07.png"/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38300" y="3582444"/>
                <a:ext cx="371227" cy="2492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" name="Image 30" descr="Capture d’écran 2015-08-20 à 11.00.32.png"/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14765" y="2623285"/>
                <a:ext cx="391735" cy="2293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Image 31" descr="Capture d’écran 2015-08-20 à 11.00.55.png"/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88339" y="3038692"/>
                <a:ext cx="640045" cy="1742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Image 32" descr="Capture d’écran 2015-08-20 à 11.01.37.png"/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33667" y="2573371"/>
                <a:ext cx="683677" cy="1645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Image 33" descr="Capture d’écran 2015-08-20 à 11.02.16.png"/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54567" y="3068960"/>
                <a:ext cx="549881" cy="1393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Image 34" descr="Capture d’écran 2015-08-20 à 11.03.13.png"/>
              <p:cNvPicPr>
                <a:picLocks noChangeAspect="1"/>
              </p:cNvPicPr>
              <p:nvPr/>
            </p:nvPicPr>
            <p:blipFill>
              <a:blip r:embed="rId2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72199" y="3201540"/>
                <a:ext cx="504057" cy="1956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0" name="Image 26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9599" y="2996952"/>
              <a:ext cx="398705" cy="398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9" name="Rectangle 35"/>
          <p:cNvSpPr>
            <a:spLocks noChangeArrowheads="1"/>
          </p:cNvSpPr>
          <p:nvPr/>
        </p:nvSpPr>
        <p:spPr bwMode="auto">
          <a:xfrm>
            <a:off x="3743325" y="2765425"/>
            <a:ext cx="455613" cy="5873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925" tIns="72759" rIns="73925" bIns="72759" anchor="ctr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n-GB" altLang="es-ES" sz="1100">
              <a:solidFill>
                <a:srgbClr val="FFFFFF"/>
              </a:solidFill>
              <a:latin typeface="BNPP Sans" pitchFamily="50" charset="0"/>
            </a:endParaRPr>
          </a:p>
        </p:txBody>
      </p:sp>
      <p:sp>
        <p:nvSpPr>
          <p:cNvPr id="40" name="Rectangle 36"/>
          <p:cNvSpPr>
            <a:spLocks noChangeArrowheads="1"/>
          </p:cNvSpPr>
          <p:nvPr/>
        </p:nvSpPr>
        <p:spPr bwMode="auto">
          <a:xfrm>
            <a:off x="3074988" y="3062288"/>
            <a:ext cx="366712" cy="34925"/>
          </a:xfrm>
          <a:prstGeom prst="rect">
            <a:avLst/>
          </a:prstGeom>
          <a:solidFill>
            <a:srgbClr val="FFFFFF"/>
          </a:solidFill>
          <a:ln w="3175" algn="ctr">
            <a:solidFill>
              <a:srgbClr val="FFFFFF"/>
            </a:solidFill>
            <a:miter lim="800000"/>
            <a:headEnd/>
            <a:tailEnd/>
          </a:ln>
        </p:spPr>
        <p:txBody>
          <a:bodyPr lIns="73925" tIns="72759" rIns="73925" bIns="72759" anchor="ctr"/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935038" indent="-134938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endParaRPr lang="es-ES" altLang="es-ES" sz="1100">
              <a:solidFill>
                <a:srgbClr val="000000"/>
              </a:solidFill>
              <a:latin typeface="BNPP Sans" pitchFamily="50" charset="0"/>
            </a:endParaRPr>
          </a:p>
        </p:txBody>
      </p:sp>
      <p:pic>
        <p:nvPicPr>
          <p:cNvPr id="41" name="Image 37" descr="Capture d’écran 2015-11-10 à 12.10.54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2400" y="1797050"/>
            <a:ext cx="4762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Image 38" descr="Capture d’écran 2015-07-27 à 11.14.07.png">
            <a:extLst>
              <a:ext uri="{FF2B5EF4-FFF2-40B4-BE49-F238E27FC236}"/>
            </a:extLst>
          </p:cNvPr>
          <p:cNvPicPr>
            <a:picLocks noChangeAspect="1"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" r="49337" b="3113"/>
          <a:stretch/>
        </p:blipFill>
        <p:spPr>
          <a:xfrm>
            <a:off x="4498329" y="1474730"/>
            <a:ext cx="673328" cy="224722"/>
          </a:xfrm>
          <a:prstGeom prst="roundRect">
            <a:avLst/>
          </a:prstGeom>
        </p:spPr>
      </p:pic>
      <p:pic>
        <p:nvPicPr>
          <p:cNvPr id="43" name="Image 39" descr="Capture d’écran 2015-07-27 à 11.14.07.png">
            <a:extLst>
              <a:ext uri="{FF2B5EF4-FFF2-40B4-BE49-F238E27FC236}"/>
            </a:extLst>
          </p:cNvPr>
          <p:cNvPicPr>
            <a:picLocks noChangeAspect="1"/>
          </p:cNvPicPr>
          <p:nvPr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45"/>
          <a:stretch/>
        </p:blipFill>
        <p:spPr>
          <a:xfrm>
            <a:off x="4881967" y="1796865"/>
            <a:ext cx="500920" cy="212512"/>
          </a:xfrm>
          <a:prstGeom prst="roundRect">
            <a:avLst/>
          </a:prstGeom>
        </p:spPr>
      </p:pic>
      <p:pic>
        <p:nvPicPr>
          <p:cNvPr id="44" name="Image 40" descr="Capture d’écran 2015-07-27 à 11.14.07.png">
            <a:extLst>
              <a:ext uri="{FF2B5EF4-FFF2-40B4-BE49-F238E27FC236}"/>
            </a:extLst>
          </p:cNvPr>
          <p:cNvPicPr>
            <a:picLocks noChangeAspect="1"/>
          </p:cNvPicPr>
          <p:nvPr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445" t="-376" r="7654" b="62658"/>
          <a:stretch/>
        </p:blipFill>
        <p:spPr>
          <a:xfrm>
            <a:off x="5173310" y="1632785"/>
            <a:ext cx="852853" cy="160483"/>
          </a:xfrm>
          <a:prstGeom prst="roundRect">
            <a:avLst/>
          </a:prstGeom>
        </p:spPr>
      </p:pic>
      <p:pic>
        <p:nvPicPr>
          <p:cNvPr id="45" name="Image 41" descr="Capture d’écran 2015-08-20 à 10.45.18.png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0" y="2125663"/>
            <a:ext cx="331788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Image 42" descr="Capture d’écran 2015-08-20 à 10.43.57.png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4050" y="1609725"/>
            <a:ext cx="320675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Image 43" descr="Capture d’écran 2015-07-27 à 11.14.07.png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042" t="1382"/>
          <a:stretch>
            <a:fillRect/>
          </a:stretch>
        </p:blipFill>
        <p:spPr bwMode="auto">
          <a:xfrm>
            <a:off x="3514725" y="2152650"/>
            <a:ext cx="474663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Image 44" descr="Capture d’écran 2015-07-27 à 11.14.07.png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701"/>
          <a:stretch>
            <a:fillRect/>
          </a:stretch>
        </p:blipFill>
        <p:spPr bwMode="auto">
          <a:xfrm>
            <a:off x="3292475" y="2562225"/>
            <a:ext cx="6969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Image 45" descr="Capture d’écran 2015-07-27 à 11.14.07.png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0188" y="2528888"/>
            <a:ext cx="466725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Image 46" descr="Capture d’écran 2015-07-27 à 11.14.07.png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150" y="2105025"/>
            <a:ext cx="38735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Image 47" descr="Capture d’écran 2015-07-27 à 11.14.07.png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1" t="37164" r="6593"/>
          <a:stretch>
            <a:fillRect/>
          </a:stretch>
        </p:blipFill>
        <p:spPr bwMode="auto">
          <a:xfrm>
            <a:off x="3640138" y="2973388"/>
            <a:ext cx="563562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Image 48" descr="Capture d’écran 2015-08-20 à 10.44.56.pn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663" y="2119313"/>
            <a:ext cx="385762" cy="106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Image 49" descr="Capture d’écran 2015-07-27 à 11.14.07.png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4725" y="1868488"/>
            <a:ext cx="388938" cy="106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Image 50" descr="Capture d’écran 2015-07-27 à 11.14.07.png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2563" y="1765300"/>
            <a:ext cx="42545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Image 51" descr="Capture d’écran 2015-07-27 à 11.14.07.png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4238" y="1235075"/>
            <a:ext cx="12573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4"/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850" y="1195388"/>
            <a:ext cx="692150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7" name="Connecteur droit 53"/>
          <p:cNvCxnSpPr>
            <a:cxnSpLocks noChangeShapeType="1"/>
          </p:cNvCxnSpPr>
          <p:nvPr/>
        </p:nvCxnSpPr>
        <p:spPr bwMode="auto">
          <a:xfrm>
            <a:off x="2044700" y="1235075"/>
            <a:ext cx="1492250" cy="1824038"/>
          </a:xfrm>
          <a:prstGeom prst="line">
            <a:avLst/>
          </a:prstGeom>
          <a:noFill/>
          <a:ln w="19050" algn="ctr">
            <a:solidFill>
              <a:srgbClr val="3399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8" name="Connecteur droit 54"/>
          <p:cNvCxnSpPr>
            <a:cxnSpLocks noChangeShapeType="1"/>
          </p:cNvCxnSpPr>
          <p:nvPr/>
        </p:nvCxnSpPr>
        <p:spPr bwMode="auto">
          <a:xfrm flipH="1">
            <a:off x="5133975" y="1235075"/>
            <a:ext cx="1463675" cy="1824038"/>
          </a:xfrm>
          <a:prstGeom prst="line">
            <a:avLst/>
          </a:prstGeom>
          <a:noFill/>
          <a:ln w="15875" algn="ctr">
            <a:solidFill>
              <a:srgbClr val="3399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Connecteur droit 55"/>
          <p:cNvCxnSpPr>
            <a:cxnSpLocks noChangeShapeType="1"/>
          </p:cNvCxnSpPr>
          <p:nvPr/>
        </p:nvCxnSpPr>
        <p:spPr bwMode="auto">
          <a:xfrm flipV="1">
            <a:off x="5529263" y="2816225"/>
            <a:ext cx="2341562" cy="788988"/>
          </a:xfrm>
          <a:prstGeom prst="line">
            <a:avLst/>
          </a:prstGeom>
          <a:noFill/>
          <a:ln w="15875" algn="ctr">
            <a:solidFill>
              <a:srgbClr val="3399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0" name="Connecteur droit 56"/>
          <p:cNvCxnSpPr>
            <a:cxnSpLocks noChangeShapeType="1"/>
          </p:cNvCxnSpPr>
          <p:nvPr/>
        </p:nvCxnSpPr>
        <p:spPr bwMode="auto">
          <a:xfrm flipH="1" flipV="1">
            <a:off x="901700" y="2816225"/>
            <a:ext cx="2355850" cy="788988"/>
          </a:xfrm>
          <a:prstGeom prst="line">
            <a:avLst/>
          </a:prstGeom>
          <a:noFill/>
          <a:ln w="15875" algn="ctr">
            <a:solidFill>
              <a:srgbClr val="3399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1" name="Picture 3"/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2873375"/>
            <a:ext cx="5318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4"/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63" y="3001963"/>
            <a:ext cx="604837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2" descr="Afficher l'image d'origine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4238" y="2582863"/>
            <a:ext cx="492125" cy="103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2" descr="Hyundai Logo Png #137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3700" y="4173538"/>
            <a:ext cx="336550" cy="23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12" descr="Afficher l'image d'origine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550" y="4164013"/>
            <a:ext cx="3206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Image 62" descr="Capture d’écran 2015-08-20 à 11.02.41.png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163" y="1389063"/>
            <a:ext cx="560387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3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000" y="2946400"/>
            <a:ext cx="5715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8" name="ZoneTexte 64">
            <a:extLst>
              <a:ext uri="{FF2B5EF4-FFF2-40B4-BE49-F238E27FC236}"/>
            </a:extLst>
          </p:cNvPr>
          <p:cNvSpPr txBox="1"/>
          <p:nvPr/>
        </p:nvSpPr>
        <p:spPr>
          <a:xfrm>
            <a:off x="6367463" y="1552575"/>
            <a:ext cx="1584325" cy="37465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/>
          <a:p>
            <a:pPr algn="ctr"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 err="1">
                <a:latin typeface="BNPP Sans" pitchFamily="50" charset="0"/>
                <a:cs typeface="+mn-cs"/>
              </a:rPr>
              <a:t>Financieras</a:t>
            </a:r>
            <a:r>
              <a:rPr lang="en-US" sz="1000" b="1" dirty="0">
                <a:latin typeface="BNPP Sans" pitchFamily="50" charset="0"/>
                <a:cs typeface="+mn-cs"/>
              </a:rPr>
              <a:t>  </a:t>
            </a:r>
          </a:p>
        </p:txBody>
      </p:sp>
      <p:sp>
        <p:nvSpPr>
          <p:cNvPr id="69" name="ZoneTexte 65">
            <a:extLst>
              <a:ext uri="{FF2B5EF4-FFF2-40B4-BE49-F238E27FC236}"/>
            </a:extLst>
          </p:cNvPr>
          <p:cNvSpPr txBox="1"/>
          <p:nvPr/>
        </p:nvSpPr>
        <p:spPr>
          <a:xfrm>
            <a:off x="2814638" y="785813"/>
            <a:ext cx="2698750" cy="25082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/>
          <a:p>
            <a:pPr algn="ctr"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 err="1">
                <a:latin typeface="BNPP Sans" pitchFamily="50" charset="0"/>
                <a:cs typeface="+mn-cs"/>
              </a:rPr>
              <a:t>Bancos</a:t>
            </a:r>
            <a:r>
              <a:rPr lang="en-US" sz="1000" b="1" dirty="0">
                <a:latin typeface="BNPP Sans" pitchFamily="50" charset="0"/>
                <a:cs typeface="+mn-cs"/>
              </a:rPr>
              <a:t> </a:t>
            </a:r>
          </a:p>
          <a:p>
            <a:pPr algn="ctr"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BNPP Sans" pitchFamily="50" charset="0"/>
                <a:cs typeface="+mn-cs"/>
              </a:rPr>
              <a:t>30 de </a:t>
            </a:r>
            <a:r>
              <a:rPr lang="en-US" sz="1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BNPP Sans" pitchFamily="50" charset="0"/>
                <a:cs typeface="+mn-cs"/>
              </a:rPr>
              <a:t>bancos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BNPP Sans" pitchFamily="50" charset="0"/>
                <a:cs typeface="+mn-cs"/>
              </a:rPr>
              <a:t> top 100 </a:t>
            </a:r>
          </a:p>
        </p:txBody>
      </p:sp>
      <p:sp>
        <p:nvSpPr>
          <p:cNvPr id="70" name="ZoneTexte 66">
            <a:extLst>
              <a:ext uri="{FF2B5EF4-FFF2-40B4-BE49-F238E27FC236}"/>
            </a:extLst>
          </p:cNvPr>
          <p:cNvSpPr txBox="1"/>
          <p:nvPr/>
        </p:nvSpPr>
        <p:spPr>
          <a:xfrm>
            <a:off x="758825" y="1655763"/>
            <a:ext cx="1524000" cy="35242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>
            <a:defPPr>
              <a:defRPr lang="fr-FR"/>
            </a:defPPr>
            <a:lvl1pPr algn="ctr">
              <a:defRPr sz="1400">
                <a:latin typeface="BNPP Sans" pitchFamily="50" charset="0"/>
              </a:defRPr>
            </a:lvl1pPr>
          </a:lstStyle>
          <a:p>
            <a:pPr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 err="1">
                <a:cs typeface="+mn-cs"/>
              </a:rPr>
              <a:t>Telecomunicaciones</a:t>
            </a:r>
            <a:r>
              <a:rPr lang="en-US" sz="1000" b="1" dirty="0">
                <a:cs typeface="+mn-cs"/>
              </a:rPr>
              <a:t> y Utilities</a:t>
            </a:r>
          </a:p>
        </p:txBody>
      </p:sp>
      <p:sp>
        <p:nvSpPr>
          <p:cNvPr id="71" name="ZoneTexte 67">
            <a:extLst>
              <a:ext uri="{FF2B5EF4-FFF2-40B4-BE49-F238E27FC236}"/>
            </a:extLst>
          </p:cNvPr>
          <p:cNvSpPr txBox="1"/>
          <p:nvPr/>
        </p:nvSpPr>
        <p:spPr>
          <a:xfrm>
            <a:off x="628650" y="3225800"/>
            <a:ext cx="1463675" cy="29368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>
            <a:defPPr>
              <a:defRPr lang="fr-FR"/>
            </a:defPPr>
            <a:lvl1pPr algn="ctr">
              <a:defRPr sz="1400">
                <a:latin typeface="BNPP Sans" pitchFamily="50" charset="0"/>
              </a:defRPr>
            </a:lvl1pPr>
          </a:lstStyle>
          <a:p>
            <a:pPr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cs"/>
              </a:rPr>
              <a:t>Retailers </a:t>
            </a:r>
          </a:p>
          <a:p>
            <a:pPr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cs"/>
              </a:rPr>
              <a:t>4 de 10 top retailers   </a:t>
            </a:r>
          </a:p>
        </p:txBody>
      </p:sp>
      <p:sp>
        <p:nvSpPr>
          <p:cNvPr id="72" name="ZoneTexte 68">
            <a:extLst>
              <a:ext uri="{FF2B5EF4-FFF2-40B4-BE49-F238E27FC236}"/>
            </a:extLst>
          </p:cNvPr>
          <p:cNvSpPr txBox="1"/>
          <p:nvPr/>
        </p:nvSpPr>
        <p:spPr>
          <a:xfrm>
            <a:off x="6661150" y="3262313"/>
            <a:ext cx="1384300" cy="34290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/>
          <a:lstStyle/>
          <a:p>
            <a:pPr algn="ctr" defTabSz="73923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 err="1">
                <a:latin typeface="BNPP Sans" pitchFamily="50" charset="0"/>
                <a:cs typeface="+mn-cs"/>
              </a:rPr>
              <a:t>Automotrices</a:t>
            </a:r>
            <a:endParaRPr lang="en-US" sz="1000" b="1" dirty="0">
              <a:latin typeface="BNPP Sans" pitchFamily="50" charset="0"/>
              <a:cs typeface="+mn-cs"/>
            </a:endParaRPr>
          </a:p>
        </p:txBody>
      </p:sp>
      <p:sp>
        <p:nvSpPr>
          <p:cNvPr id="73" name="Rectangle 69"/>
          <p:cNvSpPr>
            <a:spLocks noChangeArrowheads="1"/>
          </p:cNvSpPr>
          <p:nvPr/>
        </p:nvSpPr>
        <p:spPr bwMode="auto">
          <a:xfrm>
            <a:off x="2547938" y="3779838"/>
            <a:ext cx="3709987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925" tIns="36963" rIns="73925" bIns="36963">
            <a:spAutoFit/>
          </a:bodyPr>
          <a:lstStyle>
            <a:lvl1pPr eaLnBrk="0" hangingPunct="0">
              <a:spcBef>
                <a:spcPts val="163"/>
              </a:spcBef>
              <a:buClr>
                <a:srgbClr val="008578"/>
              </a:buClr>
              <a:buSzPct val="100000"/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63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100">
                <a:solidFill>
                  <a:schemeClr val="accent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163"/>
              </a:spcBef>
              <a:buFont typeface="Wingdings" pitchFamily="2" charset="2"/>
              <a:buChar char="§"/>
              <a:defRPr sz="10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163"/>
              </a:spcBef>
              <a:defRPr sz="8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38188" eaLnBrk="0" fontAlgn="base" hangingPunct="0">
              <a:spcBef>
                <a:spcPts val="163"/>
              </a:spcBef>
              <a:spcAft>
                <a:spcPct val="0"/>
              </a:spcAft>
              <a:defRPr sz="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n-GB" altLang="es-PE" sz="1900" b="1" dirty="0">
                <a:latin typeface="BNPP Sans" pitchFamily="50" charset="0"/>
              </a:rPr>
              <a:t>500 </a:t>
            </a:r>
            <a:r>
              <a:rPr lang="en-GB" altLang="es-PE" sz="1900" b="1" dirty="0" err="1">
                <a:latin typeface="BNPP Sans" pitchFamily="50" charset="0"/>
              </a:rPr>
              <a:t>socios</a:t>
            </a:r>
            <a:r>
              <a:rPr lang="en-GB" altLang="es-PE" sz="1900" b="1" dirty="0">
                <a:latin typeface="BNPP Sans" pitchFamily="50" charset="0"/>
              </a:rPr>
              <a:t> </a:t>
            </a:r>
            <a:r>
              <a:rPr lang="en-GB" altLang="es-PE" sz="1900" b="1" dirty="0" err="1">
                <a:latin typeface="BNPP Sans" pitchFamily="50" charset="0"/>
              </a:rPr>
              <a:t>alrededor</a:t>
            </a:r>
            <a:r>
              <a:rPr lang="en-GB" altLang="es-PE" sz="1900" b="1" dirty="0">
                <a:latin typeface="BNPP Sans" pitchFamily="50" charset="0"/>
              </a:rPr>
              <a:t> del </a:t>
            </a:r>
            <a:r>
              <a:rPr lang="en-GB" altLang="es-PE" sz="1900" b="1" dirty="0" err="1">
                <a:latin typeface="BNPP Sans" pitchFamily="50" charset="0"/>
              </a:rPr>
              <a:t>mundo</a:t>
            </a:r>
            <a:endParaRPr lang="en-GB" altLang="es-PE" sz="1900" b="1" dirty="0">
              <a:latin typeface="BNPP Sans" pitchFamily="50" charset="0"/>
            </a:endParaRPr>
          </a:p>
          <a:p>
            <a:pPr algn="ctr" eaLnBrk="1" hangingPunct="1">
              <a:spcBef>
                <a:spcPct val="0"/>
              </a:spcBef>
              <a:buClrTx/>
              <a:buSzTx/>
            </a:pPr>
            <a:r>
              <a:rPr lang="en-GB" altLang="es-PE" sz="1900" b="1" dirty="0">
                <a:latin typeface="BNPP Sans" pitchFamily="50" charset="0"/>
              </a:rPr>
              <a:t>100 </a:t>
            </a:r>
            <a:r>
              <a:rPr lang="en-GB" altLang="es-PE" sz="1900" b="1" dirty="0" err="1">
                <a:latin typeface="BNPP Sans" pitchFamily="50" charset="0"/>
              </a:rPr>
              <a:t>millones</a:t>
            </a:r>
            <a:r>
              <a:rPr lang="en-GB" altLang="es-PE" sz="1900" b="1" dirty="0">
                <a:latin typeface="BNPP Sans" pitchFamily="50" charset="0"/>
              </a:rPr>
              <a:t> de </a:t>
            </a:r>
            <a:r>
              <a:rPr lang="en-GB" altLang="es-PE" sz="1900" b="1" dirty="0" err="1">
                <a:latin typeface="BNPP Sans" pitchFamily="50" charset="0"/>
              </a:rPr>
              <a:t>clientes</a:t>
            </a:r>
            <a:endParaRPr lang="en-GB" altLang="es-PE" sz="1900" b="1" dirty="0">
              <a:latin typeface="BNPP Sans" pitchFamily="50" charset="0"/>
            </a:endParaRPr>
          </a:p>
        </p:txBody>
      </p:sp>
      <p:sp>
        <p:nvSpPr>
          <p:cNvPr id="74" name="73 CuadroTexto">
            <a:extLst>
              <a:ext uri="{FF2B5EF4-FFF2-40B4-BE49-F238E27FC236}"/>
            </a:extLst>
          </p:cNvPr>
          <p:cNvSpPr txBox="1"/>
          <p:nvPr/>
        </p:nvSpPr>
        <p:spPr>
          <a:xfrm>
            <a:off x="381000" y="209550"/>
            <a:ext cx="7570788" cy="227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39237" fontAlgn="auto">
              <a:spcAft>
                <a:spcPts val="0"/>
              </a:spcAft>
              <a:defRPr/>
            </a:pPr>
            <a:r>
              <a:rPr lang="es-PE" sz="2400" b="1" dirty="0">
                <a:solidFill>
                  <a:schemeClr val="accent1"/>
                </a:solidFill>
                <a:latin typeface="BNPP Sans" pitchFamily="50" charset="0"/>
                <a:ea typeface="+mj-ea"/>
                <a:cs typeface="+mj-cs"/>
              </a:rPr>
              <a:t>Socios en diversas industrias</a:t>
            </a:r>
          </a:p>
        </p:txBody>
      </p:sp>
    </p:spTree>
    <p:extLst>
      <p:ext uri="{BB962C8B-B14F-4D97-AF65-F5344CB8AC3E}">
        <p14:creationId xmlns:p14="http://schemas.microsoft.com/office/powerpoint/2010/main" val="57992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9</a:t>
            </a:fld>
            <a:endParaRPr lang="en-GB" noProof="0" dirty="0"/>
          </a:p>
        </p:txBody>
      </p:sp>
      <p:sp>
        <p:nvSpPr>
          <p:cNvPr id="7" name="2 Título"/>
          <p:cNvSpPr>
            <a:spLocks noGrp="1"/>
          </p:cNvSpPr>
          <p:nvPr>
            <p:ph type="title"/>
          </p:nvPr>
        </p:nvSpPr>
        <p:spPr>
          <a:xfrm>
            <a:off x="342900" y="74613"/>
            <a:ext cx="8459788" cy="558800"/>
          </a:xfrm>
        </p:spPr>
        <p:txBody>
          <a:bodyPr>
            <a:normAutofit fontScale="90000"/>
          </a:bodyPr>
          <a:lstStyle/>
          <a:p>
            <a:r>
              <a:rPr lang="es-ES_tradnl" altLang="es-PE" sz="2000" dirty="0" smtClean="0">
                <a:latin typeface="BNPP Sans" pitchFamily="50" charset="0"/>
              </a:rPr>
              <a:t>Cardif tiene una larga tradición de </a:t>
            </a:r>
            <a:r>
              <a:rPr lang="es-ES_tradnl" altLang="es-PE" sz="2000" dirty="0" err="1" smtClean="0">
                <a:latin typeface="BNPP Sans" pitchFamily="50" charset="0"/>
              </a:rPr>
              <a:t>Joint</a:t>
            </a:r>
            <a:r>
              <a:rPr lang="es-ES_tradnl" altLang="es-PE" sz="2000" dirty="0" smtClean="0">
                <a:latin typeface="BNPP Sans" pitchFamily="50" charset="0"/>
              </a:rPr>
              <a:t> </a:t>
            </a:r>
            <a:r>
              <a:rPr lang="es-ES_tradnl" altLang="es-PE" sz="2000" dirty="0" err="1" smtClean="0">
                <a:latin typeface="BNPP Sans" pitchFamily="50" charset="0"/>
              </a:rPr>
              <a:t>Ventures</a:t>
            </a:r>
            <a:r>
              <a:rPr lang="es-ES_tradnl" altLang="es-PE" sz="2000" dirty="0" smtClean="0">
                <a:latin typeface="BNPP Sans" pitchFamily="50" charset="0"/>
              </a:rPr>
              <a:t> y asociaciones globales a largo plazo en todo el mundo</a:t>
            </a:r>
            <a:endParaRPr lang="en-US" altLang="es-PE" sz="2000" dirty="0" smtClean="0">
              <a:latin typeface="BNPP Sans" pitchFamily="50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00" b="11902"/>
          <a:stretch/>
        </p:blipFill>
        <p:spPr bwMode="auto">
          <a:xfrm>
            <a:off x="251520" y="771550"/>
            <a:ext cx="8640960" cy="3744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8 Estrella de 4 puntas"/>
          <p:cNvSpPr/>
          <p:nvPr/>
        </p:nvSpPr>
        <p:spPr>
          <a:xfrm>
            <a:off x="1979712" y="2715766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0" name="9 Estrella de 4 puntas"/>
          <p:cNvSpPr/>
          <p:nvPr/>
        </p:nvSpPr>
        <p:spPr>
          <a:xfrm>
            <a:off x="2483752" y="3435846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1" name="10 Estrella de 4 puntas"/>
          <p:cNvSpPr/>
          <p:nvPr/>
        </p:nvSpPr>
        <p:spPr>
          <a:xfrm>
            <a:off x="2636152" y="3507870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2" name="11 Estrella de 4 puntas"/>
          <p:cNvSpPr/>
          <p:nvPr/>
        </p:nvSpPr>
        <p:spPr>
          <a:xfrm>
            <a:off x="2915832" y="3219822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5" name="14 Estrella de 4 puntas"/>
          <p:cNvSpPr/>
          <p:nvPr/>
        </p:nvSpPr>
        <p:spPr>
          <a:xfrm>
            <a:off x="3635896" y="2427734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6" name="15 Estrella de 4 puntas"/>
          <p:cNvSpPr/>
          <p:nvPr/>
        </p:nvSpPr>
        <p:spPr>
          <a:xfrm>
            <a:off x="3707904" y="2355726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7" name="16 Estrella de 4 puntas"/>
          <p:cNvSpPr/>
          <p:nvPr/>
        </p:nvSpPr>
        <p:spPr>
          <a:xfrm>
            <a:off x="3923944" y="2427734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8" name="17 Estrella de 4 puntas"/>
          <p:cNvSpPr/>
          <p:nvPr/>
        </p:nvSpPr>
        <p:spPr>
          <a:xfrm>
            <a:off x="4211960" y="2499758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19" name="18 Estrella de 4 puntas"/>
          <p:cNvSpPr/>
          <p:nvPr/>
        </p:nvSpPr>
        <p:spPr>
          <a:xfrm>
            <a:off x="4067944" y="2355726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0" name="19 Estrella de 4 puntas"/>
          <p:cNvSpPr/>
          <p:nvPr/>
        </p:nvSpPr>
        <p:spPr>
          <a:xfrm>
            <a:off x="3923944" y="2139702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1" name="20 Estrella de 4 puntas"/>
          <p:cNvSpPr/>
          <p:nvPr/>
        </p:nvSpPr>
        <p:spPr>
          <a:xfrm>
            <a:off x="3779912" y="2211726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2" name="21 Estrella de 4 puntas"/>
          <p:cNvSpPr/>
          <p:nvPr/>
        </p:nvSpPr>
        <p:spPr>
          <a:xfrm>
            <a:off x="3923928" y="2283718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3" name="22 Estrella de 4 puntas"/>
          <p:cNvSpPr/>
          <p:nvPr/>
        </p:nvSpPr>
        <p:spPr>
          <a:xfrm>
            <a:off x="4489678" y="2131293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3" name="2 Elipse"/>
          <p:cNvSpPr/>
          <p:nvPr/>
        </p:nvSpPr>
        <p:spPr>
          <a:xfrm>
            <a:off x="230700" y="1131590"/>
            <a:ext cx="288000" cy="216000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4" name="23 Estrella de 4 puntas"/>
          <p:cNvSpPr/>
          <p:nvPr/>
        </p:nvSpPr>
        <p:spPr>
          <a:xfrm>
            <a:off x="275958" y="1419638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281462" y="1159068"/>
            <a:ext cx="288032" cy="252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1100" b="1" dirty="0" smtClean="0">
                <a:solidFill>
                  <a:schemeClr val="bg1"/>
                </a:solidFill>
              </a:rPr>
              <a:t>JV</a:t>
            </a:r>
          </a:p>
        </p:txBody>
      </p:sp>
      <p:sp>
        <p:nvSpPr>
          <p:cNvPr id="25" name="24 Estrella de 4 puntas"/>
          <p:cNvSpPr/>
          <p:nvPr/>
        </p:nvSpPr>
        <p:spPr>
          <a:xfrm>
            <a:off x="4042288" y="2131293"/>
            <a:ext cx="144000" cy="144000"/>
          </a:xfrm>
          <a:prstGeom prst="star4">
            <a:avLst/>
          </a:prstGeom>
          <a:solidFill>
            <a:srgbClr val="E6A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425478" y="1455638"/>
            <a:ext cx="1172980" cy="7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smtClean="0">
                <a:latin typeface="BNPP Sans" pitchFamily="50" charset="0"/>
              </a:rPr>
              <a:t>Cardif con socios globales</a:t>
            </a:r>
          </a:p>
        </p:txBody>
      </p:sp>
      <p:sp>
        <p:nvSpPr>
          <p:cNvPr id="26" name="25 Rectángulo redondeado"/>
          <p:cNvSpPr/>
          <p:nvPr/>
        </p:nvSpPr>
        <p:spPr>
          <a:xfrm>
            <a:off x="107504" y="1059582"/>
            <a:ext cx="1296144" cy="576064"/>
          </a:xfrm>
          <a:prstGeom prst="round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400" dirty="0" smtClean="0">
              <a:solidFill>
                <a:schemeClr val="tx1"/>
              </a:solidFill>
            </a:endParaRPr>
          </a:p>
        </p:txBody>
      </p:sp>
      <p:sp>
        <p:nvSpPr>
          <p:cNvPr id="27" name="26 CuadroTexto"/>
          <p:cNvSpPr txBox="1"/>
          <p:nvPr/>
        </p:nvSpPr>
        <p:spPr>
          <a:xfrm>
            <a:off x="604166" y="1203588"/>
            <a:ext cx="481619" cy="720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PE" sz="600" dirty="0" err="1" smtClean="0">
                <a:latin typeface="BNPP Sans" pitchFamily="50" charset="0"/>
              </a:rPr>
              <a:t>Joint</a:t>
            </a:r>
            <a:r>
              <a:rPr lang="es-PE" sz="600" dirty="0" smtClean="0">
                <a:latin typeface="BNPP Sans" pitchFamily="50" charset="0"/>
              </a:rPr>
              <a:t> Venture</a:t>
            </a:r>
          </a:p>
        </p:txBody>
      </p:sp>
    </p:spTree>
    <p:extLst>
      <p:ext uri="{BB962C8B-B14F-4D97-AF65-F5344CB8AC3E}">
        <p14:creationId xmlns:p14="http://schemas.microsoft.com/office/powerpoint/2010/main" val="1774592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World 11356636455"/>
  <p:tag name="UPSLIDESHAPELIBITEMEDITIONDATE" val="635127791118287812"/>
  <p:tag name="UPSLIDESHAPELIBITEMLASTCREATOR" val="TesteurAdmin"/>
  <p:tag name="UPSLIDESHAPELIBITEMNAME" val="Wor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AKZAAxHUmNbB3LB_qW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726519148062190"/>
  <p:tag name="UPSLIDESHAPELIBITEMLASTCREATOR" val="ZINELLIS"/>
  <p:tag name="UPSLIDESHAPELIBITEMNAME" val="Laurel 1 (bis)"/>
  <p:tag name="UPSLIDESHAPELIBITEMID" val="Laurel 1 (bis)196428669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EDITIONDATE" val="635726519148062190"/>
  <p:tag name="UPSLIDESHAPELIBITEMLASTCREATOR" val="ZINELLIS"/>
  <p:tag name="UPSLIDESHAPELIBITEMNAME" val="Laurel 1 (bis)"/>
  <p:tag name="UPSLIDESHAPELIBITEMID" val="Laurel 1 (bis)196428669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Chile328811406"/>
  <p:tag name="UPSLIDESHAPELIBITEMEDITIONDATE" val="635127790792526094"/>
  <p:tag name="UPSLIDESHAPELIBITEMLASTCREATOR" val="TesteurAdmin"/>
  <p:tag name="UPSLIDESHAPELIBITEMNAME" val="Chi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Brazil344773552"/>
  <p:tag name="UPSLIDESHAPELIBITEMEDITIONDATE" val="635127790792252656"/>
  <p:tag name="UPSLIDESHAPELIBITEMLASTCREATOR" val="TesteurAdmin"/>
  <p:tag name="UPSLIDESHAPELIBITEMNAME" val="Brazi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Argentina1302079694"/>
  <p:tag name="UPSLIDESHAPELIBITEMEDITIONDATE" val="635127790791500703"/>
  <p:tag name="UPSLIDESHAPELIBITEMLASTCREATOR" val="TesteurAdmin"/>
  <p:tag name="UPSLIDESHAPELIBITEMNAME" val="Argentina"/>
</p:tagLst>
</file>

<file path=ppt/theme/theme1.xml><?xml version="1.0" encoding="utf-8"?>
<a:theme xmlns:a="http://schemas.openxmlformats.org/drawingml/2006/main" name="20150601_093540">
  <a:themeElements>
    <a:clrScheme name="BNPP-XL">
      <a:dk1>
        <a:srgbClr val="FFFFFF"/>
      </a:dk1>
      <a:lt1>
        <a:srgbClr val="000000"/>
      </a:lt1>
      <a:dk2>
        <a:srgbClr val="EEEFF2"/>
      </a:dk2>
      <a:lt2>
        <a:srgbClr val="78848A"/>
      </a:lt2>
      <a:accent1>
        <a:srgbClr val="00915A"/>
      </a:accent1>
      <a:accent2>
        <a:srgbClr val="85B95F"/>
      </a:accent2>
      <a:accent3>
        <a:srgbClr val="00AB8E"/>
      </a:accent3>
      <a:accent4>
        <a:srgbClr val="008578"/>
      </a:accent4>
      <a:accent5>
        <a:srgbClr val="43B02A"/>
      </a:accent5>
      <a:accent6>
        <a:srgbClr val="D0DF00"/>
      </a:accent6>
      <a:hlink>
        <a:srgbClr val="00915A"/>
      </a:hlink>
      <a:folHlink>
        <a:srgbClr val="00915A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solidFill>
              <a:schemeClr val="accent4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NPP-XL">
    <a:dk1>
      <a:srgbClr val="FFFFFF"/>
    </a:dk1>
    <a:lt1>
      <a:srgbClr val="000000"/>
    </a:lt1>
    <a:dk2>
      <a:srgbClr val="EEEFF2"/>
    </a:dk2>
    <a:lt2>
      <a:srgbClr val="78848A"/>
    </a:lt2>
    <a:accent1>
      <a:srgbClr val="00915A"/>
    </a:accent1>
    <a:accent2>
      <a:srgbClr val="85B95F"/>
    </a:accent2>
    <a:accent3>
      <a:srgbClr val="00AB8E"/>
    </a:accent3>
    <a:accent4>
      <a:srgbClr val="008578"/>
    </a:accent4>
    <a:accent5>
      <a:srgbClr val="43B02A"/>
    </a:accent5>
    <a:accent6>
      <a:srgbClr val="D0DF00"/>
    </a:accent6>
    <a:hlink>
      <a:srgbClr val="00915A"/>
    </a:hlink>
    <a:folHlink>
      <a:srgbClr val="00915A"/>
    </a:folHlink>
  </a:clrScheme>
  <a:fontScheme name="BNPP">
    <a:majorFont>
      <a:latin typeface="Arial Narrow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20150601_093540</Template>
  <TotalTime>825</TotalTime>
  <Words>1238</Words>
  <Application>Microsoft Office PowerPoint</Application>
  <PresentationFormat>Presentación en pantalla (16:9)</PresentationFormat>
  <Paragraphs>531</Paragraphs>
  <Slides>24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4</vt:i4>
      </vt:variant>
    </vt:vector>
  </HeadingPairs>
  <TitlesOfParts>
    <vt:vector size="27" baseType="lpstr">
      <vt:lpstr>20150601_093540</vt:lpstr>
      <vt:lpstr>Feuille de calcul</vt:lpstr>
      <vt:lpstr>Worksheet</vt:lpstr>
      <vt:lpstr>Presentación de PowerPoint</vt:lpstr>
      <vt:lpstr>Presentación de PowerPoint</vt:lpstr>
      <vt:lpstr>Presentación de PowerPoint</vt:lpstr>
      <vt:lpstr>BNP PARIBAS: Una marca valiosa de renombre mundial</vt:lpstr>
      <vt:lpstr>Presentación de PowerPoint</vt:lpstr>
      <vt:lpstr>Presentación de PowerPoint</vt:lpstr>
      <vt:lpstr>Presentación de PowerPoint</vt:lpstr>
      <vt:lpstr>Presentación de PowerPoint</vt:lpstr>
      <vt:lpstr>Cardif tiene una larga tradición de Joint Ventures y asociaciones globales a largo plazo en todo el mun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nfocados en proteger el Valor Cliente</vt:lpstr>
      <vt:lpstr>Expertos en potenciar canales</vt:lpstr>
      <vt:lpstr>La capacitación y seguimiento de ventas, lleva al cumplimiento de la meta</vt:lpstr>
      <vt:lpstr>Presentación de PowerPoint</vt:lpstr>
      <vt:lpstr>Presentación de PowerPoint</vt:lpstr>
      <vt:lpstr>Banca retail: Cardif mantiene un fuerte posicionamiento en la industria</vt:lpstr>
      <vt:lpstr>Presentación de PowerPoint</vt:lpstr>
      <vt:lpstr>Presentación de PowerPoint</vt:lpstr>
      <vt:lpstr>Presentación de PowerPoint</vt:lpstr>
    </vt:vector>
  </TitlesOfParts>
  <Company>BNP Pariba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atalia MAHOLANYIOVA</dc:creator>
  <cp:lastModifiedBy>Gonzalo ITURRIAGA</cp:lastModifiedBy>
  <cp:revision>64</cp:revision>
  <cp:lastPrinted>2015-02-25T12:09:14Z</cp:lastPrinted>
  <dcterms:created xsi:type="dcterms:W3CDTF">2015-06-05T12:53:40Z</dcterms:created>
  <dcterms:modified xsi:type="dcterms:W3CDTF">2018-07-09T17:15:08Z</dcterms:modified>
</cp:coreProperties>
</file>